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7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7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42.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33"/>
    <p:sldMasterId id="2147483708" r:id="rId34"/>
    <p:sldMasterId id="2147483734" r:id="rId35"/>
  </p:sldMasterIdLst>
  <p:notesMasterIdLst>
    <p:notesMasterId r:id="rId60"/>
  </p:notesMasterIdLst>
  <p:handoutMasterIdLst>
    <p:handoutMasterId r:id="rId61"/>
  </p:handoutMasterIdLst>
  <p:sldIdLst>
    <p:sldId id="1051" r:id="rId36"/>
    <p:sldId id="1052" r:id="rId37"/>
    <p:sldId id="1049" r:id="rId38"/>
    <p:sldId id="1050" r:id="rId39"/>
    <p:sldId id="1007" r:id="rId40"/>
    <p:sldId id="1008" r:id="rId41"/>
    <p:sldId id="1009" r:id="rId42"/>
    <p:sldId id="1010" r:id="rId43"/>
    <p:sldId id="1011" r:id="rId44"/>
    <p:sldId id="1013" r:id="rId45"/>
    <p:sldId id="1014" r:id="rId46"/>
    <p:sldId id="1012" r:id="rId47"/>
    <p:sldId id="1054" r:id="rId48"/>
    <p:sldId id="1066" r:id="rId49"/>
    <p:sldId id="1068" r:id="rId50"/>
    <p:sldId id="1055" r:id="rId51"/>
    <p:sldId id="1056" r:id="rId52"/>
    <p:sldId id="1062" r:id="rId53"/>
    <p:sldId id="1069" r:id="rId54"/>
    <p:sldId id="1048" r:id="rId55"/>
    <p:sldId id="1063" r:id="rId56"/>
    <p:sldId id="1053" r:id="rId57"/>
    <p:sldId id="1067" r:id="rId58"/>
    <p:sldId id="1064" r:id="rId59"/>
  </p:sldIdLst>
  <p:sldSz cx="12198350" cy="6858000"/>
  <p:notesSz cx="7099300" cy="10234613"/>
  <p:custDataLst>
    <p:custData r:id="rId26"/>
    <p:tags r:id="rId6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1F0"/>
    <a:srgbClr val="EBF0F1"/>
    <a:srgbClr val="E9EAF3"/>
    <a:srgbClr val="E4E5F0"/>
    <a:srgbClr val="EFF2F5"/>
    <a:srgbClr val="E0E6EC"/>
    <a:srgbClr val="FDFDFC"/>
    <a:srgbClr val="FDFDFD"/>
    <a:srgbClr val="FDFEFD"/>
    <a:srgbClr val="FEFD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98" autoAdjust="0"/>
    <p:restoredTop sz="81319" autoAdjust="0"/>
  </p:normalViewPr>
  <p:slideViewPr>
    <p:cSldViewPr snapToObjects="1" showGuides="1">
      <p:cViewPr>
        <p:scale>
          <a:sx n="60" d="100"/>
          <a:sy n="60" d="100"/>
        </p:scale>
        <p:origin x="-576" y="-696"/>
      </p:cViewPr>
      <p:guideLst>
        <p:guide orient="horz" pos="3884"/>
        <p:guide orient="horz" pos="618"/>
        <p:guide orient="horz" pos="2432"/>
        <p:guide orient="horz" pos="890"/>
        <p:guide orient="horz" pos="210"/>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90" d="100"/>
        <a:sy n="90" d="100"/>
      </p:scale>
      <p:origin x="0" y="0"/>
    </p:cViewPr>
  </p:sorterViewPr>
  <p:notesViewPr>
    <p:cSldViewPr snapToObjects="1" showGuides="1">
      <p:cViewPr varScale="1">
        <p:scale>
          <a:sx n="77" d="100"/>
          <a:sy n="77" d="100"/>
        </p:scale>
        <p:origin x="-2070" y="-108"/>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4.xml"/><Relationship Id="rId21" Type="http://schemas.openxmlformats.org/officeDocument/2006/relationships/customXml" Target="../customXml/item21.xml"/><Relationship Id="rId34" Type="http://schemas.openxmlformats.org/officeDocument/2006/relationships/slideMaster" Target="slideMasters/slideMaster2.xml"/><Relationship Id="rId42" Type="http://schemas.openxmlformats.org/officeDocument/2006/relationships/slide" Target="slides/slide7.xml"/><Relationship Id="rId47" Type="http://schemas.openxmlformats.org/officeDocument/2006/relationships/slide" Target="slides/slide12.xml"/><Relationship Id="rId50" Type="http://schemas.openxmlformats.org/officeDocument/2006/relationships/slide" Target="slides/slide15.xml"/><Relationship Id="rId55" Type="http://schemas.openxmlformats.org/officeDocument/2006/relationships/slide" Target="slides/slide20.xml"/><Relationship Id="rId63"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customXml" Target="../customXml/item29.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2.xml"/><Relationship Id="rId40" Type="http://schemas.openxmlformats.org/officeDocument/2006/relationships/slide" Target="slides/slide5.xml"/><Relationship Id="rId45" Type="http://schemas.openxmlformats.org/officeDocument/2006/relationships/slide" Target="slides/slide10.xml"/><Relationship Id="rId53" Type="http://schemas.openxmlformats.org/officeDocument/2006/relationships/slide" Target="slides/slide18.xml"/><Relationship Id="rId58" Type="http://schemas.openxmlformats.org/officeDocument/2006/relationships/slide" Target="slides/slide23.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61"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Master" Target="slideMasters/slideMaster3.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16.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1.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139764-5302-4425-8A72-C2EED93EA8B4}" type="doc">
      <dgm:prSet loTypeId="urn:microsoft.com/office/officeart/2005/8/layout/process1" loCatId="process" qsTypeId="urn:microsoft.com/office/officeart/2005/8/quickstyle/simple5" qsCatId="simple" csTypeId="urn:microsoft.com/office/officeart/2005/8/colors/colorful1#1" csCatId="colorful" phldr="1"/>
      <dgm:spPr/>
    </dgm:pt>
    <dgm:pt modelId="{A4F3B3F1-CCEC-4DFE-8322-ABEC244D4558}">
      <dgm:prSet phldrT="[Text]"/>
      <dgm:spPr/>
      <dgm:t>
        <a:bodyPr/>
        <a:lstStyle/>
        <a:p>
          <a:r>
            <a:rPr lang="en-GB" dirty="0" smtClean="0">
              <a:solidFill>
                <a:schemeClr val="tx1"/>
              </a:solidFill>
            </a:rPr>
            <a:t>Primary</a:t>
          </a:r>
          <a:endParaRPr lang="en-US" dirty="0">
            <a:solidFill>
              <a:schemeClr val="tx1"/>
            </a:solidFill>
          </a:endParaRPr>
        </a:p>
      </dgm:t>
    </dgm:pt>
    <dgm:pt modelId="{0CE77F41-A145-4AB6-AB4B-84D008F082AB}" type="parTrans" cxnId="{7F1C2FE8-D330-489C-A45A-6B02851DE6A8}">
      <dgm:prSet/>
      <dgm:spPr/>
      <dgm:t>
        <a:bodyPr/>
        <a:lstStyle/>
        <a:p>
          <a:endParaRPr lang="en-US"/>
        </a:p>
      </dgm:t>
    </dgm:pt>
    <dgm:pt modelId="{478A8005-823B-49A6-9AC7-12C5AD4C5117}" type="sibTrans" cxnId="{7F1C2FE8-D330-489C-A45A-6B02851DE6A8}">
      <dgm:prSet/>
      <dgm:spPr/>
      <dgm:t>
        <a:bodyPr/>
        <a:lstStyle/>
        <a:p>
          <a:endParaRPr lang="en-US" dirty="0"/>
        </a:p>
      </dgm:t>
    </dgm:pt>
    <dgm:pt modelId="{D4DD5C68-FD58-4DA8-87C1-38A13141E1D7}">
      <dgm:prSet phldrT="[Text]"/>
      <dgm:spPr>
        <a:solidFill>
          <a:schemeClr val="bg2"/>
        </a:solidFill>
      </dgm:spPr>
      <dgm:t>
        <a:bodyPr/>
        <a:lstStyle/>
        <a:p>
          <a:r>
            <a:rPr lang="en-GB" dirty="0" smtClean="0">
              <a:solidFill>
                <a:schemeClr val="tx1"/>
              </a:solidFill>
            </a:rPr>
            <a:t>Key Stage 3</a:t>
          </a:r>
          <a:endParaRPr lang="en-US" dirty="0">
            <a:solidFill>
              <a:schemeClr val="tx1"/>
            </a:solidFill>
          </a:endParaRPr>
        </a:p>
      </dgm:t>
    </dgm:pt>
    <dgm:pt modelId="{CB0FBB4C-DA3F-4EE2-B560-A2FAD0B2F14D}" type="parTrans" cxnId="{6ADF3E26-F7FB-48B4-A515-FFB33D04135F}">
      <dgm:prSet/>
      <dgm:spPr/>
      <dgm:t>
        <a:bodyPr/>
        <a:lstStyle/>
        <a:p>
          <a:endParaRPr lang="en-US"/>
        </a:p>
      </dgm:t>
    </dgm:pt>
    <dgm:pt modelId="{1F00EA31-F66D-4F11-AA4D-5C0B878D459A}" type="sibTrans" cxnId="{6ADF3E26-F7FB-48B4-A515-FFB33D04135F}">
      <dgm:prSet/>
      <dgm:spPr>
        <a:solidFill>
          <a:schemeClr val="bg2"/>
        </a:solidFill>
      </dgm:spPr>
      <dgm:t>
        <a:bodyPr/>
        <a:lstStyle/>
        <a:p>
          <a:endParaRPr lang="en-US" dirty="0"/>
        </a:p>
      </dgm:t>
    </dgm:pt>
    <dgm:pt modelId="{53A52D12-EB22-407A-AFC4-AFC32E60BCE4}">
      <dgm:prSet phldrT="[Text]"/>
      <dgm:spPr>
        <a:solidFill>
          <a:schemeClr val="accent3"/>
        </a:solidFill>
      </dgm:spPr>
      <dgm:t>
        <a:bodyPr/>
        <a:lstStyle/>
        <a:p>
          <a:r>
            <a:rPr lang="en-GB" dirty="0" smtClean="0">
              <a:solidFill>
                <a:schemeClr val="tx1"/>
              </a:solidFill>
            </a:rPr>
            <a:t>Level 2 (GCSE/BTEC)</a:t>
          </a:r>
          <a:endParaRPr lang="en-US" dirty="0">
            <a:solidFill>
              <a:schemeClr val="tx1"/>
            </a:solidFill>
          </a:endParaRPr>
        </a:p>
      </dgm:t>
    </dgm:pt>
    <dgm:pt modelId="{1B75E0E0-FABF-4D2B-A045-3951F25025CD}" type="parTrans" cxnId="{E5AD2A63-6EC8-493C-AFDD-59904B220A31}">
      <dgm:prSet/>
      <dgm:spPr/>
      <dgm:t>
        <a:bodyPr/>
        <a:lstStyle/>
        <a:p>
          <a:endParaRPr lang="en-US"/>
        </a:p>
      </dgm:t>
    </dgm:pt>
    <dgm:pt modelId="{2B9F67EA-8D7D-4E58-BA05-2760745E2EB3}" type="sibTrans" cxnId="{E5AD2A63-6EC8-493C-AFDD-59904B220A31}">
      <dgm:prSet/>
      <dgm:spPr>
        <a:solidFill>
          <a:schemeClr val="accent3"/>
        </a:solidFill>
      </dgm:spPr>
      <dgm:t>
        <a:bodyPr/>
        <a:lstStyle/>
        <a:p>
          <a:endParaRPr lang="en-US" dirty="0"/>
        </a:p>
      </dgm:t>
    </dgm:pt>
    <dgm:pt modelId="{587A43A4-DE59-441D-AFFC-65F6999D587F}">
      <dgm:prSet/>
      <dgm:spPr/>
      <dgm:t>
        <a:bodyPr/>
        <a:lstStyle/>
        <a:p>
          <a:r>
            <a:rPr lang="en-GB" dirty="0" smtClean="0">
              <a:solidFill>
                <a:schemeClr val="tx1"/>
              </a:solidFill>
            </a:rPr>
            <a:t>Level 3 (A Levels/Higher Diploma)</a:t>
          </a:r>
          <a:endParaRPr lang="en-US" dirty="0">
            <a:solidFill>
              <a:schemeClr val="tx1"/>
            </a:solidFill>
          </a:endParaRPr>
        </a:p>
      </dgm:t>
    </dgm:pt>
    <dgm:pt modelId="{C39F288B-C70C-4D0C-93C8-C192B9532169}" type="parTrans" cxnId="{CEABB864-A1FD-4AE2-8094-12C7B3E087AF}">
      <dgm:prSet/>
      <dgm:spPr/>
      <dgm:t>
        <a:bodyPr/>
        <a:lstStyle/>
        <a:p>
          <a:endParaRPr lang="en-US"/>
        </a:p>
      </dgm:t>
    </dgm:pt>
    <dgm:pt modelId="{D83128C9-9F0F-4409-A773-9CBBA6A1C47F}" type="sibTrans" cxnId="{CEABB864-A1FD-4AE2-8094-12C7B3E087AF}">
      <dgm:prSet/>
      <dgm:spPr/>
      <dgm:t>
        <a:bodyPr/>
        <a:lstStyle/>
        <a:p>
          <a:endParaRPr lang="en-US" dirty="0"/>
        </a:p>
      </dgm:t>
    </dgm:pt>
    <dgm:pt modelId="{559EFFCF-87B4-4FE3-8720-155CCC040BC9}">
      <dgm:prSet/>
      <dgm:spPr/>
      <dgm:t>
        <a:bodyPr/>
        <a:lstStyle/>
        <a:p>
          <a:r>
            <a:rPr lang="en-GB" dirty="0" smtClean="0">
              <a:solidFill>
                <a:schemeClr val="tx1"/>
              </a:solidFill>
            </a:rPr>
            <a:t>Degree</a:t>
          </a:r>
          <a:endParaRPr lang="en-US" dirty="0">
            <a:solidFill>
              <a:schemeClr val="tx1"/>
            </a:solidFill>
          </a:endParaRPr>
        </a:p>
      </dgm:t>
    </dgm:pt>
    <dgm:pt modelId="{3D217690-A21F-48C3-9CE4-44A9BA38D38C}" type="parTrans" cxnId="{9F4D9368-DA9F-494A-A432-9E71EE3DC594}">
      <dgm:prSet/>
      <dgm:spPr/>
      <dgm:t>
        <a:bodyPr/>
        <a:lstStyle/>
        <a:p>
          <a:endParaRPr lang="en-US"/>
        </a:p>
      </dgm:t>
    </dgm:pt>
    <dgm:pt modelId="{337101F3-9859-4992-8041-9173BD775896}" type="sibTrans" cxnId="{9F4D9368-DA9F-494A-A432-9E71EE3DC594}">
      <dgm:prSet/>
      <dgm:spPr/>
      <dgm:t>
        <a:bodyPr/>
        <a:lstStyle/>
        <a:p>
          <a:endParaRPr lang="en-US" dirty="0"/>
        </a:p>
      </dgm:t>
    </dgm:pt>
    <dgm:pt modelId="{7095098C-68C8-4DD5-9F6F-5B5DC7DF708D}">
      <dgm:prSet/>
      <dgm:spPr/>
      <dgm:t>
        <a:bodyPr/>
        <a:lstStyle/>
        <a:p>
          <a:r>
            <a:rPr lang="en-GB" dirty="0" smtClean="0">
              <a:solidFill>
                <a:schemeClr val="tx1"/>
              </a:solidFill>
            </a:rPr>
            <a:t>Post Graduate Qualification </a:t>
          </a:r>
          <a:endParaRPr lang="en-US" dirty="0">
            <a:solidFill>
              <a:schemeClr val="tx1"/>
            </a:solidFill>
          </a:endParaRPr>
        </a:p>
      </dgm:t>
    </dgm:pt>
    <dgm:pt modelId="{43E03A67-5071-4906-AED1-06ED737C651B}" type="parTrans" cxnId="{6186C73E-81BF-46F7-BC41-558B68FC4884}">
      <dgm:prSet/>
      <dgm:spPr/>
      <dgm:t>
        <a:bodyPr/>
        <a:lstStyle/>
        <a:p>
          <a:endParaRPr lang="en-US"/>
        </a:p>
      </dgm:t>
    </dgm:pt>
    <dgm:pt modelId="{ABC1BF58-DF67-467C-B272-AF9F7F2701C3}" type="sibTrans" cxnId="{6186C73E-81BF-46F7-BC41-558B68FC4884}">
      <dgm:prSet/>
      <dgm:spPr/>
      <dgm:t>
        <a:bodyPr/>
        <a:lstStyle/>
        <a:p>
          <a:endParaRPr lang="en-US"/>
        </a:p>
      </dgm:t>
    </dgm:pt>
    <dgm:pt modelId="{1A765E1F-8456-43FC-BDC9-4655461456BC}" type="pres">
      <dgm:prSet presAssocID="{84139764-5302-4425-8A72-C2EED93EA8B4}" presName="Name0" presStyleCnt="0">
        <dgm:presLayoutVars>
          <dgm:dir/>
          <dgm:resizeHandles val="exact"/>
        </dgm:presLayoutVars>
      </dgm:prSet>
      <dgm:spPr/>
    </dgm:pt>
    <dgm:pt modelId="{C839563D-9AD5-4506-A194-9BB1BC819FC3}" type="pres">
      <dgm:prSet presAssocID="{A4F3B3F1-CCEC-4DFE-8322-ABEC244D4558}" presName="node" presStyleLbl="node1" presStyleIdx="0" presStyleCnt="6" custLinFactNeighborX="-733" custLinFactNeighborY="-4072">
        <dgm:presLayoutVars>
          <dgm:bulletEnabled val="1"/>
        </dgm:presLayoutVars>
      </dgm:prSet>
      <dgm:spPr/>
      <dgm:t>
        <a:bodyPr/>
        <a:lstStyle/>
        <a:p>
          <a:endParaRPr lang="en-US"/>
        </a:p>
      </dgm:t>
    </dgm:pt>
    <dgm:pt modelId="{B06CB205-D2F7-4FD2-9542-372B8B93B451}" type="pres">
      <dgm:prSet presAssocID="{478A8005-823B-49A6-9AC7-12C5AD4C5117}" presName="sibTrans" presStyleLbl="sibTrans2D1" presStyleIdx="0" presStyleCnt="5"/>
      <dgm:spPr/>
      <dgm:t>
        <a:bodyPr/>
        <a:lstStyle/>
        <a:p>
          <a:endParaRPr lang="en-US"/>
        </a:p>
      </dgm:t>
    </dgm:pt>
    <dgm:pt modelId="{665AD30F-224F-4317-A881-EDA3B6FDC432}" type="pres">
      <dgm:prSet presAssocID="{478A8005-823B-49A6-9AC7-12C5AD4C5117}" presName="connectorText" presStyleLbl="sibTrans2D1" presStyleIdx="0" presStyleCnt="5"/>
      <dgm:spPr/>
      <dgm:t>
        <a:bodyPr/>
        <a:lstStyle/>
        <a:p>
          <a:endParaRPr lang="en-US"/>
        </a:p>
      </dgm:t>
    </dgm:pt>
    <dgm:pt modelId="{59F0B4F8-D8AC-479F-90B2-DDB5AA4C067F}" type="pres">
      <dgm:prSet presAssocID="{D4DD5C68-FD58-4DA8-87C1-38A13141E1D7}" presName="node" presStyleLbl="node1" presStyleIdx="1" presStyleCnt="6">
        <dgm:presLayoutVars>
          <dgm:bulletEnabled val="1"/>
        </dgm:presLayoutVars>
      </dgm:prSet>
      <dgm:spPr/>
      <dgm:t>
        <a:bodyPr/>
        <a:lstStyle/>
        <a:p>
          <a:endParaRPr lang="en-US"/>
        </a:p>
      </dgm:t>
    </dgm:pt>
    <dgm:pt modelId="{3CC5C7DA-20E7-431D-BCBE-272F6F98E6C2}" type="pres">
      <dgm:prSet presAssocID="{1F00EA31-F66D-4F11-AA4D-5C0B878D459A}" presName="sibTrans" presStyleLbl="sibTrans2D1" presStyleIdx="1" presStyleCnt="5"/>
      <dgm:spPr/>
      <dgm:t>
        <a:bodyPr/>
        <a:lstStyle/>
        <a:p>
          <a:endParaRPr lang="en-US"/>
        </a:p>
      </dgm:t>
    </dgm:pt>
    <dgm:pt modelId="{AB03A0D1-2B83-431E-94BE-F16DC509E1FF}" type="pres">
      <dgm:prSet presAssocID="{1F00EA31-F66D-4F11-AA4D-5C0B878D459A}" presName="connectorText" presStyleLbl="sibTrans2D1" presStyleIdx="1" presStyleCnt="5"/>
      <dgm:spPr/>
      <dgm:t>
        <a:bodyPr/>
        <a:lstStyle/>
        <a:p>
          <a:endParaRPr lang="en-US"/>
        </a:p>
      </dgm:t>
    </dgm:pt>
    <dgm:pt modelId="{61622173-61CA-40C7-9A00-09623F0FE0BB}" type="pres">
      <dgm:prSet presAssocID="{53A52D12-EB22-407A-AFC4-AFC32E60BCE4}" presName="node" presStyleLbl="node1" presStyleIdx="2" presStyleCnt="6">
        <dgm:presLayoutVars>
          <dgm:bulletEnabled val="1"/>
        </dgm:presLayoutVars>
      </dgm:prSet>
      <dgm:spPr/>
      <dgm:t>
        <a:bodyPr/>
        <a:lstStyle/>
        <a:p>
          <a:endParaRPr lang="en-US"/>
        </a:p>
      </dgm:t>
    </dgm:pt>
    <dgm:pt modelId="{8D2B814D-1939-49D1-8E2C-5B853C05F3E2}" type="pres">
      <dgm:prSet presAssocID="{2B9F67EA-8D7D-4E58-BA05-2760745E2EB3}" presName="sibTrans" presStyleLbl="sibTrans2D1" presStyleIdx="2" presStyleCnt="5"/>
      <dgm:spPr/>
      <dgm:t>
        <a:bodyPr/>
        <a:lstStyle/>
        <a:p>
          <a:endParaRPr lang="en-US"/>
        </a:p>
      </dgm:t>
    </dgm:pt>
    <dgm:pt modelId="{BC27F70E-A3FB-4F10-9ED9-71611E4F9617}" type="pres">
      <dgm:prSet presAssocID="{2B9F67EA-8D7D-4E58-BA05-2760745E2EB3}" presName="connectorText" presStyleLbl="sibTrans2D1" presStyleIdx="2" presStyleCnt="5"/>
      <dgm:spPr/>
      <dgm:t>
        <a:bodyPr/>
        <a:lstStyle/>
        <a:p>
          <a:endParaRPr lang="en-US"/>
        </a:p>
      </dgm:t>
    </dgm:pt>
    <dgm:pt modelId="{23BE9FC1-4933-4031-89FC-D74551C41CDC}" type="pres">
      <dgm:prSet presAssocID="{587A43A4-DE59-441D-AFFC-65F6999D587F}" presName="node" presStyleLbl="node1" presStyleIdx="3" presStyleCnt="6">
        <dgm:presLayoutVars>
          <dgm:bulletEnabled val="1"/>
        </dgm:presLayoutVars>
      </dgm:prSet>
      <dgm:spPr/>
      <dgm:t>
        <a:bodyPr/>
        <a:lstStyle/>
        <a:p>
          <a:endParaRPr lang="en-US"/>
        </a:p>
      </dgm:t>
    </dgm:pt>
    <dgm:pt modelId="{2E107060-B422-49F7-97B3-49E405B61060}" type="pres">
      <dgm:prSet presAssocID="{D83128C9-9F0F-4409-A773-9CBBA6A1C47F}" presName="sibTrans" presStyleLbl="sibTrans2D1" presStyleIdx="3" presStyleCnt="5"/>
      <dgm:spPr/>
      <dgm:t>
        <a:bodyPr/>
        <a:lstStyle/>
        <a:p>
          <a:endParaRPr lang="en-US"/>
        </a:p>
      </dgm:t>
    </dgm:pt>
    <dgm:pt modelId="{2DF1FC1E-6B84-4235-B43D-34CCB39FFA43}" type="pres">
      <dgm:prSet presAssocID="{D83128C9-9F0F-4409-A773-9CBBA6A1C47F}" presName="connectorText" presStyleLbl="sibTrans2D1" presStyleIdx="3" presStyleCnt="5"/>
      <dgm:spPr/>
      <dgm:t>
        <a:bodyPr/>
        <a:lstStyle/>
        <a:p>
          <a:endParaRPr lang="en-US"/>
        </a:p>
      </dgm:t>
    </dgm:pt>
    <dgm:pt modelId="{99F67687-208E-47A8-8BA3-48C16AEBF911}" type="pres">
      <dgm:prSet presAssocID="{559EFFCF-87B4-4FE3-8720-155CCC040BC9}" presName="node" presStyleLbl="node1" presStyleIdx="4" presStyleCnt="6" custScaleX="395734" custScaleY="90483">
        <dgm:presLayoutVars>
          <dgm:bulletEnabled val="1"/>
        </dgm:presLayoutVars>
      </dgm:prSet>
      <dgm:spPr/>
      <dgm:t>
        <a:bodyPr/>
        <a:lstStyle/>
        <a:p>
          <a:endParaRPr lang="en-US"/>
        </a:p>
      </dgm:t>
    </dgm:pt>
    <dgm:pt modelId="{12885AE2-41DF-4B45-92EB-D46620E00E44}" type="pres">
      <dgm:prSet presAssocID="{337101F3-9859-4992-8041-9173BD775896}" presName="sibTrans" presStyleLbl="sibTrans2D1" presStyleIdx="4" presStyleCnt="5"/>
      <dgm:spPr/>
      <dgm:t>
        <a:bodyPr/>
        <a:lstStyle/>
        <a:p>
          <a:endParaRPr lang="en-US"/>
        </a:p>
      </dgm:t>
    </dgm:pt>
    <dgm:pt modelId="{020601AC-EBF0-4AD6-B0F8-5AECBC4353E7}" type="pres">
      <dgm:prSet presAssocID="{337101F3-9859-4992-8041-9173BD775896}" presName="connectorText" presStyleLbl="sibTrans2D1" presStyleIdx="4" presStyleCnt="5"/>
      <dgm:spPr/>
      <dgm:t>
        <a:bodyPr/>
        <a:lstStyle/>
        <a:p>
          <a:endParaRPr lang="en-US"/>
        </a:p>
      </dgm:t>
    </dgm:pt>
    <dgm:pt modelId="{3D505781-382E-4D76-A0F5-FF5345634DF2}" type="pres">
      <dgm:prSet presAssocID="{7095098C-68C8-4DD5-9F6F-5B5DC7DF708D}" presName="node" presStyleLbl="node1" presStyleIdx="5" presStyleCnt="6">
        <dgm:presLayoutVars>
          <dgm:bulletEnabled val="1"/>
        </dgm:presLayoutVars>
      </dgm:prSet>
      <dgm:spPr/>
      <dgm:t>
        <a:bodyPr/>
        <a:lstStyle/>
        <a:p>
          <a:endParaRPr lang="en-US"/>
        </a:p>
      </dgm:t>
    </dgm:pt>
  </dgm:ptLst>
  <dgm:cxnLst>
    <dgm:cxn modelId="{F16B9A02-4003-417F-9E88-0D81D3209FBC}" type="presOf" srcId="{337101F3-9859-4992-8041-9173BD775896}" destId="{020601AC-EBF0-4AD6-B0F8-5AECBC4353E7}" srcOrd="1" destOrd="0" presId="urn:microsoft.com/office/officeart/2005/8/layout/process1"/>
    <dgm:cxn modelId="{A7612E5F-0F1C-4267-BFE8-90F6630D7D1E}" type="presOf" srcId="{53A52D12-EB22-407A-AFC4-AFC32E60BCE4}" destId="{61622173-61CA-40C7-9A00-09623F0FE0BB}" srcOrd="0" destOrd="0" presId="urn:microsoft.com/office/officeart/2005/8/layout/process1"/>
    <dgm:cxn modelId="{6ADF3E26-F7FB-48B4-A515-FFB33D04135F}" srcId="{84139764-5302-4425-8A72-C2EED93EA8B4}" destId="{D4DD5C68-FD58-4DA8-87C1-38A13141E1D7}" srcOrd="1" destOrd="0" parTransId="{CB0FBB4C-DA3F-4EE2-B560-A2FAD0B2F14D}" sibTransId="{1F00EA31-F66D-4F11-AA4D-5C0B878D459A}"/>
    <dgm:cxn modelId="{AC586CD5-49E0-4AD0-8A55-3A32399D5BEE}" type="presOf" srcId="{D83128C9-9F0F-4409-A773-9CBBA6A1C47F}" destId="{2DF1FC1E-6B84-4235-B43D-34CCB39FFA43}" srcOrd="1" destOrd="0" presId="urn:microsoft.com/office/officeart/2005/8/layout/process1"/>
    <dgm:cxn modelId="{9F4D9368-DA9F-494A-A432-9E71EE3DC594}" srcId="{84139764-5302-4425-8A72-C2EED93EA8B4}" destId="{559EFFCF-87B4-4FE3-8720-155CCC040BC9}" srcOrd="4" destOrd="0" parTransId="{3D217690-A21F-48C3-9CE4-44A9BA38D38C}" sibTransId="{337101F3-9859-4992-8041-9173BD775896}"/>
    <dgm:cxn modelId="{2FB1FC88-F54A-4898-9748-381995352627}" type="presOf" srcId="{478A8005-823B-49A6-9AC7-12C5AD4C5117}" destId="{665AD30F-224F-4317-A881-EDA3B6FDC432}" srcOrd="1" destOrd="0" presId="urn:microsoft.com/office/officeart/2005/8/layout/process1"/>
    <dgm:cxn modelId="{7F1C2FE8-D330-489C-A45A-6B02851DE6A8}" srcId="{84139764-5302-4425-8A72-C2EED93EA8B4}" destId="{A4F3B3F1-CCEC-4DFE-8322-ABEC244D4558}" srcOrd="0" destOrd="0" parTransId="{0CE77F41-A145-4AB6-AB4B-84D008F082AB}" sibTransId="{478A8005-823B-49A6-9AC7-12C5AD4C5117}"/>
    <dgm:cxn modelId="{6139D652-8D13-47D7-B725-EC24BECAEEF6}" type="presOf" srcId="{478A8005-823B-49A6-9AC7-12C5AD4C5117}" destId="{B06CB205-D2F7-4FD2-9542-372B8B93B451}" srcOrd="0" destOrd="0" presId="urn:microsoft.com/office/officeart/2005/8/layout/process1"/>
    <dgm:cxn modelId="{945942EE-A872-4690-96F1-18380B13996C}" type="presOf" srcId="{7095098C-68C8-4DD5-9F6F-5B5DC7DF708D}" destId="{3D505781-382E-4D76-A0F5-FF5345634DF2}" srcOrd="0" destOrd="0" presId="urn:microsoft.com/office/officeart/2005/8/layout/process1"/>
    <dgm:cxn modelId="{45756072-8E10-4924-BE72-3DA0A4E590CC}" type="presOf" srcId="{2B9F67EA-8D7D-4E58-BA05-2760745E2EB3}" destId="{BC27F70E-A3FB-4F10-9ED9-71611E4F9617}" srcOrd="1" destOrd="0" presId="urn:microsoft.com/office/officeart/2005/8/layout/process1"/>
    <dgm:cxn modelId="{9BB687C2-D02B-47AE-9677-F41012CC9CE0}" type="presOf" srcId="{A4F3B3F1-CCEC-4DFE-8322-ABEC244D4558}" destId="{C839563D-9AD5-4506-A194-9BB1BC819FC3}" srcOrd="0" destOrd="0" presId="urn:microsoft.com/office/officeart/2005/8/layout/process1"/>
    <dgm:cxn modelId="{CEABB864-A1FD-4AE2-8094-12C7B3E087AF}" srcId="{84139764-5302-4425-8A72-C2EED93EA8B4}" destId="{587A43A4-DE59-441D-AFFC-65F6999D587F}" srcOrd="3" destOrd="0" parTransId="{C39F288B-C70C-4D0C-93C8-C192B9532169}" sibTransId="{D83128C9-9F0F-4409-A773-9CBBA6A1C47F}"/>
    <dgm:cxn modelId="{A72B0776-A15F-4589-AA8B-D6A5A258C41C}" type="presOf" srcId="{1F00EA31-F66D-4F11-AA4D-5C0B878D459A}" destId="{AB03A0D1-2B83-431E-94BE-F16DC509E1FF}" srcOrd="1" destOrd="0" presId="urn:microsoft.com/office/officeart/2005/8/layout/process1"/>
    <dgm:cxn modelId="{C6799277-D3C3-4A80-BBFF-410F768BED48}" type="presOf" srcId="{1F00EA31-F66D-4F11-AA4D-5C0B878D459A}" destId="{3CC5C7DA-20E7-431D-BCBE-272F6F98E6C2}" srcOrd="0" destOrd="0" presId="urn:microsoft.com/office/officeart/2005/8/layout/process1"/>
    <dgm:cxn modelId="{571D6FB0-9446-440F-B1DB-86AA839B27C4}" type="presOf" srcId="{337101F3-9859-4992-8041-9173BD775896}" destId="{12885AE2-41DF-4B45-92EB-D46620E00E44}" srcOrd="0" destOrd="0" presId="urn:microsoft.com/office/officeart/2005/8/layout/process1"/>
    <dgm:cxn modelId="{0D9FF718-AABD-4521-A3E4-5333A8BADB44}" type="presOf" srcId="{559EFFCF-87B4-4FE3-8720-155CCC040BC9}" destId="{99F67687-208E-47A8-8BA3-48C16AEBF911}" srcOrd="0" destOrd="0" presId="urn:microsoft.com/office/officeart/2005/8/layout/process1"/>
    <dgm:cxn modelId="{F7993217-4EBA-4FA4-8A80-17851F7F0286}" type="presOf" srcId="{587A43A4-DE59-441D-AFFC-65F6999D587F}" destId="{23BE9FC1-4933-4031-89FC-D74551C41CDC}" srcOrd="0" destOrd="0" presId="urn:microsoft.com/office/officeart/2005/8/layout/process1"/>
    <dgm:cxn modelId="{99781981-CA3E-4304-B4EE-FA8899A2FF1F}" type="presOf" srcId="{84139764-5302-4425-8A72-C2EED93EA8B4}" destId="{1A765E1F-8456-43FC-BDC9-4655461456BC}" srcOrd="0" destOrd="0" presId="urn:microsoft.com/office/officeart/2005/8/layout/process1"/>
    <dgm:cxn modelId="{D73A4BF3-5B12-4950-9175-076F7B7605FF}" type="presOf" srcId="{2B9F67EA-8D7D-4E58-BA05-2760745E2EB3}" destId="{8D2B814D-1939-49D1-8E2C-5B853C05F3E2}" srcOrd="0" destOrd="0" presId="urn:microsoft.com/office/officeart/2005/8/layout/process1"/>
    <dgm:cxn modelId="{6186C73E-81BF-46F7-BC41-558B68FC4884}" srcId="{84139764-5302-4425-8A72-C2EED93EA8B4}" destId="{7095098C-68C8-4DD5-9F6F-5B5DC7DF708D}" srcOrd="5" destOrd="0" parTransId="{43E03A67-5071-4906-AED1-06ED737C651B}" sibTransId="{ABC1BF58-DF67-467C-B272-AF9F7F2701C3}"/>
    <dgm:cxn modelId="{E5AD2A63-6EC8-493C-AFDD-59904B220A31}" srcId="{84139764-5302-4425-8A72-C2EED93EA8B4}" destId="{53A52D12-EB22-407A-AFC4-AFC32E60BCE4}" srcOrd="2" destOrd="0" parTransId="{1B75E0E0-FABF-4D2B-A045-3951F25025CD}" sibTransId="{2B9F67EA-8D7D-4E58-BA05-2760745E2EB3}"/>
    <dgm:cxn modelId="{31E2488D-62FA-4143-AD4D-B2CF53BAC4B5}" type="presOf" srcId="{D83128C9-9F0F-4409-A773-9CBBA6A1C47F}" destId="{2E107060-B422-49F7-97B3-49E405B61060}" srcOrd="0" destOrd="0" presId="urn:microsoft.com/office/officeart/2005/8/layout/process1"/>
    <dgm:cxn modelId="{9991A84B-DCA0-4789-B257-964646D6DFEA}" type="presOf" srcId="{D4DD5C68-FD58-4DA8-87C1-38A13141E1D7}" destId="{59F0B4F8-D8AC-479F-90B2-DDB5AA4C067F}" srcOrd="0" destOrd="0" presId="urn:microsoft.com/office/officeart/2005/8/layout/process1"/>
    <dgm:cxn modelId="{336000DE-60C2-4A35-88B8-BC694BA42A4C}" type="presParOf" srcId="{1A765E1F-8456-43FC-BDC9-4655461456BC}" destId="{C839563D-9AD5-4506-A194-9BB1BC819FC3}" srcOrd="0" destOrd="0" presId="urn:microsoft.com/office/officeart/2005/8/layout/process1"/>
    <dgm:cxn modelId="{A2BBB41B-B697-48C1-9A6D-07D740CA64B7}" type="presParOf" srcId="{1A765E1F-8456-43FC-BDC9-4655461456BC}" destId="{B06CB205-D2F7-4FD2-9542-372B8B93B451}" srcOrd="1" destOrd="0" presId="urn:microsoft.com/office/officeart/2005/8/layout/process1"/>
    <dgm:cxn modelId="{F164A2B6-08D9-49E3-B69D-7DA7085833FC}" type="presParOf" srcId="{B06CB205-D2F7-4FD2-9542-372B8B93B451}" destId="{665AD30F-224F-4317-A881-EDA3B6FDC432}" srcOrd="0" destOrd="0" presId="urn:microsoft.com/office/officeart/2005/8/layout/process1"/>
    <dgm:cxn modelId="{FA52DF24-AAAD-4C1B-AA75-1922E53189BB}" type="presParOf" srcId="{1A765E1F-8456-43FC-BDC9-4655461456BC}" destId="{59F0B4F8-D8AC-479F-90B2-DDB5AA4C067F}" srcOrd="2" destOrd="0" presId="urn:microsoft.com/office/officeart/2005/8/layout/process1"/>
    <dgm:cxn modelId="{238F845C-E726-4910-85D2-5F77CC233EDC}" type="presParOf" srcId="{1A765E1F-8456-43FC-BDC9-4655461456BC}" destId="{3CC5C7DA-20E7-431D-BCBE-272F6F98E6C2}" srcOrd="3" destOrd="0" presId="urn:microsoft.com/office/officeart/2005/8/layout/process1"/>
    <dgm:cxn modelId="{B07A7ED6-1557-4024-A84A-A3D0DFF64C46}" type="presParOf" srcId="{3CC5C7DA-20E7-431D-BCBE-272F6F98E6C2}" destId="{AB03A0D1-2B83-431E-94BE-F16DC509E1FF}" srcOrd="0" destOrd="0" presId="urn:microsoft.com/office/officeart/2005/8/layout/process1"/>
    <dgm:cxn modelId="{5289F4DD-3D79-4FB1-B7AC-6C80383804E0}" type="presParOf" srcId="{1A765E1F-8456-43FC-BDC9-4655461456BC}" destId="{61622173-61CA-40C7-9A00-09623F0FE0BB}" srcOrd="4" destOrd="0" presId="urn:microsoft.com/office/officeart/2005/8/layout/process1"/>
    <dgm:cxn modelId="{BA4D2680-BF48-44B6-B102-CD2926021561}" type="presParOf" srcId="{1A765E1F-8456-43FC-BDC9-4655461456BC}" destId="{8D2B814D-1939-49D1-8E2C-5B853C05F3E2}" srcOrd="5" destOrd="0" presId="urn:microsoft.com/office/officeart/2005/8/layout/process1"/>
    <dgm:cxn modelId="{A14DB7A6-ACD9-4369-8FF7-4ADB9C9A1DD5}" type="presParOf" srcId="{8D2B814D-1939-49D1-8E2C-5B853C05F3E2}" destId="{BC27F70E-A3FB-4F10-9ED9-71611E4F9617}" srcOrd="0" destOrd="0" presId="urn:microsoft.com/office/officeart/2005/8/layout/process1"/>
    <dgm:cxn modelId="{F3F561F5-7237-4A9B-AD8A-E5D150CE01B0}" type="presParOf" srcId="{1A765E1F-8456-43FC-BDC9-4655461456BC}" destId="{23BE9FC1-4933-4031-89FC-D74551C41CDC}" srcOrd="6" destOrd="0" presId="urn:microsoft.com/office/officeart/2005/8/layout/process1"/>
    <dgm:cxn modelId="{5581E98B-C64B-44CA-81FC-E88E2E5E90A6}" type="presParOf" srcId="{1A765E1F-8456-43FC-BDC9-4655461456BC}" destId="{2E107060-B422-49F7-97B3-49E405B61060}" srcOrd="7" destOrd="0" presId="urn:microsoft.com/office/officeart/2005/8/layout/process1"/>
    <dgm:cxn modelId="{9E7B1DCE-9E32-4A97-91AE-D56E754F6C85}" type="presParOf" srcId="{2E107060-B422-49F7-97B3-49E405B61060}" destId="{2DF1FC1E-6B84-4235-B43D-34CCB39FFA43}" srcOrd="0" destOrd="0" presId="urn:microsoft.com/office/officeart/2005/8/layout/process1"/>
    <dgm:cxn modelId="{2AA8D477-E06A-430E-B241-1A48BAE94015}" type="presParOf" srcId="{1A765E1F-8456-43FC-BDC9-4655461456BC}" destId="{99F67687-208E-47A8-8BA3-48C16AEBF911}" srcOrd="8" destOrd="0" presId="urn:microsoft.com/office/officeart/2005/8/layout/process1"/>
    <dgm:cxn modelId="{3B5FEF2A-8EA7-49B4-B570-BB68CD45257F}" type="presParOf" srcId="{1A765E1F-8456-43FC-BDC9-4655461456BC}" destId="{12885AE2-41DF-4B45-92EB-D46620E00E44}" srcOrd="9" destOrd="0" presId="urn:microsoft.com/office/officeart/2005/8/layout/process1"/>
    <dgm:cxn modelId="{08E12C1C-288B-4825-8EA8-741BC7C709BD}" type="presParOf" srcId="{12885AE2-41DF-4B45-92EB-D46620E00E44}" destId="{020601AC-EBF0-4AD6-B0F8-5AECBC4353E7}" srcOrd="0" destOrd="0" presId="urn:microsoft.com/office/officeart/2005/8/layout/process1"/>
    <dgm:cxn modelId="{9671A74B-B88A-42A7-AA6E-34869CB28A15}" type="presParOf" srcId="{1A765E1F-8456-43FC-BDC9-4655461456BC}" destId="{3D505781-382E-4D76-A0F5-FF5345634DF2}" srcOrd="10" destOrd="0" presId="urn:microsoft.com/office/officeart/2005/8/layout/process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9563D-9AD5-4506-A194-9BB1BC819FC3}">
      <dsp:nvSpPr>
        <dsp:cNvPr id="0" name=""/>
        <dsp:cNvSpPr/>
      </dsp:nvSpPr>
      <dsp:spPr>
        <a:xfrm>
          <a:off x="1749" y="1755098"/>
          <a:ext cx="1051132" cy="630679"/>
        </a:xfrm>
        <a:prstGeom prst="roundRect">
          <a:avLst>
            <a:gd name="adj" fmla="val 10000"/>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Primary</a:t>
          </a:r>
          <a:endParaRPr lang="en-US" sz="1100" kern="1200" dirty="0">
            <a:solidFill>
              <a:schemeClr val="tx1"/>
            </a:solidFill>
          </a:endParaRPr>
        </a:p>
      </dsp:txBody>
      <dsp:txXfrm>
        <a:off x="20221" y="1773570"/>
        <a:ext cx="1014188" cy="593735"/>
      </dsp:txXfrm>
    </dsp:sp>
    <dsp:sp modelId="{B06CB205-D2F7-4FD2-9542-372B8B93B451}">
      <dsp:nvSpPr>
        <dsp:cNvPr id="0" name=""/>
        <dsp:cNvSpPr/>
      </dsp:nvSpPr>
      <dsp:spPr>
        <a:xfrm rot="59862">
          <a:off x="1158748" y="1953049"/>
          <a:ext cx="224507" cy="260680"/>
        </a:xfrm>
        <a:prstGeom prst="rightArrow">
          <a:avLst>
            <a:gd name="adj1" fmla="val 60000"/>
            <a:gd name="adj2" fmla="val 50000"/>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1158753" y="2004599"/>
        <a:ext cx="157155" cy="156408"/>
      </dsp:txXfrm>
    </dsp:sp>
    <dsp:sp modelId="{59F0B4F8-D8AC-479F-90B2-DDB5AA4C067F}">
      <dsp:nvSpPr>
        <dsp:cNvPr id="0" name=""/>
        <dsp:cNvSpPr/>
      </dsp:nvSpPr>
      <dsp:spPr>
        <a:xfrm>
          <a:off x="1476417" y="1780780"/>
          <a:ext cx="1051132" cy="630679"/>
        </a:xfrm>
        <a:prstGeom prst="roundRect">
          <a:avLst>
            <a:gd name="adj" fmla="val 10000"/>
          </a:avLst>
        </a:prstGeom>
        <a:solidFill>
          <a:schemeClr val="bg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Key Stage 3</a:t>
          </a:r>
          <a:endParaRPr lang="en-US" sz="1100" kern="1200" dirty="0">
            <a:solidFill>
              <a:schemeClr val="tx1"/>
            </a:solidFill>
          </a:endParaRPr>
        </a:p>
      </dsp:txBody>
      <dsp:txXfrm>
        <a:off x="1494889" y="1799252"/>
        <a:ext cx="1014188" cy="593735"/>
      </dsp:txXfrm>
    </dsp:sp>
    <dsp:sp modelId="{3CC5C7DA-20E7-431D-BCBE-272F6F98E6C2}">
      <dsp:nvSpPr>
        <dsp:cNvPr id="0" name=""/>
        <dsp:cNvSpPr/>
      </dsp:nvSpPr>
      <dsp:spPr>
        <a:xfrm>
          <a:off x="2632663" y="1965779"/>
          <a:ext cx="222840" cy="260680"/>
        </a:xfrm>
        <a:prstGeom prst="rightArrow">
          <a:avLst>
            <a:gd name="adj1" fmla="val 60000"/>
            <a:gd name="adj2" fmla="val 50000"/>
          </a:avLst>
        </a:prstGeom>
        <a:solidFill>
          <a:schemeClr val="bg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2632663" y="2017915"/>
        <a:ext cx="155988" cy="156408"/>
      </dsp:txXfrm>
    </dsp:sp>
    <dsp:sp modelId="{61622173-61CA-40C7-9A00-09623F0FE0BB}">
      <dsp:nvSpPr>
        <dsp:cNvPr id="0" name=""/>
        <dsp:cNvSpPr/>
      </dsp:nvSpPr>
      <dsp:spPr>
        <a:xfrm>
          <a:off x="2948002" y="1780780"/>
          <a:ext cx="1051132" cy="630679"/>
        </a:xfrm>
        <a:prstGeom prst="roundRect">
          <a:avLst>
            <a:gd name="adj" fmla="val 10000"/>
          </a:avLst>
        </a:prstGeom>
        <a:solidFill>
          <a:schemeClr val="accent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Level 2 (GCSE/BTEC)</a:t>
          </a:r>
          <a:endParaRPr lang="en-US" sz="1100" kern="1200" dirty="0">
            <a:solidFill>
              <a:schemeClr val="tx1"/>
            </a:solidFill>
          </a:endParaRPr>
        </a:p>
      </dsp:txBody>
      <dsp:txXfrm>
        <a:off x="2966474" y="1799252"/>
        <a:ext cx="1014188" cy="593735"/>
      </dsp:txXfrm>
    </dsp:sp>
    <dsp:sp modelId="{8D2B814D-1939-49D1-8E2C-5B853C05F3E2}">
      <dsp:nvSpPr>
        <dsp:cNvPr id="0" name=""/>
        <dsp:cNvSpPr/>
      </dsp:nvSpPr>
      <dsp:spPr>
        <a:xfrm>
          <a:off x="4104248" y="1965779"/>
          <a:ext cx="222840" cy="260680"/>
        </a:xfrm>
        <a:prstGeom prst="rightArrow">
          <a:avLst>
            <a:gd name="adj1" fmla="val 60000"/>
            <a:gd name="adj2" fmla="val 50000"/>
          </a:avLst>
        </a:prstGeom>
        <a:solidFill>
          <a:schemeClr val="accent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4104248" y="2017915"/>
        <a:ext cx="155988" cy="156408"/>
      </dsp:txXfrm>
    </dsp:sp>
    <dsp:sp modelId="{23BE9FC1-4933-4031-89FC-D74551C41CDC}">
      <dsp:nvSpPr>
        <dsp:cNvPr id="0" name=""/>
        <dsp:cNvSpPr/>
      </dsp:nvSpPr>
      <dsp:spPr>
        <a:xfrm>
          <a:off x="4419588" y="1780780"/>
          <a:ext cx="1051132" cy="630679"/>
        </a:xfrm>
        <a:prstGeom prst="roundRect">
          <a:avLst>
            <a:gd name="adj" fmla="val 10000"/>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Level 3 (A Levels/Higher Diploma)</a:t>
          </a:r>
          <a:endParaRPr lang="en-US" sz="1100" kern="1200" dirty="0">
            <a:solidFill>
              <a:schemeClr val="tx1"/>
            </a:solidFill>
          </a:endParaRPr>
        </a:p>
      </dsp:txBody>
      <dsp:txXfrm>
        <a:off x="4438060" y="1799252"/>
        <a:ext cx="1014188" cy="593735"/>
      </dsp:txXfrm>
    </dsp:sp>
    <dsp:sp modelId="{2E107060-B422-49F7-97B3-49E405B61060}">
      <dsp:nvSpPr>
        <dsp:cNvPr id="0" name=""/>
        <dsp:cNvSpPr/>
      </dsp:nvSpPr>
      <dsp:spPr>
        <a:xfrm>
          <a:off x="5575834" y="1965779"/>
          <a:ext cx="222840" cy="260680"/>
        </a:xfrm>
        <a:prstGeom prst="rightArrow">
          <a:avLst>
            <a:gd name="adj1" fmla="val 60000"/>
            <a:gd name="adj2" fmla="val 50000"/>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5575834" y="2017915"/>
        <a:ext cx="155988" cy="156408"/>
      </dsp:txXfrm>
    </dsp:sp>
    <dsp:sp modelId="{99F67687-208E-47A8-8BA3-48C16AEBF911}">
      <dsp:nvSpPr>
        <dsp:cNvPr id="0" name=""/>
        <dsp:cNvSpPr/>
      </dsp:nvSpPr>
      <dsp:spPr>
        <a:xfrm>
          <a:off x="5891174" y="1810791"/>
          <a:ext cx="4159689" cy="570657"/>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Degree</a:t>
          </a:r>
          <a:endParaRPr lang="en-US" sz="1100" kern="1200" dirty="0">
            <a:solidFill>
              <a:schemeClr val="tx1"/>
            </a:solidFill>
          </a:endParaRPr>
        </a:p>
      </dsp:txBody>
      <dsp:txXfrm>
        <a:off x="5907888" y="1827505"/>
        <a:ext cx="4126261" cy="537229"/>
      </dsp:txXfrm>
    </dsp:sp>
    <dsp:sp modelId="{12885AE2-41DF-4B45-92EB-D46620E00E44}">
      <dsp:nvSpPr>
        <dsp:cNvPr id="0" name=""/>
        <dsp:cNvSpPr/>
      </dsp:nvSpPr>
      <dsp:spPr>
        <a:xfrm>
          <a:off x="10155977" y="1965779"/>
          <a:ext cx="222840" cy="260680"/>
        </a:xfrm>
        <a:prstGeom prst="rightArrow">
          <a:avLst>
            <a:gd name="adj1" fmla="val 60000"/>
            <a:gd name="adj2" fmla="val 5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dirty="0"/>
        </a:p>
      </dsp:txBody>
      <dsp:txXfrm>
        <a:off x="10155977" y="2017915"/>
        <a:ext cx="155988" cy="156408"/>
      </dsp:txXfrm>
    </dsp:sp>
    <dsp:sp modelId="{3D505781-382E-4D76-A0F5-FF5345634DF2}">
      <dsp:nvSpPr>
        <dsp:cNvPr id="0" name=""/>
        <dsp:cNvSpPr/>
      </dsp:nvSpPr>
      <dsp:spPr>
        <a:xfrm>
          <a:off x="10471316" y="1780780"/>
          <a:ext cx="1051132" cy="630679"/>
        </a:xfrm>
        <a:prstGeom prst="roundRect">
          <a:avLst>
            <a:gd name="adj" fmla="val 10000"/>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GB" sz="1100" kern="1200" dirty="0" smtClean="0">
              <a:solidFill>
                <a:schemeClr val="tx1"/>
              </a:solidFill>
            </a:rPr>
            <a:t>Post Graduate Qualification </a:t>
          </a:r>
          <a:endParaRPr lang="en-US" sz="1100" kern="1200" dirty="0">
            <a:solidFill>
              <a:schemeClr val="tx1"/>
            </a:solidFill>
          </a:endParaRPr>
        </a:p>
      </dsp:txBody>
      <dsp:txXfrm>
        <a:off x="10489788" y="1799252"/>
        <a:ext cx="1014188" cy="59373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siemens.co.uk/education/en/digitalbadges.ht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makewav.es/siemen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www.openbadgeacademy.com/siemens"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itchFamily="34" charset="0"/>
              <a:buChar char="•"/>
            </a:pPr>
            <a:endParaRPr lang="en-GB" sz="1800" dirty="0" smtClean="0"/>
          </a:p>
          <a:p>
            <a:r>
              <a:rPr lang="en-GB" sz="2400" dirty="0" smtClean="0"/>
              <a:t>Brenda Yearsley: </a:t>
            </a:r>
          </a:p>
          <a:p>
            <a:endParaRPr lang="en-GB" sz="2400" dirty="0" smtClean="0"/>
          </a:p>
          <a:p>
            <a:r>
              <a:rPr lang="en-GB" sz="2400" dirty="0" smtClean="0"/>
              <a:t> I work with Siemens Global Social Innovation Team currently as the UK School and Education Manager </a:t>
            </a:r>
            <a:br>
              <a:rPr lang="en-GB" sz="2400" dirty="0" smtClean="0"/>
            </a:br>
            <a:endParaRPr lang="en-GB" sz="2400" dirty="0"/>
          </a:p>
        </p:txBody>
      </p:sp>
      <p:sp>
        <p:nvSpPr>
          <p:cNvPr id="4" name="Slide Number Placeholder 3"/>
          <p:cNvSpPr>
            <a:spLocks noGrp="1"/>
          </p:cNvSpPr>
          <p:nvPr>
            <p:ph type="sldNum" sz="quarter" idx="10"/>
          </p:nvPr>
        </p:nvSpPr>
        <p:spPr/>
        <p:txBody>
          <a:bodyPr/>
          <a:lstStyle/>
          <a:p>
            <a:r>
              <a:rPr lang="de-DE" dirty="0" smtClean="0">
                <a:solidFill>
                  <a:srgbClr val="EEECE1"/>
                </a:solidFill>
              </a:rPr>
              <a:t>Notes </a:t>
            </a:r>
            <a:fld id="{AD141568-5488-4AC9-B82D-9F5CE1225E2A}" type="slidenum">
              <a:rPr lang="de-DE" smtClean="0">
                <a:solidFill>
                  <a:srgbClr val="EEECE1"/>
                </a:solidFill>
              </a:rPr>
              <a:pPr/>
              <a:t>1</a:t>
            </a:fld>
            <a:endParaRPr lang="de-DE" dirty="0">
              <a:solidFill>
                <a:srgbClr val="EEECE1"/>
              </a:solidFill>
            </a:endParaRPr>
          </a:p>
        </p:txBody>
      </p:sp>
    </p:spTree>
    <p:extLst>
      <p:ext uri="{BB962C8B-B14F-4D97-AF65-F5344CB8AC3E}">
        <p14:creationId xmlns:p14="http://schemas.microsoft.com/office/powerpoint/2010/main" val="18536727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2400"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1</a:t>
            </a:fld>
            <a:endParaRPr lang="de-DE" dirty="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2</a:t>
            </a:fld>
            <a:endParaRPr lang="de-DE" dirty="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2100" dirty="0" smtClean="0"/>
          </a:p>
          <a:p>
            <a:endParaRPr lang="en-GB"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3</a:t>
            </a:fld>
            <a:endParaRPr lang="de-DE" dirty="0">
              <a:latin typeface="Arial" pitchFamily="34" charset="0"/>
            </a:endParaRPr>
          </a:p>
        </p:txBody>
      </p:sp>
      <p:sp>
        <p:nvSpPr>
          <p:cNvPr id="5" name="Rectangle 4"/>
          <p:cNvSpPr/>
          <p:nvPr/>
        </p:nvSpPr>
        <p:spPr>
          <a:xfrm>
            <a:off x="453306" y="5384427"/>
            <a:ext cx="6407869" cy="3277820"/>
          </a:xfrm>
          <a:prstGeom prst="rect">
            <a:avLst/>
          </a:prstGeom>
        </p:spPr>
        <p:txBody>
          <a:bodyPr wrap="square">
            <a:spAutoFit/>
          </a:bodyPr>
          <a:lstStyle/>
          <a:p>
            <a:pPr lvl="0"/>
            <a:endParaRPr lang="en-GB" dirty="0" smtClean="0">
              <a:solidFill>
                <a:schemeClr val="tx1"/>
              </a:solidFill>
            </a:endParaRPr>
          </a:p>
          <a:p>
            <a:pPr lvl="0"/>
            <a:r>
              <a:rPr lang="en-GB" dirty="0" smtClean="0">
                <a:solidFill>
                  <a:schemeClr val="tx1"/>
                </a:solidFill>
              </a:rPr>
              <a:t>The working world is moving from physical to virtual</a:t>
            </a:r>
          </a:p>
          <a:p>
            <a:pPr lvl="0"/>
            <a:endParaRPr lang="en-GB" dirty="0" smtClean="0">
              <a:solidFill>
                <a:schemeClr val="tx1"/>
              </a:solidFill>
            </a:endParaRPr>
          </a:p>
          <a:p>
            <a:pPr lvl="0"/>
            <a:r>
              <a:rPr lang="en-GB" dirty="0" smtClean="0">
                <a:solidFill>
                  <a:schemeClr val="tx1"/>
                </a:solidFill>
              </a:rPr>
              <a:t>A mindsphere environment</a:t>
            </a:r>
          </a:p>
          <a:p>
            <a:pPr lvl="0"/>
            <a:endParaRPr lang="en-GB" dirty="0" smtClean="0">
              <a:solidFill>
                <a:schemeClr val="tx1"/>
              </a:solidFill>
            </a:endParaRPr>
          </a:p>
          <a:p>
            <a:pPr lvl="0"/>
            <a:r>
              <a:rPr lang="en-GB" dirty="0" smtClean="0">
                <a:solidFill>
                  <a:schemeClr val="tx1"/>
                </a:solidFill>
              </a:rPr>
              <a:t>Managed to autonomous</a:t>
            </a:r>
          </a:p>
          <a:p>
            <a:pPr lvl="0"/>
            <a:endParaRPr lang="en-GB" dirty="0" smtClean="0">
              <a:solidFill>
                <a:schemeClr val="tx1"/>
              </a:solidFill>
            </a:endParaRPr>
          </a:p>
          <a:p>
            <a:pPr lvl="0"/>
            <a:r>
              <a:rPr lang="en-GB" dirty="0" smtClean="0">
                <a:solidFill>
                  <a:schemeClr val="tx1"/>
                </a:solidFill>
              </a:rPr>
              <a:t> Artificial intelligence, augmented reality </a:t>
            </a:r>
            <a:endParaRPr lang="en-US" dirty="0" smtClean="0">
              <a:solidFill>
                <a:schemeClr val="tx1"/>
              </a:solidFill>
            </a:endParaRPr>
          </a:p>
        </p:txBody>
      </p:sp>
    </p:spTree>
    <p:extLst>
      <p:ext uri="{BB962C8B-B14F-4D97-AF65-F5344CB8AC3E}">
        <p14:creationId xmlns:p14="http://schemas.microsoft.com/office/powerpoint/2010/main" val="40796737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19363" y="292100"/>
            <a:ext cx="2063750" cy="1160463"/>
          </a:xfrm>
        </p:spPr>
      </p:sp>
      <p:sp>
        <p:nvSpPr>
          <p:cNvPr id="3" name="Notizenplatzhalter 2"/>
          <p:cNvSpPr>
            <a:spLocks noGrp="1"/>
          </p:cNvSpPr>
          <p:nvPr>
            <p:ph type="body" idx="1"/>
          </p:nvPr>
        </p:nvSpPr>
        <p:spPr>
          <a:xfrm>
            <a:off x="238126" y="1452792"/>
            <a:ext cx="6623050" cy="8702956"/>
          </a:xfrm>
        </p:spPr>
        <p:txBody>
          <a:bodyPr/>
          <a:lstStyle/>
          <a:p>
            <a:r>
              <a:rPr lang="en-US" sz="1900" dirty="0" smtClean="0"/>
              <a:t>In terms of technology, society, demography globalisation,</a:t>
            </a:r>
          </a:p>
          <a:p>
            <a:r>
              <a:rPr lang="en-US" sz="1900" dirty="0" smtClean="0"/>
              <a:t> a number of shifting trends have created new challenges and opportunities</a:t>
            </a:r>
          </a:p>
          <a:p>
            <a:pPr lvl="0"/>
            <a:r>
              <a:rPr lang="en-US" sz="1900" u="sng" dirty="0" smtClean="0"/>
              <a:t>Advanced Technologies</a:t>
            </a:r>
            <a:r>
              <a:rPr lang="en-US" sz="1900" dirty="0" smtClean="0"/>
              <a:t>: • the nature of work is more complex and technology-dependent, new technology platforms are facilitating greater collaboration and enabling new forms of virtual working. • </a:t>
            </a:r>
          </a:p>
          <a:p>
            <a:pPr lvl="0"/>
            <a:r>
              <a:rPr lang="en-US" sz="1900" dirty="0" smtClean="0"/>
              <a:t> </a:t>
            </a:r>
            <a:r>
              <a:rPr lang="en-US" sz="1900" u="sng" dirty="0" smtClean="0"/>
              <a:t>New Societal Values</a:t>
            </a:r>
            <a:r>
              <a:rPr lang="en-US" sz="1900" dirty="0" smtClean="0"/>
              <a:t>: • Autonomy and Choice is empowering</a:t>
            </a:r>
          </a:p>
          <a:p>
            <a:pPr lvl="0"/>
            <a:r>
              <a:rPr lang="en-US" sz="1900" dirty="0" smtClean="0"/>
              <a:t>We have a changing Demographic: •  increased longevity means companies need to accommodate an ageing workforce or face losing important knowledge and skills. • </a:t>
            </a:r>
          </a:p>
          <a:p>
            <a:pPr lvl="0"/>
            <a:r>
              <a:rPr lang="en-US" sz="1900" u="sng" dirty="0" smtClean="0"/>
              <a:t>Multiple Generations: </a:t>
            </a:r>
            <a:r>
              <a:rPr lang="en-US" sz="1900" dirty="0" smtClean="0"/>
              <a:t>up to five generations </a:t>
            </a:r>
          </a:p>
          <a:p>
            <a:pPr lvl="0"/>
            <a:r>
              <a:rPr lang="en-US" sz="1900" dirty="0" smtClean="0"/>
              <a:t>Generation Y: new cohorts bring with them new values </a:t>
            </a:r>
          </a:p>
          <a:p>
            <a:pPr lvl="0"/>
            <a:r>
              <a:rPr lang="en-US" sz="1900" dirty="0" smtClean="0"/>
              <a:t> Generation Y demanding more flexibility in their roles and a more social approach to work. </a:t>
            </a:r>
          </a:p>
          <a:p>
            <a:pPr lvl="0"/>
            <a:r>
              <a:rPr lang="en-US" sz="1900" u="sng" dirty="0" smtClean="0"/>
              <a:t>4.Rapid Globalisation: </a:t>
            </a:r>
            <a:r>
              <a:rPr lang="en-US" sz="1900" dirty="0" smtClean="0"/>
              <a:t>• Customer Expectations: </a:t>
            </a:r>
          </a:p>
          <a:p>
            <a:pPr lvl="0"/>
            <a:r>
              <a:rPr lang="en-US" sz="1900" dirty="0" smtClean="0"/>
              <a:t>global market presents UK companies with new opportunities, but requires a 24/7 culture. </a:t>
            </a:r>
          </a:p>
          <a:p>
            <a:pPr lvl="0"/>
            <a:r>
              <a:rPr lang="en-US" sz="1900" dirty="0" smtClean="0"/>
              <a:t>the needs of a low-carbon economy necessitating more agile ways of working. </a:t>
            </a:r>
          </a:p>
          <a:p>
            <a:pPr lvl="0"/>
            <a:r>
              <a:rPr lang="en-US" sz="1900" dirty="0" smtClean="0"/>
              <a:t>In combination, these four forces are creating an urgent need for flexibility. And a more agile approach to work. </a:t>
            </a:r>
          </a:p>
          <a:p>
            <a:pPr lvl="0"/>
            <a:r>
              <a:rPr lang="en-US" sz="1900" dirty="0" smtClean="0"/>
              <a:t> </a:t>
            </a:r>
          </a:p>
          <a:p>
            <a:pPr eaLnBrk="1" hangingPunct="1">
              <a:spcBef>
                <a:spcPts val="305"/>
              </a:spcBef>
              <a:spcAft>
                <a:spcPts val="305"/>
              </a:spcAft>
              <a:defRPr/>
            </a:pPr>
            <a:endParaRPr lang="en-US" sz="1700" dirty="0"/>
          </a:p>
        </p:txBody>
      </p:sp>
      <p:sp>
        <p:nvSpPr>
          <p:cNvPr id="4" name="Foliennummernplatzhalter 3"/>
          <p:cNvSpPr>
            <a:spLocks noGrp="1"/>
          </p:cNvSpPr>
          <p:nvPr>
            <p:ph type="sldNum" sz="quarter" idx="10"/>
          </p:nvPr>
        </p:nvSpPr>
        <p:spPr/>
        <p:txBody>
          <a:bodyPr/>
          <a:lstStyle/>
          <a:p>
            <a:r>
              <a:rPr lang="de-DE" dirty="0" smtClean="0">
                <a:latin typeface="Arial" pitchFamily="34" charset="0"/>
              </a:rPr>
              <a:t>Notizen </a:t>
            </a:r>
            <a:fld id="{AD141568-5488-4AC9-B82D-9F5CE1225E2A}" type="slidenum">
              <a:rPr lang="de-DE" smtClean="0">
                <a:latin typeface="Arial" pitchFamily="34" charset="0"/>
              </a:rPr>
              <a:pPr/>
              <a:t>14</a:t>
            </a:fld>
            <a:endParaRPr lang="de-DE" dirty="0">
              <a:latin typeface="Arial" pitchFamily="34" charset="0"/>
            </a:endParaRPr>
          </a:p>
        </p:txBody>
      </p:sp>
    </p:spTree>
    <p:extLst>
      <p:ext uri="{BB962C8B-B14F-4D97-AF65-F5344CB8AC3E}">
        <p14:creationId xmlns:p14="http://schemas.microsoft.com/office/powerpoint/2010/main" val="769054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fld id="{82C447B6-695F-46BA-BFF4-C9DDA07BDBD8}" type="slidenum">
              <a:rPr lang="en-US">
                <a:latin typeface="Arial" charset="0"/>
              </a:rPr>
              <a:pPr/>
              <a:t>15</a:t>
            </a:fld>
            <a:endParaRPr lang="en-US" dirty="0">
              <a:latin typeface="Arial" charset="0"/>
            </a:endParaRPr>
          </a:p>
        </p:txBody>
      </p:sp>
      <p:sp>
        <p:nvSpPr>
          <p:cNvPr id="21507" name="Rectangle 2"/>
          <p:cNvSpPr>
            <a:spLocks noGrp="1" noRot="1" noChangeAspect="1" noChangeArrowheads="1" noTextEdit="1"/>
          </p:cNvSpPr>
          <p:nvPr>
            <p:ph type="sldImg"/>
          </p:nvPr>
        </p:nvSpPr>
        <p:spPr>
          <a:xfrm>
            <a:off x="150813" y="771525"/>
            <a:ext cx="6816725" cy="3833813"/>
          </a:xfrm>
          <a:ln/>
        </p:spPr>
      </p:sp>
      <p:sp>
        <p:nvSpPr>
          <p:cNvPr id="21508" name="Rectangle 3"/>
          <p:cNvSpPr>
            <a:spLocks noGrp="1" noChangeArrowheads="1"/>
          </p:cNvSpPr>
          <p:nvPr>
            <p:ph type="body" idx="1"/>
          </p:nvPr>
        </p:nvSpPr>
        <p:spPr>
          <a:xfrm>
            <a:off x="709762" y="4859519"/>
            <a:ext cx="5679779" cy="4604184"/>
          </a:xfrm>
          <a:noFill/>
          <a:ln/>
        </p:spPr>
        <p:txBody>
          <a:bodyPr/>
          <a:lstStyle/>
          <a:p>
            <a:pPr eaLnBrk="1" hangingPunct="1"/>
            <a:r>
              <a:rPr lang="en-GB" sz="2400" dirty="0" smtClean="0">
                <a:latin typeface="Arial" charset="0"/>
              </a:rPr>
              <a:t>How can we ensure we have the right candidates for our roles and to fulfil the megatrends</a:t>
            </a:r>
          </a:p>
          <a:p>
            <a:pPr eaLnBrk="1" hangingPunct="1"/>
            <a:r>
              <a:rPr lang="en-GB" sz="2400" dirty="0" smtClean="0">
                <a:latin typeface="Arial" charset="0"/>
              </a:rPr>
              <a:t>Demographic change</a:t>
            </a:r>
          </a:p>
          <a:p>
            <a:pPr eaLnBrk="1" hangingPunct="1"/>
            <a:r>
              <a:rPr lang="en-GB" sz="2400" dirty="0" smtClean="0">
                <a:latin typeface="Arial" charset="0"/>
              </a:rPr>
              <a:t>Urbanization</a:t>
            </a:r>
          </a:p>
          <a:p>
            <a:pPr eaLnBrk="1" hangingPunct="1"/>
            <a:r>
              <a:rPr lang="en-GB" sz="2400" dirty="0" smtClean="0">
                <a:latin typeface="Arial" charset="0"/>
              </a:rPr>
              <a:t>Climate change</a:t>
            </a:r>
          </a:p>
          <a:p>
            <a:pPr eaLnBrk="1" hangingPunct="1"/>
            <a:r>
              <a:rPr lang="en-GB" sz="2400" dirty="0" smtClean="0">
                <a:latin typeface="Arial" charset="0"/>
              </a:rPr>
              <a:t>Globalization</a:t>
            </a:r>
          </a:p>
          <a:p>
            <a:pPr eaLnBrk="1" hangingPunct="1"/>
            <a:r>
              <a:rPr lang="en-GB" sz="2400" dirty="0" smtClean="0">
                <a:latin typeface="Arial" charset="0"/>
              </a:rPr>
              <a:t>Digitalisation – which is very important</a:t>
            </a:r>
            <a:endParaRPr lang="en-US" sz="2400" dirty="0"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2000" dirty="0" smtClean="0">
                <a:solidFill>
                  <a:srgbClr val="000000"/>
                </a:solidFill>
              </a:rPr>
              <a:t>Well Strategy is no longer a static event....</a:t>
            </a:r>
          </a:p>
          <a:p>
            <a:pPr lvl="0"/>
            <a:endParaRPr lang="en-GB" sz="2000" dirty="0" smtClean="0">
              <a:solidFill>
                <a:srgbClr val="000000"/>
              </a:solidFill>
            </a:endParaRPr>
          </a:p>
          <a:p>
            <a:pPr lvl="0"/>
            <a:r>
              <a:rPr lang="en-GB" sz="2000" dirty="0" smtClean="0">
                <a:solidFill>
                  <a:srgbClr val="000000"/>
                </a:solidFill>
              </a:rPr>
              <a:t>As a company we need to ask</a:t>
            </a:r>
          </a:p>
          <a:p>
            <a:pPr lvl="0"/>
            <a:endParaRPr lang="en-GB" sz="2000" dirty="0" smtClean="0">
              <a:solidFill>
                <a:srgbClr val="000000"/>
              </a:solidFill>
            </a:endParaRPr>
          </a:p>
          <a:p>
            <a:pPr lvl="0"/>
            <a:r>
              <a:rPr lang="en-GB" sz="2000" dirty="0" smtClean="0">
                <a:solidFill>
                  <a:srgbClr val="000000"/>
                </a:solidFill>
              </a:rPr>
              <a:t>how do we produce clean energy</a:t>
            </a:r>
          </a:p>
          <a:p>
            <a:pPr lvl="0"/>
            <a:endParaRPr lang="en-GB" sz="2000" dirty="0" smtClean="0">
              <a:solidFill>
                <a:srgbClr val="000000"/>
              </a:solidFill>
            </a:endParaRPr>
          </a:p>
          <a:p>
            <a:pPr lvl="0"/>
            <a:r>
              <a:rPr lang="en-GB" altLang="en-US" sz="2000" b="1" dirty="0" smtClean="0">
                <a:solidFill>
                  <a:schemeClr val="tx2">
                    <a:lumMod val="75000"/>
                    <a:lumOff val="25000"/>
                  </a:schemeClr>
                </a:solidFill>
                <a:latin typeface="Siemens Sans Roman" charset="0"/>
                <a:ea typeface="Siemens Sans Roman" charset="0"/>
                <a:cs typeface="Siemens Sans Roman" charset="0"/>
              </a:rPr>
              <a:t>How do we provide infrastructure and technology for mega cities  and smart factories?</a:t>
            </a:r>
          </a:p>
          <a:p>
            <a:pPr lvl="0"/>
            <a:endParaRPr lang="en-GB" sz="2000" dirty="0" smtClean="0">
              <a:solidFill>
                <a:srgbClr val="000000"/>
              </a:solidFill>
            </a:endParaRPr>
          </a:p>
          <a:p>
            <a:pPr lvl="0"/>
            <a:r>
              <a:rPr lang="en-GB" sz="2000" dirty="0" smtClean="0">
                <a:solidFill>
                  <a:srgbClr val="000000"/>
                </a:solidFill>
              </a:rPr>
              <a:t>How  do we prepare for our ageing populations healthcare needs </a:t>
            </a:r>
          </a:p>
          <a:p>
            <a:endParaRPr lang="en-GB" sz="2000"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6</a:t>
            </a:fld>
            <a:endParaRPr lang="de-DE" dirty="0">
              <a:latin typeface="Arial" pitchFamily="34" charset="0"/>
            </a:endParaRPr>
          </a:p>
        </p:txBody>
      </p:sp>
    </p:spTree>
    <p:extLst>
      <p:ext uri="{BB962C8B-B14F-4D97-AF65-F5344CB8AC3E}">
        <p14:creationId xmlns:p14="http://schemas.microsoft.com/office/powerpoint/2010/main" val="23728456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900" dirty="0" smtClean="0"/>
              <a:t>?</a:t>
            </a:r>
            <a:endParaRPr lang="en-GB" sz="1900"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17</a:t>
            </a:fld>
            <a:endParaRPr lang="de-DE" dirty="0">
              <a:latin typeface="Arial" pitchFamily="34" charset="0"/>
            </a:endParaRPr>
          </a:p>
        </p:txBody>
      </p:sp>
      <p:sp>
        <p:nvSpPr>
          <p:cNvPr id="5" name="Rectangle 4"/>
          <p:cNvSpPr/>
          <p:nvPr/>
        </p:nvSpPr>
        <p:spPr>
          <a:xfrm>
            <a:off x="813346" y="4822825"/>
            <a:ext cx="5544616" cy="4708981"/>
          </a:xfrm>
          <a:prstGeom prst="rect">
            <a:avLst/>
          </a:prstGeom>
        </p:spPr>
        <p:txBody>
          <a:bodyPr wrap="square">
            <a:spAutoFit/>
          </a:bodyPr>
          <a:lstStyle/>
          <a:p>
            <a:r>
              <a:rPr lang="en-GB" sz="2000" dirty="0" smtClean="0">
                <a:solidFill>
                  <a:schemeClr val="tx1"/>
                </a:solidFill>
              </a:rPr>
              <a:t>How can we close the skills gap of at least 20,000 per year</a:t>
            </a:r>
          </a:p>
          <a:p>
            <a:endParaRPr lang="en-GB" sz="2000" dirty="0" smtClean="0">
              <a:solidFill>
                <a:schemeClr val="tx1"/>
              </a:solidFill>
            </a:endParaRPr>
          </a:p>
          <a:p>
            <a:r>
              <a:rPr lang="en-GB" sz="2000" dirty="0" smtClean="0">
                <a:solidFill>
                  <a:schemeClr val="tx1"/>
                </a:solidFill>
              </a:rPr>
              <a:t>How will the workplace and nature of work change</a:t>
            </a:r>
          </a:p>
          <a:p>
            <a:endParaRPr lang="en-GB" sz="2000" dirty="0" smtClean="0">
              <a:solidFill>
                <a:schemeClr val="tx1"/>
              </a:solidFill>
            </a:endParaRPr>
          </a:p>
          <a:p>
            <a:r>
              <a:rPr lang="en-GB" sz="2000" dirty="0" smtClean="0">
                <a:solidFill>
                  <a:schemeClr val="tx1"/>
                </a:solidFill>
              </a:rPr>
              <a:t>How can we harness technology to manage complexity?</a:t>
            </a:r>
          </a:p>
          <a:p>
            <a:endParaRPr lang="en-GB" sz="2000" dirty="0" smtClean="0">
              <a:solidFill>
                <a:schemeClr val="tx1"/>
              </a:solidFill>
            </a:endParaRPr>
          </a:p>
          <a:p>
            <a:r>
              <a:rPr lang="en-GB" sz="2000" dirty="0" smtClean="0">
                <a:solidFill>
                  <a:schemeClr val="tx1"/>
                </a:solidFill>
              </a:rPr>
              <a:t>When we write software programmes how will we ensure they encompass all end use demographics </a:t>
            </a:r>
            <a:endParaRPr lang="en-GB" sz="2000" dirty="0">
              <a:solidFill>
                <a:schemeClr val="tx1"/>
              </a:solidFill>
            </a:endParaRPr>
          </a:p>
        </p:txBody>
      </p:sp>
    </p:spTree>
    <p:extLst>
      <p:ext uri="{BB962C8B-B14F-4D97-AF65-F5344CB8AC3E}">
        <p14:creationId xmlns:p14="http://schemas.microsoft.com/office/powerpoint/2010/main" val="23728456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GB" sz="2000" dirty="0" smtClean="0"/>
              <a:t>True collaboration and team work to develop:</a:t>
            </a:r>
          </a:p>
          <a:p>
            <a:r>
              <a:rPr lang="en-GB" sz="2000" dirty="0" smtClean="0"/>
              <a:t>On the level 1 &amp; 2 our apprentices worked on Cambridge Nationals and Level 3 our graduates.</a:t>
            </a:r>
            <a:endParaRPr lang="en-US" sz="2000" dirty="0" smtClean="0"/>
          </a:p>
          <a:p>
            <a:r>
              <a:rPr lang="en-US" sz="2000" dirty="0" smtClean="0"/>
              <a:t>OCR and Siemens have built specifications and resources using a clear and easy-to-understand format, making them straightforward to deliver. </a:t>
            </a:r>
          </a:p>
          <a:p>
            <a:r>
              <a:rPr lang="en-US" sz="2000" dirty="0" smtClean="0"/>
              <a:t>Cambridge Nationals provide an ideal foundation for students to progress to more advanced studies and engineering-related careers.</a:t>
            </a:r>
          </a:p>
          <a:p>
            <a:r>
              <a:rPr lang="en-US" sz="2000" dirty="0" smtClean="0"/>
              <a:t> You can enjoy teaching engineering through projects that have been authentically developed to help you inspire students of all abilities. </a:t>
            </a:r>
          </a:p>
          <a:p>
            <a:r>
              <a:rPr lang="en-US" sz="2000" dirty="0" smtClean="0"/>
              <a:t>These resources provide learning for assessment and are clearly presented and sensibly structured for you and your students </a:t>
            </a:r>
            <a:endParaRPr lang="en-US" sz="2000" dirty="0"/>
          </a:p>
        </p:txBody>
      </p:sp>
      <p:sp>
        <p:nvSpPr>
          <p:cNvPr id="4" name="Slide Number Placehold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18</a:t>
            </a:fld>
            <a:endParaRPr lang="en-US" dirty="0">
              <a:latin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Arial" pitchFamily="34" charset="0"/>
                <a:ea typeface="ＭＳ Ｐゴシック" charset="-128"/>
              </a:rPr>
              <a:t>We worked collaboratively with OCR on each of the projects offered:, to give students the chance of quality academic study combined with </a:t>
            </a:r>
            <a:r>
              <a:rPr kumimoji="0" lang="en-US" sz="2400" b="0" i="0" u="sng" strike="noStrike" kern="1200" cap="none" spc="0" normalizeH="0" baseline="0" noProof="0" dirty="0" smtClean="0">
                <a:ln>
                  <a:noFill/>
                </a:ln>
                <a:solidFill>
                  <a:srgbClr val="000000"/>
                </a:solidFill>
                <a:effectLst/>
                <a:uLnTx/>
                <a:uFillTx/>
                <a:latin typeface="Arial" pitchFamily="34" charset="0"/>
                <a:ea typeface="ＭＳ Ｐゴシック" charset="-128"/>
              </a:rPr>
              <a:t>real world activity</a:t>
            </a:r>
            <a:r>
              <a:rPr kumimoji="0" lang="en-US" sz="2400" b="0" i="0" u="none" strike="noStrike" kern="1200" cap="none" spc="0" normalizeH="0" baseline="0" noProof="0" dirty="0" smtClean="0">
                <a:ln>
                  <a:noFill/>
                </a:ln>
                <a:solidFill>
                  <a:srgbClr val="000000"/>
                </a:solidFill>
                <a:effectLst/>
                <a:uLnTx/>
                <a:uFillTx/>
                <a:latin typeface="Arial" pitchFamily="34" charset="0"/>
                <a:ea typeface="ＭＳ Ｐゴシック" charset="-128"/>
              </a:rPr>
              <a:t>, a grounding which equips students earlier with skills, experience, and enthusiasm to join a workforce and make a real contribution.</a:t>
            </a: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Arial" pitchFamily="34" charset="0"/>
                <a:ea typeface="ＭＳ Ｐゴシック" charset="-128"/>
              </a:rPr>
              <a:t> The Siemens project materials are adapted from a range of over 35 unique and engaging curriculum linked schemes of work, lesson plans, worksheets and practical activities on our web site developed by educationalists and based on ground-breaking projects and technologies Siemens is engaged with in the UK and around the world.</a:t>
            </a:r>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sz="2400" b="0" i="0" u="none" strike="noStrike" kern="1200" cap="none" spc="0" normalizeH="0" baseline="0" noProof="0" dirty="0" smtClean="0">
                <a:ln>
                  <a:noFill/>
                </a:ln>
                <a:solidFill>
                  <a:srgbClr val="000000"/>
                </a:solidFill>
                <a:effectLst/>
                <a:uLnTx/>
                <a:uFillTx/>
                <a:latin typeface="Arial" pitchFamily="34" charset="0"/>
                <a:ea typeface="ＭＳ Ｐゴシック" charset="-128"/>
              </a:rPr>
              <a:t> This partnership with OCR we believe will help to support the needs of students and the education sector to provide a talent pool of highly-skilled young people</a:t>
            </a:r>
          </a:p>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itchFamily="34" charset="0"/>
              <a:ea typeface="ＭＳ Ｐゴシック" charset="-128"/>
            </a:endParaRPr>
          </a:p>
          <a:p>
            <a:endParaRPr lang="en-GB" dirty="0">
              <a:latin typeface="Myriad Pro"/>
            </a:endParaRPr>
          </a:p>
        </p:txBody>
      </p:sp>
      <p:sp>
        <p:nvSpPr>
          <p:cNvPr id="4" name="Slide Number Placeholder 3"/>
          <p:cNvSpPr>
            <a:spLocks noGrp="1"/>
          </p:cNvSpPr>
          <p:nvPr>
            <p:ph type="sldNum" sz="quarter" idx="10"/>
          </p:nvPr>
        </p:nvSpPr>
        <p:spPr/>
        <p:txBody>
          <a:bodyPr/>
          <a:lstStyle/>
          <a:p>
            <a:fld id="{D0D665F8-F6FF-40C8-91E6-D751FBDC3E91}" type="slidenum">
              <a:rPr lang="en-GB" smtClean="0"/>
              <a:t>19</a:t>
            </a:fld>
            <a:endParaRPr lang="en-GB"/>
          </a:p>
        </p:txBody>
      </p:sp>
    </p:spTree>
    <p:extLst>
      <p:ext uri="{BB962C8B-B14F-4D97-AF65-F5344CB8AC3E}">
        <p14:creationId xmlns:p14="http://schemas.microsoft.com/office/powerpoint/2010/main" val="3823775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8350"/>
            <a:ext cx="6824662" cy="1756668"/>
          </a:xfrm>
        </p:spPr>
      </p:sp>
      <p:sp>
        <p:nvSpPr>
          <p:cNvPr id="3" name="Notes Placeholder 2"/>
          <p:cNvSpPr>
            <a:spLocks noGrp="1"/>
          </p:cNvSpPr>
          <p:nvPr>
            <p:ph type="body" idx="1"/>
          </p:nvPr>
        </p:nvSpPr>
        <p:spPr>
          <a:xfrm>
            <a:off x="238125" y="2813050"/>
            <a:ext cx="6623050" cy="6869113"/>
          </a:xfrm>
        </p:spPr>
        <p:txBody>
          <a:bodyPr/>
          <a:lstStyle/>
          <a:p>
            <a:pPr lvl="0">
              <a:buFont typeface="Arial" pitchFamily="34" charset="0"/>
              <a:buChar char="•"/>
            </a:pPr>
            <a:r>
              <a:rPr lang="en-GB" sz="2000" dirty="0" smtClean="0">
                <a:solidFill>
                  <a:srgbClr val="000000"/>
                </a:solidFill>
              </a:rPr>
              <a:t>Skills gap: Anyone looking at this will not be shocked by the skills gap – this has been mentioned  since I was an apprentice  30+ years ago </a:t>
            </a:r>
          </a:p>
          <a:p>
            <a:pPr lvl="0">
              <a:buFont typeface="Arial" pitchFamily="34" charset="0"/>
              <a:buChar char="•"/>
            </a:pPr>
            <a:r>
              <a:rPr lang="en-GB" sz="2000" dirty="0" smtClean="0">
                <a:solidFill>
                  <a:srgbClr val="000000"/>
                </a:solidFill>
              </a:rPr>
              <a:t>However there are new additional burdens in the detail </a:t>
            </a:r>
          </a:p>
          <a:p>
            <a:pPr lvl="0">
              <a:buFont typeface="Arial" pitchFamily="34" charset="0"/>
              <a:buChar char="•"/>
            </a:pPr>
            <a:r>
              <a:rPr lang="en-GB" sz="2000" dirty="0" smtClean="0">
                <a:solidFill>
                  <a:srgbClr val="000000"/>
                </a:solidFill>
              </a:rPr>
              <a:t>15 of the 32 occupations open for skilled immigration are Engineering so this may be further exacerbated by </a:t>
            </a:r>
            <a:r>
              <a:rPr lang="en-GB" sz="2000" dirty="0" err="1" smtClean="0">
                <a:solidFill>
                  <a:srgbClr val="000000"/>
                </a:solidFill>
              </a:rPr>
              <a:t>brexit</a:t>
            </a:r>
            <a:endParaRPr lang="en-GB" sz="2000" dirty="0" smtClean="0">
              <a:solidFill>
                <a:srgbClr val="000000"/>
              </a:solidFill>
            </a:endParaRPr>
          </a:p>
          <a:p>
            <a:pPr lvl="0">
              <a:buFont typeface="Arial" pitchFamily="34" charset="0"/>
              <a:buChar char="•"/>
            </a:pPr>
            <a:r>
              <a:rPr lang="en-GB" sz="2000" dirty="0" smtClean="0">
                <a:solidFill>
                  <a:srgbClr val="000000"/>
                </a:solidFill>
              </a:rPr>
              <a:t> the demise of the connexions service -Parents are giving career guidance but only 3 in 10 know what people in engineering do</a:t>
            </a:r>
          </a:p>
          <a:p>
            <a:pPr lvl="0">
              <a:buFont typeface="Arial" pitchFamily="34" charset="0"/>
              <a:buChar char="•"/>
            </a:pPr>
            <a:r>
              <a:rPr lang="en-GB" sz="2000" dirty="0" smtClean="0">
                <a:solidFill>
                  <a:srgbClr val="000000"/>
                </a:solidFill>
              </a:rPr>
              <a:t>Lack of female applicants – they do well once in the application process but they need to apply</a:t>
            </a:r>
          </a:p>
          <a:p>
            <a:pPr lvl="0">
              <a:buFont typeface="Arial" pitchFamily="34" charset="0"/>
              <a:buChar char="•"/>
            </a:pPr>
            <a:r>
              <a:rPr lang="en-GB" sz="2000" dirty="0" smtClean="0">
                <a:solidFill>
                  <a:srgbClr val="000000"/>
                </a:solidFill>
              </a:rPr>
              <a:t>This is becoming a matter of urgency and this is why w</a:t>
            </a:r>
            <a:r>
              <a:rPr lang="en-US" sz="2000" dirty="0" smtClean="0"/>
              <a:t>e were delighted to be approached by OCR to partner them in helping to address the skills gap through this unique project.</a:t>
            </a:r>
          </a:p>
          <a:p>
            <a:pPr>
              <a:buFont typeface="Arial" pitchFamily="34" charset="0"/>
              <a:buChar char="•"/>
            </a:pPr>
            <a:r>
              <a:rPr lang="en-US" sz="2000" dirty="0" smtClean="0"/>
              <a:t> The Project provides students with an opportunity to engage in a series of learning tasks that facilitate vocational/ applied learning and helps them to experience not only academic rigor but the technical ability we need for today’s roles</a:t>
            </a:r>
            <a:r>
              <a:rPr lang="en-US" sz="1800" dirty="0" smtClean="0"/>
              <a:t>. </a:t>
            </a:r>
          </a:p>
          <a:p>
            <a:pPr lvl="0">
              <a:buFont typeface="Arial" pitchFamily="34" charset="0"/>
              <a:buChar char="•"/>
            </a:pPr>
            <a:endParaRPr lang="en-GB" sz="1800" dirty="0" smtClean="0">
              <a:solidFill>
                <a:srgbClr val="000000"/>
              </a:solidFill>
            </a:endParaRPr>
          </a:p>
          <a:p>
            <a:pPr>
              <a:buFont typeface="Arial" pitchFamily="34" charset="0"/>
              <a:buChar char="•"/>
            </a:pPr>
            <a:endParaRPr lang="en-GB" sz="1100" dirty="0" smtClean="0"/>
          </a:p>
        </p:txBody>
      </p:sp>
      <p:sp>
        <p:nvSpPr>
          <p:cNvPr id="4" name="Slide Number Placeholder 3"/>
          <p:cNvSpPr>
            <a:spLocks noGrp="1"/>
          </p:cNvSpPr>
          <p:nvPr>
            <p:ph type="sldNum" sz="quarter" idx="10"/>
          </p:nvPr>
        </p:nvSpPr>
        <p:spPr/>
        <p:txBody>
          <a:bodyPr/>
          <a:lstStyle/>
          <a:p>
            <a:r>
              <a:rPr lang="en-US" dirty="0" smtClean="0">
                <a:latin typeface="Arial" pitchFamily="34" charset="0"/>
              </a:rPr>
              <a:t>Notice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3751641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GB" sz="3200" dirty="0" smtClean="0"/>
              <a:t>Well We need to look further than the traditional engineering and business skills</a:t>
            </a:r>
          </a:p>
          <a:p>
            <a:endParaRPr lang="en-GB" sz="3200" smtClean="0"/>
          </a:p>
          <a:p>
            <a:r>
              <a:rPr lang="en-GB" sz="3200" smtClean="0"/>
              <a:t>We </a:t>
            </a:r>
            <a:r>
              <a:rPr lang="en-GB" sz="3200" dirty="0" smtClean="0"/>
              <a:t>need Problem solver, inquisitive minds, collaborators </a:t>
            </a:r>
            <a:r>
              <a:rPr lang="en-GB" sz="3200" smtClean="0"/>
              <a:t>with the ability </a:t>
            </a:r>
            <a:r>
              <a:rPr lang="en-GB" sz="3200" dirty="0" smtClean="0"/>
              <a:t>to learn &amp; adapt</a:t>
            </a:r>
          </a:p>
          <a:p>
            <a:endParaRPr lang="en-GB" sz="3200" dirty="0" smtClean="0"/>
          </a:p>
          <a:p>
            <a:r>
              <a:rPr lang="en-GB" sz="3200" dirty="0" smtClean="0"/>
              <a:t>We are becoming more Digitalised where engineering meets IT</a:t>
            </a:r>
          </a:p>
          <a:p>
            <a:endParaRPr lang="en-GB" sz="3200" dirty="0" smtClean="0"/>
          </a:p>
          <a:p>
            <a:r>
              <a:rPr lang="en-GB" sz="3200" dirty="0" smtClean="0"/>
              <a:t>The rise of the analytics and big data</a:t>
            </a:r>
            <a:endParaRPr lang="en-US" sz="3200" dirty="0"/>
          </a:p>
        </p:txBody>
      </p:sp>
      <p:sp>
        <p:nvSpPr>
          <p:cNvPr id="4" name="Slide Number Placeholder 3"/>
          <p:cNvSpPr>
            <a:spLocks noGrp="1"/>
          </p:cNvSpPr>
          <p:nvPr>
            <p:ph type="sldNum" sz="quarter" idx="10"/>
          </p:nvPr>
        </p:nvSpPr>
        <p:spPr/>
        <p:txBody>
          <a:bodyPr/>
          <a:lstStyle/>
          <a:p>
            <a:r>
              <a:rPr lang="de-DE" smtClean="0">
                <a:latin typeface="Arial" pitchFamily="34" charset="0"/>
              </a:rPr>
              <a:t>Notes </a:t>
            </a:r>
            <a:fld id="{AD141568-5488-4AC9-B82D-9F5CE1225E2A}" type="slidenum">
              <a:rPr lang="de-DE" smtClean="0">
                <a:latin typeface="Arial" pitchFamily="34" charset="0"/>
              </a:rPr>
              <a:pPr/>
              <a:t>20</a:t>
            </a:fld>
            <a:endParaRPr lang="de-DE" dirty="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69938"/>
            <a:ext cx="6819900" cy="3833812"/>
          </a:xfrm>
        </p:spPr>
      </p:sp>
      <p:sp>
        <p:nvSpPr>
          <p:cNvPr id="3" name="Notes Placeholder 2"/>
          <p:cNvSpPr>
            <a:spLocks noGrp="1"/>
          </p:cNvSpPr>
          <p:nvPr>
            <p:ph type="body" idx="1"/>
          </p:nvPr>
        </p:nvSpPr>
        <p:spPr/>
        <p:txBody>
          <a:bodyPr>
            <a:noAutofit/>
          </a:bodyPr>
          <a:lstStyle/>
          <a:p>
            <a:pPr lvl="0"/>
            <a:r>
              <a:rPr lang="en-GB" sz="2800" dirty="0" smtClean="0"/>
              <a:t>How do we support on the education side with our ELT landscape:</a:t>
            </a:r>
          </a:p>
          <a:p>
            <a:pPr lvl="0"/>
            <a:r>
              <a:rPr lang="en-GB" sz="2800" dirty="0" smtClean="0"/>
              <a:t>As you can see we are not only looking for T skills but meta and soft skills </a:t>
            </a:r>
          </a:p>
          <a:p>
            <a:pPr lvl="0"/>
            <a:r>
              <a:rPr lang="en-GB" sz="2800" dirty="0" smtClean="0"/>
              <a:t>We see the </a:t>
            </a:r>
            <a:r>
              <a:rPr lang="en-GB" sz="2800" dirty="0" err="1" smtClean="0"/>
              <a:t>cambridge</a:t>
            </a:r>
            <a:r>
              <a:rPr lang="en-GB" sz="2800" dirty="0" smtClean="0"/>
              <a:t> national and </a:t>
            </a:r>
            <a:r>
              <a:rPr lang="en-GB" sz="2800" dirty="0" err="1" smtClean="0"/>
              <a:t>technicals</a:t>
            </a:r>
            <a:r>
              <a:rPr lang="en-GB" sz="2800" dirty="0" smtClean="0"/>
              <a:t> as part of our landscape</a:t>
            </a:r>
          </a:p>
          <a:p>
            <a:pPr lvl="0"/>
            <a:r>
              <a:rPr lang="en-GB" sz="2800" dirty="0" smtClean="0"/>
              <a:t> over 300 STEM ambassadors</a:t>
            </a:r>
          </a:p>
          <a:p>
            <a:pPr lvl="0"/>
            <a:endParaRPr lang="en-GB" sz="1700" dirty="0" smtClean="0"/>
          </a:p>
        </p:txBody>
      </p:sp>
      <p:sp>
        <p:nvSpPr>
          <p:cNvPr id="4" name="Slide Number Placeholder 3"/>
          <p:cNvSpPr>
            <a:spLocks noGrp="1"/>
          </p:cNvSpPr>
          <p:nvPr>
            <p:ph type="sldNum" sz="quarter" idx="10"/>
          </p:nvPr>
        </p:nvSpPr>
        <p:spPr/>
        <p:txBody>
          <a:bodyPr/>
          <a:lstStyle/>
          <a:p>
            <a:fld id="{1D7514BA-C571-44FB-AE32-3AC676CC2BA8}" type="slidenum">
              <a:rPr lang="en-US" smtClean="0">
                <a:solidFill>
                  <a:prstClr val="black"/>
                </a:solidFill>
              </a:rPr>
              <a:pPr/>
              <a:t>21</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Clr>
                <a:srgbClr val="879BAA"/>
              </a:buClr>
              <a:buFont typeface="Arial" panose="020B0604020202020204" pitchFamily="34" charset="0"/>
              <a:buChar char="•"/>
              <a:defRPr/>
            </a:pPr>
            <a:r>
              <a:rPr lang="en-GB" sz="2400" dirty="0" smtClean="0"/>
              <a:t>Content developed to link to Siemens Digital Badge Scheme and to evidence learning .</a:t>
            </a:r>
          </a:p>
          <a:p>
            <a:pPr marL="171450" indent="-171450">
              <a:buClr>
                <a:srgbClr val="879BAA"/>
              </a:buClr>
              <a:buFont typeface="Arial" panose="020B0604020202020204" pitchFamily="34" charset="0"/>
              <a:buChar char="•"/>
              <a:defRPr/>
            </a:pPr>
            <a:r>
              <a:rPr lang="en-GB" sz="2400" dirty="0" smtClean="0"/>
              <a:t>Digital badges are agile, responsive and a track-able means of showcasing soft or hard skills developed.</a:t>
            </a:r>
          </a:p>
          <a:p>
            <a:pPr marL="171450" indent="-171450">
              <a:buClr>
                <a:srgbClr val="879BAA"/>
              </a:buClr>
              <a:buFont typeface="Arial" panose="020B0604020202020204" pitchFamily="34" charset="0"/>
              <a:buChar char="•"/>
              <a:defRPr/>
            </a:pPr>
            <a:r>
              <a:rPr lang="en-GB" sz="2400" dirty="0" smtClean="0"/>
              <a:t>Siemens digital badges were developed based on a unique </a:t>
            </a:r>
            <a:r>
              <a:rPr lang="en-GB" sz="2400" b="1" dirty="0" smtClean="0"/>
              <a:t>skills framework </a:t>
            </a:r>
            <a:r>
              <a:rPr lang="en-GB" sz="2400" dirty="0" smtClean="0"/>
              <a:t>linked to </a:t>
            </a:r>
            <a:r>
              <a:rPr lang="en-GB" sz="2400" b="1" dirty="0" smtClean="0"/>
              <a:t>core behavioural </a:t>
            </a:r>
          </a:p>
          <a:p>
            <a:r>
              <a:rPr lang="en-GB" sz="2400" b="1" dirty="0" smtClean="0"/>
              <a:t>   characteristics </a:t>
            </a:r>
            <a:r>
              <a:rPr lang="en-GB" sz="2400" dirty="0" smtClean="0"/>
              <a:t>and </a:t>
            </a:r>
            <a:r>
              <a:rPr lang="en-GB" sz="2400" b="1" dirty="0" smtClean="0"/>
              <a:t>project cycle processes </a:t>
            </a:r>
            <a:r>
              <a:rPr lang="en-US" sz="2400" u="sng" dirty="0" smtClean="0">
                <a:hlinkClick r:id="rId3"/>
              </a:rPr>
              <a:t>http://www.siemens.co.uk/education/en/digitalbadges.htm</a:t>
            </a:r>
            <a:endParaRPr lang="en-GB" sz="2400" dirty="0" smtClean="0"/>
          </a:p>
          <a:p>
            <a:endParaRPr lang="en-GB" sz="2100" dirty="0"/>
          </a:p>
        </p:txBody>
      </p:sp>
      <p:sp>
        <p:nvSpPr>
          <p:cNvPr id="4" name="Slide Number Placeholder 3"/>
          <p:cNvSpPr>
            <a:spLocks noGrp="1"/>
          </p:cNvSpPr>
          <p:nvPr>
            <p:ph type="sldNum" sz="quarter" idx="10"/>
          </p:nvPr>
        </p:nvSpPr>
        <p:spPr/>
        <p:txBody>
          <a:bodyPr/>
          <a:lstStyle/>
          <a:p>
            <a:r>
              <a:rPr lang="de-DE" smtClean="0">
                <a:latin typeface="Arial" pitchFamily="34" charset="0"/>
              </a:rPr>
              <a:t>Notes </a:t>
            </a:r>
            <a:fld id="{AD141568-5488-4AC9-B82D-9F5CE1225E2A}" type="slidenum">
              <a:rPr lang="de-DE" smtClean="0">
                <a:latin typeface="Arial" pitchFamily="34" charset="0"/>
              </a:rPr>
              <a:pPr/>
              <a:t>22</a:t>
            </a:fld>
            <a:endParaRPr lang="de-DE" dirty="0">
              <a:latin typeface="Arial" pitchFamily="34" charset="0"/>
            </a:endParaRPr>
          </a:p>
        </p:txBody>
      </p:sp>
    </p:spTree>
    <p:extLst>
      <p:ext uri="{BB962C8B-B14F-4D97-AF65-F5344CB8AC3E}">
        <p14:creationId xmlns:p14="http://schemas.microsoft.com/office/powerpoint/2010/main" val="39383828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9238" y="398463"/>
            <a:ext cx="1763712" cy="992187"/>
          </a:xfrm>
        </p:spPr>
      </p:sp>
      <p:sp>
        <p:nvSpPr>
          <p:cNvPr id="3" name="Notes Placeholder 2"/>
          <p:cNvSpPr>
            <a:spLocks noGrp="1"/>
          </p:cNvSpPr>
          <p:nvPr>
            <p:ph type="body" idx="1"/>
          </p:nvPr>
        </p:nvSpPr>
        <p:spPr>
          <a:xfrm>
            <a:off x="238126" y="1390650"/>
            <a:ext cx="6623050" cy="8593433"/>
          </a:xfrm>
        </p:spPr>
        <p:txBody>
          <a:bodyPr>
            <a:noAutofit/>
          </a:bodyPr>
          <a:lstStyle/>
          <a:p>
            <a:pPr lvl="0"/>
            <a:r>
              <a:rPr lang="en-US" sz="1500" dirty="0" smtClean="0"/>
              <a:t>.  </a:t>
            </a:r>
          </a:p>
          <a:p>
            <a:pPr lvl="0"/>
            <a:r>
              <a:rPr lang="en-US" sz="2000" dirty="0" smtClean="0"/>
              <a:t>So to sum up together education and business: </a:t>
            </a:r>
          </a:p>
          <a:p>
            <a:pPr lvl="0"/>
            <a:r>
              <a:rPr lang="en-US" sz="2000" dirty="0" smtClean="0"/>
              <a:t>We need to </a:t>
            </a:r>
            <a:r>
              <a:rPr lang="en-US" sz="2000" b="1" dirty="0" smtClean="0"/>
              <a:t>Create Agility</a:t>
            </a:r>
            <a:r>
              <a:rPr lang="en-US" sz="2000" dirty="0" smtClean="0"/>
              <a:t>: flexible employees are measurably more productive than traditional ones - more profitable</a:t>
            </a:r>
          </a:p>
          <a:p>
            <a:pPr lvl="0"/>
            <a:r>
              <a:rPr lang="en-US" sz="2000" dirty="0" smtClean="0"/>
              <a:t>We need to embrace</a:t>
            </a:r>
            <a:r>
              <a:rPr lang="en-US" sz="2000" b="1" dirty="0" smtClean="0"/>
              <a:t> new technologies</a:t>
            </a:r>
            <a:r>
              <a:rPr lang="en-US" sz="2000" dirty="0" smtClean="0"/>
              <a:t> to collaborate and communicate- an  a</a:t>
            </a:r>
            <a:r>
              <a:rPr lang="en-US" sz="2000" b="1" dirty="0" smtClean="0"/>
              <a:t>gile Infrastructure</a:t>
            </a:r>
            <a:endParaRPr lang="en-US" sz="2000" dirty="0" smtClean="0"/>
          </a:p>
          <a:p>
            <a:pPr lvl="0"/>
            <a:r>
              <a:rPr lang="en-US" sz="2000" dirty="0" smtClean="0"/>
              <a:t> </a:t>
            </a:r>
            <a:r>
              <a:rPr lang="en-US" sz="2000" b="1" dirty="0" smtClean="0"/>
              <a:t>Flexibility</a:t>
            </a:r>
            <a:r>
              <a:rPr lang="en-US" sz="2000" dirty="0" smtClean="0"/>
              <a:t>: we need high performing  workers who can work in </a:t>
            </a:r>
            <a:r>
              <a:rPr lang="en-US" sz="2000" u="sng" dirty="0" smtClean="0"/>
              <a:t>Virtual Teams  i</a:t>
            </a:r>
            <a:r>
              <a:rPr lang="en-US" sz="2000" dirty="0" smtClean="0"/>
              <a:t>ndependent of physical location </a:t>
            </a:r>
          </a:p>
          <a:p>
            <a:pPr lvl="0"/>
            <a:r>
              <a:rPr lang="en-US" sz="2000" b="1" dirty="0" smtClean="0"/>
              <a:t>This encourages more Diversity</a:t>
            </a:r>
            <a:r>
              <a:rPr lang="en-US" sz="2000" dirty="0" smtClean="0"/>
              <a:t>,  </a:t>
            </a:r>
          </a:p>
          <a:p>
            <a:pPr lvl="0"/>
            <a:r>
              <a:rPr lang="en-US" sz="2000" b="1" dirty="0" smtClean="0"/>
              <a:t>Digitalisation.</a:t>
            </a:r>
            <a:r>
              <a:rPr lang="en-US" sz="2000" dirty="0" smtClean="0"/>
              <a:t> Meets global Customer Needs 24/7  allows continuous operation across locations and time zones, in turn means we can work </a:t>
            </a:r>
            <a:r>
              <a:rPr lang="en-US" sz="2000" b="1" dirty="0" smtClean="0"/>
              <a:t>when</a:t>
            </a:r>
            <a:r>
              <a:rPr lang="en-US" sz="2000" dirty="0" smtClean="0"/>
              <a:t> or </a:t>
            </a:r>
            <a:r>
              <a:rPr lang="en-US" sz="2000" b="1" dirty="0" smtClean="0"/>
              <a:t>where we need</a:t>
            </a:r>
            <a:r>
              <a:rPr lang="en-US" sz="2000" dirty="0" smtClean="0"/>
              <a:t> – but this means </a:t>
            </a:r>
            <a:r>
              <a:rPr lang="en-US" sz="2000" smtClean="0"/>
              <a:t>more global competition </a:t>
            </a:r>
            <a:r>
              <a:rPr lang="en-US" sz="2000" dirty="0" smtClean="0"/>
              <a:t>for jobs</a:t>
            </a:r>
          </a:p>
          <a:p>
            <a:pPr lvl="0"/>
            <a:r>
              <a:rPr lang="en-US" sz="2000" dirty="0" smtClean="0"/>
              <a:t> </a:t>
            </a:r>
            <a:r>
              <a:rPr lang="en-US" sz="2000" b="1" dirty="0" smtClean="0"/>
              <a:t>Reduced Business Travel: </a:t>
            </a:r>
            <a:r>
              <a:rPr lang="en-US" sz="2000" dirty="0" smtClean="0"/>
              <a:t>virtual work reduces a costly dependence on face-to-face meetings and encourages a more environmentally conscious culture (more family time).</a:t>
            </a:r>
          </a:p>
          <a:p>
            <a:pPr lvl="0"/>
            <a:r>
              <a:rPr lang="en-US" sz="2000" dirty="0" smtClean="0"/>
              <a:t> </a:t>
            </a:r>
            <a:r>
              <a:rPr lang="en-US" sz="2000" b="1" dirty="0" smtClean="0"/>
              <a:t>Creating Choice</a:t>
            </a:r>
            <a:r>
              <a:rPr lang="en-US" sz="2000" dirty="0" smtClean="0"/>
              <a:t>: staff are able to shape their working styles to fit their circumstances and exhibit greater levels of engagement and loyalty as a result. </a:t>
            </a:r>
          </a:p>
          <a:p>
            <a:pPr lvl="0"/>
            <a:r>
              <a:rPr lang="en-US" sz="2000" dirty="0" smtClean="0"/>
              <a:t>.</a:t>
            </a:r>
            <a:r>
              <a:rPr lang="en-US" sz="2000" b="1" dirty="0" smtClean="0"/>
              <a:t>Generational Working Styles</a:t>
            </a:r>
            <a:r>
              <a:rPr lang="en-US" sz="2000" dirty="0" smtClean="0"/>
              <a:t>: a diverse offer allows different cohorts to express their own styles and reduces the potential for intergenerational conflict as a result </a:t>
            </a:r>
          </a:p>
          <a:p>
            <a:r>
              <a:rPr lang="en-US" sz="2000" dirty="0" smtClean="0"/>
              <a:t> </a:t>
            </a:r>
          </a:p>
          <a:p>
            <a:pPr>
              <a:buFontTx/>
              <a:buChar char="-"/>
            </a:pPr>
            <a:endParaRPr lang="en-US" sz="1700"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23</a:t>
            </a:fld>
            <a:endParaRPr lang="de-DE" dirty="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noFill/>
        </p:spPr>
      </p:sp>
      <p:sp>
        <p:nvSpPr>
          <p:cNvPr id="73731" name="Rectangle 3"/>
          <p:cNvSpPr>
            <a:spLocks noGrp="1" noChangeArrowheads="1"/>
          </p:cNvSpPr>
          <p:nvPr>
            <p:ph type="body" idx="1"/>
          </p:nvPr>
        </p:nvSpPr>
        <p:spPr>
          <a:xfrm>
            <a:off x="992188" y="4822826"/>
            <a:ext cx="5116513" cy="4565649"/>
          </a:xfrm>
        </p:spPr>
        <p:txBody>
          <a:bodyPr/>
          <a:lstStyle/>
          <a:p>
            <a:pPr defTabSz="947684">
              <a:defRPr/>
            </a:pPr>
            <a:r>
              <a:rPr lang="en-GB" dirty="0" smtClean="0"/>
              <a:t>Reward your students after they have attended a See Women session with a ‘See Women digital badge’</a:t>
            </a:r>
            <a:r>
              <a:rPr lang="en-GB" i="1" dirty="0" smtClean="0"/>
              <a:t>. </a:t>
            </a:r>
            <a:r>
              <a:rPr lang="en-GB" dirty="0" smtClean="0"/>
              <a:t>First, you need to register as a teacher to </a:t>
            </a:r>
            <a:r>
              <a:rPr lang="en-GB" u="sng" dirty="0" smtClean="0">
                <a:hlinkClick r:id="rId3"/>
              </a:rPr>
              <a:t>www.makewav.es/siemens</a:t>
            </a:r>
            <a:r>
              <a:rPr lang="en-GB" dirty="0" smtClean="0"/>
              <a:t> or if your students are aged 13+ they can register themselves at </a:t>
            </a:r>
            <a:r>
              <a:rPr lang="en-GB" u="sng" dirty="0" smtClean="0">
                <a:hlinkClick r:id="rId4"/>
              </a:rPr>
              <a:t>www.openbadgeacademy.com/siemens</a:t>
            </a:r>
            <a:r>
              <a:rPr lang="en-GB" dirty="0" smtClean="0"/>
              <a:t>. Once your students have created a profile, they need to enter the claim code (SEEWOMEN17) in their profile page to earn a See Women digital badge. For further instructions please refer to the digital badges starter pack. </a:t>
            </a:r>
          </a:p>
          <a:p>
            <a:endParaRPr lang="en-US" dirty="0" smtClean="0"/>
          </a:p>
        </p:txBody>
      </p:sp>
      <p:sp>
        <p:nvSpPr>
          <p:cNvPr id="2" name="Slide Number Placeholder 1"/>
          <p:cNvSpPr>
            <a:spLocks noGrp="1"/>
          </p:cNvSpPr>
          <p:nvPr>
            <p:ph type="sldNum" sz="quarter" idx="10"/>
          </p:nvPr>
        </p:nvSpPr>
        <p:spPr/>
        <p:txBody>
          <a:bodyPr/>
          <a:lstStyle/>
          <a:p>
            <a:r>
              <a:rPr lang="de-DE" dirty="0" smtClean="0">
                <a:solidFill>
                  <a:srgbClr val="EEECE1"/>
                </a:solidFill>
              </a:rPr>
              <a:t>Page </a:t>
            </a:r>
            <a:fld id="{AD141568-5488-4AC9-B82D-9F5CE1225E2A}" type="slidenum">
              <a:rPr lang="de-DE" smtClean="0">
                <a:solidFill>
                  <a:srgbClr val="EEECE1"/>
                </a:solidFill>
              </a:rPr>
              <a:pPr/>
              <a:t>24</a:t>
            </a:fld>
            <a:endParaRPr lang="de-DE" dirty="0">
              <a:solidFill>
                <a:srgbClr val="EEECE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6375" y="768350"/>
            <a:ext cx="4148138" cy="2332038"/>
          </a:xfrm>
        </p:spPr>
      </p:sp>
      <p:sp>
        <p:nvSpPr>
          <p:cNvPr id="3" name="Notes Placeholder 2"/>
          <p:cNvSpPr>
            <a:spLocks noGrp="1"/>
          </p:cNvSpPr>
          <p:nvPr>
            <p:ph type="body" idx="1"/>
          </p:nvPr>
        </p:nvSpPr>
        <p:spPr>
          <a:xfrm>
            <a:off x="238125" y="3317106"/>
            <a:ext cx="6623050" cy="6552728"/>
          </a:xfrm>
        </p:spPr>
        <p:txBody>
          <a:bodyPr>
            <a:normAutofit lnSpcReduction="10000"/>
          </a:bodyPr>
          <a:lstStyle/>
          <a:p>
            <a:pPr>
              <a:lnSpc>
                <a:spcPct val="115000"/>
              </a:lnSpc>
              <a:spcAft>
                <a:spcPts val="1000"/>
              </a:spcAft>
            </a:pPr>
            <a:r>
              <a:rPr lang="en-US" sz="2000" dirty="0" smtClean="0">
                <a:latin typeface="Arial"/>
                <a:ea typeface="Calibri"/>
                <a:cs typeface="Times New Roman"/>
              </a:rPr>
              <a:t>A little about Siemens in the UK we have a significant presence with 14 manufacturing sites and 30 major offices employing over 15,000 with 600apprentices/250 graduates</a:t>
            </a:r>
          </a:p>
          <a:p>
            <a:pPr>
              <a:lnSpc>
                <a:spcPct val="115000"/>
              </a:lnSpc>
              <a:spcAft>
                <a:spcPts val="1000"/>
              </a:spcAft>
            </a:pPr>
            <a:r>
              <a:rPr lang="en-GB" sz="2000" dirty="0" smtClean="0">
                <a:latin typeface="Arial"/>
                <a:ea typeface="Calibri"/>
                <a:cs typeface="Times New Roman"/>
              </a:rPr>
              <a:t>6 billion turnover</a:t>
            </a:r>
            <a:endParaRPr lang="en-US" sz="2000" dirty="0" smtClean="0">
              <a:latin typeface="Arial"/>
              <a:ea typeface="Calibri"/>
              <a:cs typeface="Times New Roman"/>
            </a:endParaRPr>
          </a:p>
          <a:p>
            <a:pPr>
              <a:lnSpc>
                <a:spcPct val="115000"/>
              </a:lnSpc>
              <a:spcAft>
                <a:spcPts val="1000"/>
              </a:spcAft>
            </a:pPr>
            <a:r>
              <a:rPr lang="en-US" sz="2000" dirty="0" smtClean="0">
                <a:latin typeface="Arial"/>
                <a:ea typeface="Calibri"/>
                <a:cs typeface="Times New Roman"/>
              </a:rPr>
              <a:t>The skills and aspirations of young people leaving the UK education system and entering the world of work is therefore of vital importance to our business. Siemens will recruit and train hundreds of apprentices and graduate trainees over the next few years across nine business sectors. </a:t>
            </a:r>
          </a:p>
          <a:p>
            <a:pPr>
              <a:lnSpc>
                <a:spcPct val="115000"/>
              </a:lnSpc>
              <a:spcAft>
                <a:spcPts val="1000"/>
              </a:spcAft>
            </a:pPr>
            <a:r>
              <a:rPr lang="en-US" sz="2000" dirty="0" smtClean="0">
                <a:latin typeface="Arial"/>
                <a:ea typeface="Calibri"/>
                <a:cs typeface="Times New Roman"/>
              </a:rPr>
              <a:t>So ensuring the calibre and experience of these young people is a challenge we do not face alone; research indicates that engineering companies will need 1.86 million people with engineering skills between 2010 and 2020. These statistics mean that the UK needs to double the numbers of engineering-related apprentices and graduates coming out of colleges and universities to fill the recruitment pipeline</a:t>
            </a:r>
            <a:r>
              <a:rPr lang="en-US" sz="1800" dirty="0" smtClean="0">
                <a:latin typeface="Arial"/>
                <a:ea typeface="Calibri"/>
                <a:cs typeface="Times New Roman"/>
              </a:rPr>
              <a:t>. </a:t>
            </a:r>
          </a:p>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3</a:t>
            </a:fld>
            <a:endParaRPr lang="de-DE" dirty="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2000" dirty="0" smtClean="0"/>
              <a:t>As we can see this isn’t just a nice to do it has a direct impact on the uK economy and our commitment to being a responsible business in the UK</a:t>
            </a:r>
            <a:endParaRPr lang="en-US" sz="2000"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4</a:t>
            </a:fld>
            <a:endParaRPr lang="de-DE" dirty="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9725" y="4822825"/>
            <a:ext cx="6623050" cy="4565650"/>
          </a:xfrm>
        </p:spPr>
        <p:txBody>
          <a:bodyPr>
            <a:normAutofit/>
          </a:bodyPr>
          <a:lstStyle/>
          <a:p>
            <a:endParaRPr lang="en-GB" dirty="0" smtClean="0"/>
          </a:p>
          <a:p>
            <a:r>
              <a:rPr lang="en-GB" sz="2000" dirty="0" smtClean="0"/>
              <a:t>I’m often asked what skills are needed at Siemens;</a:t>
            </a:r>
          </a:p>
          <a:p>
            <a:r>
              <a:rPr lang="en-GB" sz="2000" dirty="0" smtClean="0"/>
              <a:t>So I think it may be better to show you some of our roles  - because Siemens is a business to business  company you may not be aware of how we impact on your lives from traffic lights, to trains, to the energy you use to boil your kettle, the smart motorway monitoring to get here</a:t>
            </a:r>
          </a:p>
          <a:p>
            <a:endParaRPr lang="en-GB" dirty="0" smtClean="0"/>
          </a:p>
          <a:p>
            <a:endParaRPr lang="en-GB" dirty="0" smtClean="0"/>
          </a:p>
          <a:p>
            <a:r>
              <a:rPr lang="en-GB" dirty="0" smtClean="0"/>
              <a:t>Use the following slide images to tell a story of your journe</a:t>
            </a:r>
            <a:r>
              <a:rPr lang="en-GB" baseline="0" dirty="0" smtClean="0"/>
              <a:t>y to arrive at the venue – electricity, transport then link to jobs / health. All require engineers.</a:t>
            </a:r>
            <a:endParaRPr lang="en-GB"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izen </a:t>
            </a:r>
            <a:fld id="{AD141568-5488-4AC9-B82D-9F5CE1225E2A}" type="slidenum">
              <a:rPr lang="de-DE" smtClean="0">
                <a:latin typeface="Arial" pitchFamily="34" charset="0"/>
              </a:rPr>
              <a:pPr/>
              <a:t>5</a:t>
            </a:fld>
            <a:endParaRPr lang="de-DE" dirty="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2000" b="1" dirty="0" smtClean="0">
                <a:solidFill>
                  <a:srgbClr val="000000"/>
                </a:solidFill>
              </a:rPr>
              <a:t>Building Technologies (BT)</a:t>
            </a:r>
            <a:endParaRPr lang="en-US" sz="2000" dirty="0" smtClean="0">
              <a:solidFill>
                <a:srgbClr val="000000"/>
              </a:solidFill>
            </a:endParaRPr>
          </a:p>
          <a:p>
            <a:pPr lvl="0"/>
            <a:r>
              <a:rPr lang="en-US" sz="2000" b="1" dirty="0" smtClean="0">
                <a:solidFill>
                  <a:srgbClr val="000000"/>
                </a:solidFill>
              </a:rPr>
              <a:t> Energy Management (EM)</a:t>
            </a:r>
            <a:endParaRPr lang="en-US" sz="2000" dirty="0" smtClean="0">
              <a:solidFill>
                <a:srgbClr val="000000"/>
              </a:solidFill>
            </a:endParaRPr>
          </a:p>
          <a:p>
            <a:pPr lvl="0"/>
            <a:r>
              <a:rPr lang="en-US" sz="2000" b="1" dirty="0" smtClean="0">
                <a:solidFill>
                  <a:srgbClr val="000000"/>
                </a:solidFill>
              </a:rPr>
              <a:t> Digital Factory (DF)</a:t>
            </a:r>
            <a:endParaRPr lang="en-US" sz="2000" dirty="0" smtClean="0">
              <a:solidFill>
                <a:srgbClr val="000000"/>
              </a:solidFill>
            </a:endParaRPr>
          </a:p>
          <a:p>
            <a:pPr lvl="0"/>
            <a:r>
              <a:rPr lang="en-US" sz="2000" b="1" dirty="0" smtClean="0">
                <a:solidFill>
                  <a:srgbClr val="000000"/>
                </a:solidFill>
              </a:rPr>
              <a:t> Siemens Financial Services (SFS)</a:t>
            </a:r>
            <a:endParaRPr lang="en-US" sz="2000" dirty="0" smtClean="0">
              <a:solidFill>
                <a:srgbClr val="000000"/>
              </a:solidFill>
            </a:endParaRPr>
          </a:p>
          <a:p>
            <a:pPr lvl="0"/>
            <a:r>
              <a:rPr lang="en-US" sz="2000" b="1" dirty="0" smtClean="0">
                <a:solidFill>
                  <a:srgbClr val="000000"/>
                </a:solidFill>
              </a:rPr>
              <a:t> Siemens </a:t>
            </a:r>
            <a:r>
              <a:rPr lang="en-US" sz="2000" b="1" dirty="0" err="1" smtClean="0">
                <a:solidFill>
                  <a:srgbClr val="000000"/>
                </a:solidFill>
              </a:rPr>
              <a:t>Healthineers</a:t>
            </a:r>
            <a:endParaRPr lang="en-US" sz="2000" dirty="0" smtClean="0">
              <a:solidFill>
                <a:srgbClr val="000000"/>
              </a:solidFill>
            </a:endParaRPr>
          </a:p>
          <a:p>
            <a:pPr lvl="0"/>
            <a:r>
              <a:rPr lang="en-US" sz="2000" b="1" dirty="0" smtClean="0">
                <a:solidFill>
                  <a:srgbClr val="000000"/>
                </a:solidFill>
              </a:rPr>
              <a:t> Mobility (MO)</a:t>
            </a:r>
            <a:endParaRPr lang="en-US" sz="2000" dirty="0" smtClean="0">
              <a:solidFill>
                <a:srgbClr val="000000"/>
              </a:solidFill>
            </a:endParaRPr>
          </a:p>
          <a:p>
            <a:pPr lvl="0"/>
            <a:r>
              <a:rPr lang="en-US" sz="2000" b="1" dirty="0" smtClean="0">
                <a:solidFill>
                  <a:srgbClr val="000000"/>
                </a:solidFill>
              </a:rPr>
              <a:t> Power Generation Services (PS)</a:t>
            </a:r>
            <a:endParaRPr lang="en-US" sz="2000" dirty="0" smtClean="0">
              <a:solidFill>
                <a:srgbClr val="000000"/>
              </a:solidFill>
            </a:endParaRPr>
          </a:p>
          <a:p>
            <a:pPr lvl="0"/>
            <a:r>
              <a:rPr lang="en-US" sz="2000" b="1" dirty="0" smtClean="0">
                <a:solidFill>
                  <a:srgbClr val="000000"/>
                </a:solidFill>
              </a:rPr>
              <a:t> Power &amp; Gas (PG)</a:t>
            </a:r>
          </a:p>
          <a:p>
            <a:pPr lvl="0"/>
            <a:r>
              <a:rPr lang="en-US" sz="2000" b="1" dirty="0" smtClean="0">
                <a:solidFill>
                  <a:srgbClr val="000000"/>
                </a:solidFill>
              </a:rPr>
              <a:t>Energy Management (EM)</a:t>
            </a:r>
            <a:endParaRPr lang="en-US" sz="2000" dirty="0" smtClean="0">
              <a:solidFill>
                <a:srgbClr val="000000"/>
              </a:solidFill>
            </a:endParaRPr>
          </a:p>
          <a:p>
            <a:pPr lvl="0"/>
            <a:r>
              <a:rPr lang="en-US" sz="2000" b="1" dirty="0" smtClean="0">
                <a:solidFill>
                  <a:srgbClr val="000000"/>
                </a:solidFill>
              </a:rPr>
              <a:t> Process Industries and Drives (PD)</a:t>
            </a:r>
            <a:endParaRPr lang="en-US" sz="2000" dirty="0" smtClean="0">
              <a:solidFill>
                <a:srgbClr val="000000"/>
              </a:solidFill>
            </a:endParaRPr>
          </a:p>
          <a:p>
            <a:pPr lvl="0"/>
            <a:r>
              <a:rPr lang="en-US" sz="2000" b="1" dirty="0" smtClean="0">
                <a:solidFill>
                  <a:srgbClr val="000000"/>
                </a:solidFill>
              </a:rPr>
              <a:t> Siemens </a:t>
            </a:r>
            <a:r>
              <a:rPr lang="en-US" sz="2000" b="1" dirty="0" err="1" smtClean="0">
                <a:solidFill>
                  <a:srgbClr val="000000"/>
                </a:solidFill>
              </a:rPr>
              <a:t>Gamesa</a:t>
            </a:r>
            <a:r>
              <a:rPr lang="en-US" sz="2000" b="1" dirty="0" smtClean="0">
                <a:solidFill>
                  <a:srgbClr val="000000"/>
                </a:solidFill>
              </a:rPr>
              <a:t> Renewable Energy</a:t>
            </a:r>
            <a:endParaRPr lang="en-US" sz="2000" dirty="0" smtClean="0">
              <a:solidFill>
                <a:srgbClr val="000000"/>
              </a:solidFill>
            </a:endParaRPr>
          </a:p>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6</a:t>
            </a:fld>
            <a:endParaRPr lang="de-DE" dirty="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7</a:t>
            </a:fld>
            <a:endParaRPr lang="de-DE"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8</a:t>
            </a:fld>
            <a:endParaRPr lang="de-DE" dirty="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r>
              <a:rPr lang="de-DE" dirty="0" smtClean="0">
                <a:latin typeface="Arial" pitchFamily="34" charset="0"/>
              </a:rPr>
              <a:t>Notes </a:t>
            </a:r>
            <a:fld id="{AD141568-5488-4AC9-B82D-9F5CE1225E2A}" type="slidenum">
              <a:rPr lang="de-DE" smtClean="0">
                <a:latin typeface="Arial" pitchFamily="34" charset="0"/>
              </a:rPr>
              <a:pPr/>
              <a:t>9</a:t>
            </a:fld>
            <a:endParaRPr lang="de-DE" dirty="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wmf"/><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image" Target="../media/image4.w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21" Type="http://schemas.openxmlformats.org/officeDocument/2006/relationships/image" Target="../media/image22.png"/><Relationship Id="rId34" Type="http://schemas.openxmlformats.org/officeDocument/2006/relationships/image" Target="../media/image35.png"/><Relationship Id="rId42" Type="http://schemas.openxmlformats.org/officeDocument/2006/relationships/image" Target="../media/image43.png"/><Relationship Id="rId47" Type="http://schemas.openxmlformats.org/officeDocument/2006/relationships/image" Target="../media/image48.png"/><Relationship Id="rId50" Type="http://schemas.openxmlformats.org/officeDocument/2006/relationships/image" Target="../media/image51.png"/><Relationship Id="rId55" Type="http://schemas.openxmlformats.org/officeDocument/2006/relationships/image" Target="../media/image56.png"/><Relationship Id="rId7" Type="http://schemas.openxmlformats.org/officeDocument/2006/relationships/image" Target="../media/image8.png"/><Relationship Id="rId2" Type="http://schemas.openxmlformats.org/officeDocument/2006/relationships/tags" Target="../tags/tag123.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42.png"/><Relationship Id="rId54" Type="http://schemas.openxmlformats.org/officeDocument/2006/relationships/image" Target="../media/image55.png"/><Relationship Id="rId62" Type="http://schemas.openxmlformats.org/officeDocument/2006/relationships/image" Target="../media/image63.png"/><Relationship Id="rId1" Type="http://schemas.openxmlformats.org/officeDocument/2006/relationships/tags" Target="../tags/tag122.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45" Type="http://schemas.openxmlformats.org/officeDocument/2006/relationships/image" Target="../media/image46.png"/><Relationship Id="rId53" Type="http://schemas.openxmlformats.org/officeDocument/2006/relationships/image" Target="../media/image54.png"/><Relationship Id="rId58" Type="http://schemas.openxmlformats.org/officeDocument/2006/relationships/image" Target="../media/image59.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49" Type="http://schemas.openxmlformats.org/officeDocument/2006/relationships/image" Target="../media/image50.png"/><Relationship Id="rId57" Type="http://schemas.openxmlformats.org/officeDocument/2006/relationships/image" Target="../media/image58.png"/><Relationship Id="rId61" Type="http://schemas.openxmlformats.org/officeDocument/2006/relationships/image" Target="../media/image62.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4" Type="http://schemas.openxmlformats.org/officeDocument/2006/relationships/image" Target="../media/image45.png"/><Relationship Id="rId52" Type="http://schemas.openxmlformats.org/officeDocument/2006/relationships/image" Target="../media/image53.png"/><Relationship Id="rId60" Type="http://schemas.openxmlformats.org/officeDocument/2006/relationships/image" Target="../media/image61.png"/><Relationship Id="rId4" Type="http://schemas.openxmlformats.org/officeDocument/2006/relationships/image" Target="../media/image5.jpe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6.png"/><Relationship Id="rId43" Type="http://schemas.openxmlformats.org/officeDocument/2006/relationships/image" Target="../media/image44.png"/><Relationship Id="rId48" Type="http://schemas.openxmlformats.org/officeDocument/2006/relationships/image" Target="../media/image49.png"/><Relationship Id="rId56" Type="http://schemas.openxmlformats.org/officeDocument/2006/relationships/image" Target="../media/image57.png"/><Relationship Id="rId8" Type="http://schemas.openxmlformats.org/officeDocument/2006/relationships/image" Target="../media/image9.png"/><Relationship Id="rId51" Type="http://schemas.openxmlformats.org/officeDocument/2006/relationships/image" Target="../media/image52.png"/><Relationship Id="rId3" Type="http://schemas.openxmlformats.org/officeDocument/2006/relationships/slideMaster" Target="../slideMasters/slideMaster2.xml"/><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46" Type="http://schemas.openxmlformats.org/officeDocument/2006/relationships/image" Target="../media/image47.png"/><Relationship Id="rId59" Type="http://schemas.openxmlformats.org/officeDocument/2006/relationships/image" Target="../media/image60.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4" Type="http://schemas.openxmlformats.org/officeDocument/2006/relationships/image" Target="../media/image4.w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customXml" Target="../../customXml/item13.xml"/><Relationship Id="rId5" Type="http://schemas.openxmlformats.org/officeDocument/2006/relationships/slideMaster" Target="../slideMasters/slideMaster2.xml"/><Relationship Id="rId4" Type="http://schemas.openxmlformats.org/officeDocument/2006/relationships/tags" Target="../tags/tag130.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customXml" Target="../../customXml/item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customXml" Target="../../customXml/item2.xml"/><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customXml" Target="../../customXml/item4.xml"/><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customXml" Target="../../customXml/item15.xml"/><Relationship Id="rId5" Type="http://schemas.openxmlformats.org/officeDocument/2006/relationships/slideMaster" Target="../slideMasters/slideMaster2.xml"/><Relationship Id="rId4" Type="http://schemas.openxmlformats.org/officeDocument/2006/relationships/tags" Target="../tags/tag138.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customXml" Target="../../customXml/item8.xml"/><Relationship Id="rId5" Type="http://schemas.openxmlformats.org/officeDocument/2006/relationships/slideMaster" Target="../slideMasters/slideMaster2.xml"/><Relationship Id="rId4" Type="http://schemas.openxmlformats.org/officeDocument/2006/relationships/tags" Target="../tags/tag14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customXml" Target="../../customXml/item18.xml"/><Relationship Id="rId6" Type="http://schemas.openxmlformats.org/officeDocument/2006/relationships/slideMaster" Target="../slideMasters/slideMaster2.xml"/><Relationship Id="rId5" Type="http://schemas.openxmlformats.org/officeDocument/2006/relationships/tags" Target="../tags/tag146.xml"/><Relationship Id="rId4" Type="http://schemas.openxmlformats.org/officeDocument/2006/relationships/tags" Target="../tags/tag14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customXml" Target="../../customXml/item32.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customXml" Target="../../customXml/item14.xml"/><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customXml" Target="../../customXml/item22.xml"/><Relationship Id="rId5" Type="http://schemas.openxmlformats.org/officeDocument/2006/relationships/slideMaster" Target="../slideMasters/slideMaster2.xml"/><Relationship Id="rId4" Type="http://schemas.openxmlformats.org/officeDocument/2006/relationships/tags" Target="../tags/tag156.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customXml" Target="../../customXml/item11.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customXml" Target="../../customXml/item5.xml"/><Relationship Id="rId6" Type="http://schemas.openxmlformats.org/officeDocument/2006/relationships/slideMaster" Target="../slideMasters/slideMaster2.xml"/><Relationship Id="rId5" Type="http://schemas.openxmlformats.org/officeDocument/2006/relationships/tags" Target="../tags/tag163.xml"/><Relationship Id="rId4" Type="http://schemas.openxmlformats.org/officeDocument/2006/relationships/tags" Target="../tags/tag16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customXml" Target="../../customXml/item16.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customXml" Target="../../customXml/item25.xml"/><Relationship Id="rId6" Type="http://schemas.openxmlformats.org/officeDocument/2006/relationships/slideMaster" Target="../slideMasters/slideMaster2.xml"/><Relationship Id="rId5" Type="http://schemas.openxmlformats.org/officeDocument/2006/relationships/tags" Target="../tags/tag172.xml"/><Relationship Id="rId4" Type="http://schemas.openxmlformats.org/officeDocument/2006/relationships/tags" Target="../tags/tag171.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customXml" Target="../../customXml/item27.x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image" Target="../media/image4.w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4.wmf"/><Relationship Id="rId5" Type="http://schemas.microsoft.com/office/2007/relationships/hdphoto" Target="../media/hdphoto1.wdp"/><Relationship Id="rId4" Type="http://schemas.openxmlformats.org/officeDocument/2006/relationships/image" Target="../media/image64.jpe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ags" Target="../tags/tag211.xml"/><Relationship Id="rId4" Type="http://schemas.openxmlformats.org/officeDocument/2006/relationships/image" Target="../media/image4.w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4.xml"/><Relationship Id="rId1" Type="http://schemas.openxmlformats.org/officeDocument/2006/relationships/tags" Target="../tags/tag21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customXml" Target="../../customXml/item10.xml"/><Relationship Id="rId5" Type="http://schemas.openxmlformats.org/officeDocument/2006/relationships/slideMaster" Target="../slideMasters/slideMaster3.xml"/><Relationship Id="rId4" Type="http://schemas.openxmlformats.org/officeDocument/2006/relationships/tags" Target="../tags/tag21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customXml" Target="../../customXml/item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customXml" Target="../../customXml/item23.xml"/><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customXml" Target="../../customXml/item29.xml"/><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customXml" Target="../../customXml/item6.xml"/><Relationship Id="rId5" Type="http://schemas.openxmlformats.org/officeDocument/2006/relationships/slideMaster" Target="../slideMasters/slideMaster3.xml"/><Relationship Id="rId4" Type="http://schemas.openxmlformats.org/officeDocument/2006/relationships/tags" Target="../tags/tag22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28.xml"/><Relationship Id="rId2" Type="http://schemas.openxmlformats.org/officeDocument/2006/relationships/tags" Target="../tags/tag227.xml"/><Relationship Id="rId1" Type="http://schemas.openxmlformats.org/officeDocument/2006/relationships/customXml" Target="../../customXml/item19.xml"/><Relationship Id="rId5" Type="http://schemas.openxmlformats.org/officeDocument/2006/relationships/slideMaster" Target="../slideMasters/slideMaster3.xml"/><Relationship Id="rId4" Type="http://schemas.openxmlformats.org/officeDocument/2006/relationships/tags" Target="../tags/tag22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customXml" Target="../../customXml/item7.xml"/><Relationship Id="rId6" Type="http://schemas.openxmlformats.org/officeDocument/2006/relationships/slideMaster" Target="../slideMasters/slideMaster3.xml"/><Relationship Id="rId5" Type="http://schemas.openxmlformats.org/officeDocument/2006/relationships/tags" Target="../tags/tag233.xml"/><Relationship Id="rId4" Type="http://schemas.openxmlformats.org/officeDocument/2006/relationships/tags" Target="../tags/tag23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slideMaster" Target="../slideMasters/slideMaster3.xml"/><Relationship Id="rId2" Type="http://schemas.openxmlformats.org/officeDocument/2006/relationships/tags" Target="../tags/tag234.xml"/><Relationship Id="rId1" Type="http://schemas.openxmlformats.org/officeDocument/2006/relationships/customXml" Target="../../customXml/item31.x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customXml" Target="../../customXml/item30.xml"/><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customXml" Target="../../customXml/item28.xml"/><Relationship Id="rId5" Type="http://schemas.openxmlformats.org/officeDocument/2006/relationships/slideMaster" Target="../slideMasters/slideMaster3.xml"/><Relationship Id="rId4" Type="http://schemas.openxmlformats.org/officeDocument/2006/relationships/tags" Target="../tags/tag24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customXml" Target="../../customXml/item17.xml"/><Relationship Id="rId5" Type="http://schemas.openxmlformats.org/officeDocument/2006/relationships/slideMaster" Target="../slideMasters/slideMaster3.xml"/><Relationship Id="rId4" Type="http://schemas.openxmlformats.org/officeDocument/2006/relationships/tags" Target="../tags/tag24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48.xml"/><Relationship Id="rId2" Type="http://schemas.openxmlformats.org/officeDocument/2006/relationships/tags" Target="../tags/tag247.xml"/><Relationship Id="rId1" Type="http://schemas.openxmlformats.org/officeDocument/2006/relationships/customXml" Target="../../customXml/item1.xml"/><Relationship Id="rId6" Type="http://schemas.openxmlformats.org/officeDocument/2006/relationships/slideMaster" Target="../slideMasters/slideMaster3.xml"/><Relationship Id="rId5" Type="http://schemas.openxmlformats.org/officeDocument/2006/relationships/tags" Target="../tags/tag250.xml"/><Relationship Id="rId4" Type="http://schemas.openxmlformats.org/officeDocument/2006/relationships/tags" Target="../tags/tag24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slideMaster" Target="../slideMasters/slideMaster3.xml"/><Relationship Id="rId2" Type="http://schemas.openxmlformats.org/officeDocument/2006/relationships/tags" Target="../tags/tag251.xml"/><Relationship Id="rId1" Type="http://schemas.openxmlformats.org/officeDocument/2006/relationships/customXml" Target="../../customXml/item12.xml"/><Relationship Id="rId6" Type="http://schemas.openxmlformats.org/officeDocument/2006/relationships/tags" Target="../tags/tag255.xml"/><Relationship Id="rId5" Type="http://schemas.openxmlformats.org/officeDocument/2006/relationships/tags" Target="../tags/tag254.xml"/><Relationship Id="rId4" Type="http://schemas.openxmlformats.org/officeDocument/2006/relationships/tags" Target="../tags/tag25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customXml" Target="../../customXml/item21.xml"/><Relationship Id="rId6" Type="http://schemas.openxmlformats.org/officeDocument/2006/relationships/slideMaster" Target="../slideMasters/slideMaster3.xml"/><Relationship Id="rId5" Type="http://schemas.openxmlformats.org/officeDocument/2006/relationships/tags" Target="../tags/tag259.xml"/><Relationship Id="rId4" Type="http://schemas.openxmlformats.org/officeDocument/2006/relationships/tags" Target="../tags/tag258.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customXml" Target="../../customXml/item3.xml"/><Relationship Id="rId6" Type="http://schemas.openxmlformats.org/officeDocument/2006/relationships/tags" Target="../tags/tag264.xml"/><Relationship Id="rId5" Type="http://schemas.openxmlformats.org/officeDocument/2006/relationships/tags" Target="../tags/tag263.xml"/><Relationship Id="rId4" Type="http://schemas.openxmlformats.org/officeDocument/2006/relationships/tags" Target="../tags/tag26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7.xml"/><Relationship Id="rId1" Type="http://schemas.openxmlformats.org/officeDocument/2006/relationships/tags" Target="../tags/tag266.xml"/><Relationship Id="rId4" Type="http://schemas.openxmlformats.org/officeDocument/2006/relationships/image" Target="../media/image4.w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69.xml"/><Relationship Id="rId7" Type="http://schemas.openxmlformats.org/officeDocument/2006/relationships/tags" Target="../tags/tag273.xml"/><Relationship Id="rId2" Type="http://schemas.openxmlformats.org/officeDocument/2006/relationships/tags" Target="../tags/tag268.xml"/><Relationship Id="rId1" Type="http://schemas.openxmlformats.org/officeDocument/2006/relationships/customXml" Target="../../customXml/item20.xml"/><Relationship Id="rId6" Type="http://schemas.openxmlformats.org/officeDocument/2006/relationships/tags" Target="../tags/tag272.xml"/><Relationship Id="rId5" Type="http://schemas.openxmlformats.org/officeDocument/2006/relationships/tags" Target="../tags/tag271.xml"/><Relationship Id="rId10" Type="http://schemas.openxmlformats.org/officeDocument/2006/relationships/image" Target="../media/image66.wmf"/><Relationship Id="rId4" Type="http://schemas.openxmlformats.org/officeDocument/2006/relationships/tags" Target="../tags/tag270.xml"/><Relationship Id="rId9" Type="http://schemas.openxmlformats.org/officeDocument/2006/relationships/image" Target="../media/image65.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sp>
        <p:nvSpPr>
          <p:cNvPr id="4" name="cdtRectangle 115 Id57350"/>
          <p:cNvSpPr>
            <a:spLocks noGrp="1" noChangeArrowheads="1"/>
          </p:cNvSpPr>
          <p:nvPr>
            <p:ph type="ctrTitle" hasCustomPrompt="1"/>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noProof="0" dirty="0" smtClean="0"/>
              <a:t>Click the style sheet to edit the title</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4"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noProof="0" dirty="0" smtClean="0"/>
              <a:t>Click the style sheet to edit the title</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hasCustomPrompt="1"/>
            <p:custDataLst>
              <p:tags r:id="rId2"/>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cdtContent Placeholder 3 Id4"/>
          <p:cNvSpPr>
            <a:spLocks noGrp="1"/>
          </p:cNvSpPr>
          <p:nvPr>
            <p:ph sz="half" idx="2" hasCustomPrompt="1"/>
            <p:custDataLst>
              <p:tags r:id="rId3"/>
            </p:custDataLst>
          </p:nvPr>
        </p:nvSpPr>
        <p:spPr>
          <a:xfrm>
            <a:off x="6243638"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607085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fr-FR" dirty="0"/>
          </a:p>
        </p:txBody>
      </p:sp>
      <p:sp>
        <p:nvSpPr>
          <p:cNvPr id="3" name="cdtContent Placeholder 2 Id3"/>
          <p:cNvSpPr>
            <a:spLocks noGrp="1"/>
          </p:cNvSpPr>
          <p:nvPr>
            <p:ph sz="half" idx="1" hasCustomPrompt="1"/>
            <p:custDataLst>
              <p:tags r:id="rId1"/>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Bildplatzhalter 4"/>
          <p:cNvSpPr>
            <a:spLocks noGrp="1"/>
          </p:cNvSpPr>
          <p:nvPr>
            <p:ph type="pic" sz="quarter" idx="10"/>
          </p:nvPr>
        </p:nvSpPr>
        <p:spPr>
          <a:xfrm>
            <a:off x="6243637" y="1412875"/>
            <a:ext cx="5472000" cy="2303463"/>
          </a:xfrm>
        </p:spPr>
        <p:txBody>
          <a:bodyPr tIns="648000"/>
          <a:lstStyle>
            <a:lvl1pPr algn="ctr">
              <a:defRPr/>
            </a:lvl1pPr>
          </a:lstStyle>
          <a:p>
            <a:r>
              <a:rPr lang="en-US" smtClean="0"/>
              <a:t>Click icon to add picture</a:t>
            </a:r>
            <a:endParaRPr lang="fr-FR"/>
          </a:p>
        </p:txBody>
      </p:sp>
      <p:sp>
        <p:nvSpPr>
          <p:cNvPr id="6" name="Bildplatzhalter 4"/>
          <p:cNvSpPr>
            <a:spLocks noGrp="1"/>
          </p:cNvSpPr>
          <p:nvPr>
            <p:ph type="pic" sz="quarter" idx="11"/>
          </p:nvPr>
        </p:nvSpPr>
        <p:spPr>
          <a:xfrm>
            <a:off x="6243637" y="3860801"/>
            <a:ext cx="5472000" cy="2305049"/>
          </a:xfrm>
        </p:spPr>
        <p:txBody>
          <a:bodyPr tIns="648000"/>
          <a:lstStyle>
            <a:lvl1pPr algn="ctr">
              <a:defRPr/>
            </a:lvl1pPr>
          </a:lstStyle>
          <a:p>
            <a:r>
              <a:rPr lang="en-US" smtClean="0"/>
              <a:t>Click icon to add picture</a:t>
            </a:r>
            <a:endParaRPr lang="fr-FR" dirty="0"/>
          </a:p>
        </p:txBody>
      </p:sp>
    </p:spTree>
    <p:extLst>
      <p:ext uri="{BB962C8B-B14F-4D97-AF65-F5344CB8AC3E}">
        <p14:creationId xmlns:p14="http://schemas.microsoft.com/office/powerpoint/2010/main" val="1734765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5"/>
            <a:ext cx="820896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627063" y="3860801"/>
            <a:ext cx="820896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3"/>
            <a:ext cx="360045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4370388" y="1412873"/>
            <a:ext cx="3600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cdtContent Placeholder 11 Id12"/>
          <p:cNvSpPr>
            <a:spLocks noGrp="1"/>
          </p:cNvSpPr>
          <p:nvPr>
            <p:ph sz="quarter" idx="14" hasCustomPrompt="1"/>
            <p:custDataLst>
              <p:tags r:id="rId4"/>
            </p:custDataLst>
          </p:nvPr>
        </p:nvSpPr>
        <p:spPr>
          <a:xfrm>
            <a:off x="8115750" y="1412873"/>
            <a:ext cx="3600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hasCustomPrompt="1"/>
            <p:custDataLst>
              <p:tags r:id="rId1"/>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noProof="0" dirty="0" smtClean="0"/>
              <a:t>Click the style sheet to edit the title</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hasCustomPrompt="1"/>
            <p:custDataLst>
              <p:tags r:id="rId2"/>
            </p:custDataLst>
          </p:nvPr>
        </p:nvSpPr>
        <p:spPr>
          <a:xfrm>
            <a:off x="627063" y="1412877"/>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cdtContent Placeholder 3 Id4"/>
          <p:cNvSpPr>
            <a:spLocks noGrp="1"/>
          </p:cNvSpPr>
          <p:nvPr>
            <p:ph sz="quarter" idx="2" hasCustomPrompt="1"/>
            <p:custDataLst>
              <p:tags r:id="rId3"/>
            </p:custDataLst>
          </p:nvPr>
        </p:nvSpPr>
        <p:spPr>
          <a:xfrm>
            <a:off x="6243638" y="1412875"/>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cdtContent Placeholder 4 Id5"/>
          <p:cNvSpPr>
            <a:spLocks noGrp="1"/>
          </p:cNvSpPr>
          <p:nvPr>
            <p:ph sz="quarter" idx="3" hasCustomPrompt="1"/>
            <p:custDataLst>
              <p:tags r:id="rId4"/>
            </p:custDataLst>
          </p:nvPr>
        </p:nvSpPr>
        <p:spPr>
          <a:xfrm>
            <a:off x="627063"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cdtContent Placeholder 5 Id6"/>
          <p:cNvSpPr>
            <a:spLocks noGrp="1"/>
          </p:cNvSpPr>
          <p:nvPr>
            <p:ph sz="quarter" idx="4" hasCustomPrompt="1"/>
            <p:custDataLst>
              <p:tags r:id="rId5"/>
            </p:custDataLst>
          </p:nvPr>
        </p:nvSpPr>
        <p:spPr>
          <a:xfrm>
            <a:off x="6243638"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5576722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5" name="cdtTextplatzhalter 13 Id5"/>
          <p:cNvSpPr>
            <a:spLocks noGrp="1"/>
          </p:cNvSpPr>
          <p:nvPr>
            <p:ph type="body" sz="quarter" idx="13" hasCustomPrompt="1"/>
            <p:custDataLst>
              <p:tags r:id="rId2"/>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4"/>
            <a:ext cx="8208962" cy="4752976"/>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cdtTextplatzhalter 13 Id5"/>
          <p:cNvSpPr>
            <a:spLocks noGrp="1"/>
          </p:cNvSpPr>
          <p:nvPr>
            <p:ph type="body" sz="quarter" idx="13" hasCustomPrompt="1"/>
            <p:custDataLst>
              <p:tags r:id="rId3"/>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3"/>
            <a:ext cx="6768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cdtTextplatzhalter 13 Id6"/>
          <p:cNvSpPr>
            <a:spLocks noGrp="1"/>
          </p:cNvSpPr>
          <p:nvPr>
            <p:ph type="body" sz="quarter" idx="13" hasCustomPrompt="1"/>
            <p:custDataLst>
              <p:tags r:id="rId3"/>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3"/>
            <a:ext cx="4032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4804025" y="1412873"/>
            <a:ext cx="4032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cdtTextplatzhalter 13 Id6"/>
          <p:cNvSpPr>
            <a:spLocks noGrp="1"/>
          </p:cNvSpPr>
          <p:nvPr>
            <p:ph type="body" sz="quarter" idx="14" hasCustomPrompt="1"/>
            <p:custDataLst>
              <p:tags r:id="rId4"/>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3"/>
            <a:ext cx="2592000"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3362400" y="1412873"/>
            <a:ext cx="2736775"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cdtContent Placeholder 11 Id12"/>
          <p:cNvSpPr>
            <a:spLocks noGrp="1"/>
          </p:cNvSpPr>
          <p:nvPr>
            <p:ph sz="quarter" idx="14" hasCustomPrompt="1"/>
            <p:custDataLst>
              <p:tags r:id="rId4"/>
            </p:custDataLst>
          </p:nvPr>
        </p:nvSpPr>
        <p:spPr>
          <a:xfrm>
            <a:off x="6243638" y="1412873"/>
            <a:ext cx="2592387" cy="4752977"/>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cdtTextplatzhalter 13 Id7"/>
          <p:cNvSpPr>
            <a:spLocks noGrp="1"/>
          </p:cNvSpPr>
          <p:nvPr>
            <p:ph type="body" sz="quarter" idx="15"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6" imgW="360" imgH="360" progId="">
                  <p:embed/>
                </p:oleObj>
              </mc:Choice>
              <mc:Fallback>
                <p:oleObj name="think-cell Slide" r:id="rId6" imgW="360" imgH="360" progId="">
                  <p:embed/>
                  <p:pic>
                    <p:nvPicPr>
                      <p:cNvPr id="0"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b="1" dirty="0" err="1" smtClean="0">
              <a:solidFill>
                <a:schemeClr val="tx1"/>
              </a:solidFill>
            </a:endParaRPr>
          </a:p>
        </p:txBody>
      </p:sp>
      <p:sp>
        <p:nvSpPr>
          <p:cNvPr id="3" name="cdtRectangle 115 Id57350"/>
          <p:cNvSpPr>
            <a:spLocks noGrp="1" noChangeArrowheads="1"/>
          </p:cNvSpPr>
          <p:nvPr>
            <p:ph type="ctrTitle" hasCustomPrompt="1"/>
            <p:custDataLst>
              <p:tags r:id="rId3"/>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noProof="0" dirty="0" smtClean="0"/>
              <a:t>Click the style sheet to edit the title</a:t>
            </a:r>
            <a:endParaRPr lang="en-US" dirty="0" smtClean="0"/>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7" name="Grafik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33"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5"/>
            <a:ext cx="820896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627063" y="3860801"/>
            <a:ext cx="820896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cdtTextplatzhalter 13 Id6"/>
          <p:cNvSpPr>
            <a:spLocks noGrp="1"/>
          </p:cNvSpPr>
          <p:nvPr>
            <p:ph type="body" sz="quarter" idx="14" hasCustomPrompt="1"/>
            <p:custDataLst>
              <p:tags r:id="rId4"/>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7"/>
            <a:ext cx="4032000" cy="2303462"/>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dtContent Placeholder 12 Id13"/>
          <p:cNvSpPr>
            <a:spLocks noGrp="1"/>
          </p:cNvSpPr>
          <p:nvPr>
            <p:ph sz="quarter" idx="13" hasCustomPrompt="1"/>
            <p:custDataLst>
              <p:tags r:id="rId3"/>
            </p:custDataLst>
          </p:nvPr>
        </p:nvSpPr>
        <p:spPr>
          <a:xfrm>
            <a:off x="4804024" y="1412875"/>
            <a:ext cx="403200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cdtContent Placeholder 11 Id12"/>
          <p:cNvSpPr>
            <a:spLocks noGrp="1"/>
          </p:cNvSpPr>
          <p:nvPr>
            <p:ph sz="quarter" idx="14" hasCustomPrompt="1"/>
            <p:custDataLst>
              <p:tags r:id="rId4"/>
            </p:custDataLst>
          </p:nvPr>
        </p:nvSpPr>
        <p:spPr>
          <a:xfrm>
            <a:off x="627063" y="3860800"/>
            <a:ext cx="403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cdtContent Placeholder 14 Id15"/>
          <p:cNvSpPr>
            <a:spLocks noGrp="1"/>
          </p:cNvSpPr>
          <p:nvPr>
            <p:ph sz="quarter" idx="15" hasCustomPrompt="1"/>
            <p:custDataLst>
              <p:tags r:id="rId5"/>
            </p:custDataLst>
          </p:nvPr>
        </p:nvSpPr>
        <p:spPr>
          <a:xfrm>
            <a:off x="4804025" y="3860800"/>
            <a:ext cx="40320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cdtTextplatzhalter 13 Id10"/>
          <p:cNvSpPr>
            <a:spLocks noGrp="1"/>
          </p:cNvSpPr>
          <p:nvPr>
            <p:ph type="body" sz="quarter" idx="16"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fr-FR" dirty="0"/>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3"/>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pic>
        <p:nvPicPr>
          <p:cNvPr id="7" name="Grafik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0400" y="324000"/>
            <a:ext cx="1584000" cy="670123"/>
          </a:xfrm>
          <a:prstGeom prst="rect">
            <a:avLst/>
          </a:prstGeom>
        </p:spPr>
      </p:pic>
      <p:sp>
        <p:nvSpPr>
          <p:cNvPr id="8" name="Bildplatzhalter 7"/>
          <p:cNvSpPr>
            <a:spLocks noGrp="1"/>
          </p:cNvSpPr>
          <p:nvPr>
            <p:ph type="pic" sz="quarter" idx="15"/>
          </p:nvPr>
        </p:nvSpPr>
        <p:spPr>
          <a:xfrm>
            <a:off x="0" y="1412875"/>
            <a:ext cx="4514400" cy="4752975"/>
          </a:xfrm>
        </p:spPr>
        <p:txBody>
          <a:bodyPr tIns="1800000"/>
          <a:lstStyle>
            <a:lvl1pPr algn="ctr">
              <a:defRPr/>
            </a:lvl1pPr>
          </a:lstStyle>
          <a:p>
            <a:r>
              <a:rPr lang="en-US" smtClean="0"/>
              <a:t>Click icon to add picture</a:t>
            </a:r>
            <a:endParaRPr lang="fr-FR"/>
          </a:p>
        </p:txBody>
      </p:sp>
    </p:spTree>
    <p:extLst>
      <p:ext uri="{BB962C8B-B14F-4D97-AF65-F5344CB8AC3E}">
        <p14:creationId xmlns:p14="http://schemas.microsoft.com/office/powerpoint/2010/main" val="7903329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955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830388" y="3886200"/>
            <a:ext cx="853757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0" y="6356350"/>
            <a:ext cx="2846388" cy="365125"/>
          </a:xfrm>
          <a:prstGeom prst="rect">
            <a:avLst/>
          </a:prstGeom>
        </p:spPr>
        <p:txBody>
          <a:bodyPr/>
          <a:lstStyle/>
          <a:p>
            <a:fld id="{D291B31E-7DC0-4FE2-AE1D-C8B1716AE80E}" type="datetimeFigureOut">
              <a:rPr lang="en-GB" smtClean="0"/>
              <a:pPr/>
              <a:t>14/03/2018</a:t>
            </a:fld>
            <a:endParaRPr lang="en-GB"/>
          </a:p>
        </p:txBody>
      </p:sp>
      <p:sp>
        <p:nvSpPr>
          <p:cNvPr id="5" name="Footer Placeholder 4"/>
          <p:cNvSpPr>
            <a:spLocks noGrp="1"/>
          </p:cNvSpPr>
          <p:nvPr>
            <p:ph type="ftr" sz="quarter" idx="11"/>
          </p:nvPr>
        </p:nvSpPr>
        <p:spPr>
          <a:xfrm>
            <a:off x="4167188" y="6356350"/>
            <a:ext cx="3863975"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742363" y="6356350"/>
            <a:ext cx="2846387" cy="365125"/>
          </a:xfrm>
          <a:prstGeom prst="rect">
            <a:avLst/>
          </a:prstGeom>
        </p:spPr>
        <p:txBody>
          <a:bodyPr/>
          <a:lstStyle/>
          <a:p>
            <a:fld id="{04E628AF-7C1B-4375-AEB1-611E4DC37E64}" type="slidenum">
              <a:rPr lang="en-GB" smtClean="0"/>
              <a:pPr/>
              <a:t>‹#›</a:t>
            </a:fld>
            <a:endParaRPr lang="en-GB"/>
          </a:p>
        </p:txBody>
      </p:sp>
    </p:spTree>
    <p:extLst>
      <p:ext uri="{BB962C8B-B14F-4D97-AF65-F5344CB8AC3E}">
        <p14:creationId xmlns:p14="http://schemas.microsoft.com/office/powerpoint/2010/main" val="3066293135"/>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icture 1">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2"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0" name="Picture 3" descr="C:\Users\FEEDBA~1\AppData\Local\Temp\vmware-feedbackuser\VMwareDnD\7f1592ca\7159_Background_DL_160113-2-01.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0" y="-1588"/>
            <a:ext cx="12198350" cy="6861176"/>
          </a:xfrm>
          <a:prstGeom prst="rect">
            <a:avLst/>
          </a:prstGeom>
          <a:noFill/>
          <a:ln w="9525">
            <a:noFill/>
            <a:miter lim="800000"/>
            <a:headEnd/>
            <a:tailEnd/>
          </a:ln>
        </p:spPr>
      </p:pic>
      <p:pic>
        <p:nvPicPr>
          <p:cNvPr id="31" name="Bild 19" descr="iconmonstr-banknote-multi-4-icon.png"/>
          <p:cNvPicPr>
            <a:picLocks noChangeAspect="1"/>
          </p:cNvPicPr>
          <p:nvPr userDrawn="1"/>
        </p:nvPicPr>
        <p:blipFill>
          <a:blip r:embed="rId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6107113" y="2555999"/>
            <a:ext cx="482161" cy="482161"/>
          </a:xfrm>
          <a:prstGeom prst="rect">
            <a:avLst/>
          </a:prstGeom>
          <a:noFill/>
          <a:ln>
            <a:noFill/>
          </a:ln>
        </p:spPr>
      </p:pic>
      <p:pic>
        <p:nvPicPr>
          <p:cNvPr id="32" name="Bild 8" descr="iconmonstr-audio-4-icon.png"/>
          <p:cNvPicPr>
            <a:picLocks noChangeAspect="1"/>
          </p:cNvPicPr>
          <p:nvPr userDrawn="1"/>
        </p:nvPicPr>
        <p:blipFill>
          <a:blip r:embed="rId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514534" y="2701204"/>
            <a:ext cx="719086" cy="719086"/>
          </a:xfrm>
          <a:prstGeom prst="rect">
            <a:avLst/>
          </a:prstGeom>
          <a:noFill/>
          <a:ln>
            <a:noFill/>
          </a:ln>
        </p:spPr>
      </p:pic>
      <p:pic>
        <p:nvPicPr>
          <p:cNvPr id="33" name="Bild 30" descr="iconmonstr-email-13-icon.png"/>
          <p:cNvPicPr>
            <a:picLocks noChangeAspect="1"/>
          </p:cNvPicPr>
          <p:nvPr userDrawn="1"/>
        </p:nvPicPr>
        <p:blipFill>
          <a:blip r:embed="rId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7185094" y="1475713"/>
            <a:ext cx="482161" cy="482161"/>
          </a:xfrm>
          <a:prstGeom prst="rect">
            <a:avLst/>
          </a:prstGeom>
          <a:noFill/>
          <a:ln>
            <a:noFill/>
          </a:ln>
        </p:spPr>
      </p:pic>
      <p:pic>
        <p:nvPicPr>
          <p:cNvPr id="57" name="Bild 16" descr="iconmonstr-google-plus-2-icon.png"/>
          <p:cNvPicPr>
            <a:picLocks noChangeAspect="1"/>
          </p:cNvPicPr>
          <p:nvPr userDrawn="1"/>
        </p:nvPicPr>
        <p:blipFill>
          <a:blip r:embed="rId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784350" y="5089525"/>
            <a:ext cx="706616" cy="706616"/>
          </a:xfrm>
          <a:prstGeom prst="rect">
            <a:avLst/>
          </a:prstGeom>
          <a:noFill/>
          <a:ln>
            <a:noFill/>
          </a:ln>
        </p:spPr>
      </p:pic>
      <p:pic>
        <p:nvPicPr>
          <p:cNvPr id="58" name="Bild 22" descr="iconmonstr-home-6-icon.png"/>
          <p:cNvPicPr>
            <a:picLocks noChangeAspect="1"/>
          </p:cNvPicPr>
          <p:nvPr userDrawn="1"/>
        </p:nvPicPr>
        <p:blipFill>
          <a:blip r:embed="rId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80600" y="3323695"/>
            <a:ext cx="860409" cy="864565"/>
          </a:xfrm>
          <a:prstGeom prst="rect">
            <a:avLst/>
          </a:prstGeom>
          <a:noFill/>
          <a:ln>
            <a:noFill/>
          </a:ln>
        </p:spPr>
      </p:pic>
      <p:pic>
        <p:nvPicPr>
          <p:cNvPr id="59" name="Bild 15" descr="iconmonstr-map-icon.png"/>
          <p:cNvPicPr>
            <a:picLocks noChangeAspect="1"/>
          </p:cNvPicPr>
          <p:nvPr userDrawn="1"/>
        </p:nvPicPr>
        <p:blipFill>
          <a:blip r:embed="rId1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6337050" y="1188407"/>
            <a:ext cx="719086" cy="719086"/>
          </a:xfrm>
          <a:prstGeom prst="rect">
            <a:avLst/>
          </a:prstGeom>
          <a:noFill/>
          <a:ln>
            <a:noFill/>
          </a:ln>
        </p:spPr>
      </p:pic>
      <p:pic>
        <p:nvPicPr>
          <p:cNvPr id="60" name="Bild 24" descr="iconmonstr-newspaper-11-icon.png"/>
          <p:cNvPicPr>
            <a:picLocks noChangeAspect="1"/>
          </p:cNvPicPr>
          <p:nvPr userDrawn="1"/>
        </p:nvPicPr>
        <p:blipFill>
          <a:blip r:embed="rId1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923946" y="281408"/>
            <a:ext cx="831313" cy="831313"/>
          </a:xfrm>
          <a:prstGeom prst="rect">
            <a:avLst/>
          </a:prstGeom>
          <a:noFill/>
          <a:ln>
            <a:noFill/>
          </a:ln>
        </p:spPr>
      </p:pic>
      <p:pic>
        <p:nvPicPr>
          <p:cNvPr id="61" name="Bild 21" descr="iconmonstr-shield-26-icon.png"/>
          <p:cNvPicPr>
            <a:picLocks noChangeAspect="1"/>
          </p:cNvPicPr>
          <p:nvPr userDrawn="1"/>
        </p:nvPicPr>
        <p:blipFill>
          <a:blip r:embed="rId1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986815" y="4226323"/>
            <a:ext cx="611015" cy="611015"/>
          </a:xfrm>
          <a:prstGeom prst="rect">
            <a:avLst/>
          </a:prstGeom>
          <a:noFill/>
          <a:ln>
            <a:noFill/>
          </a:ln>
        </p:spPr>
      </p:pic>
      <p:pic>
        <p:nvPicPr>
          <p:cNvPr id="62" name="Bild 17" descr="iconmonstr-speech-bubble-15-icon.png"/>
          <p:cNvPicPr>
            <a:picLocks noChangeAspect="1"/>
          </p:cNvPicPr>
          <p:nvPr userDrawn="1"/>
        </p:nvPicPr>
        <p:blipFill>
          <a:blip r:embed="rId13"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379913" y="1668463"/>
            <a:ext cx="723242" cy="723242"/>
          </a:xfrm>
          <a:prstGeom prst="rect">
            <a:avLst/>
          </a:prstGeom>
          <a:noFill/>
          <a:ln>
            <a:noFill/>
          </a:ln>
        </p:spPr>
      </p:pic>
      <p:pic>
        <p:nvPicPr>
          <p:cNvPr id="63" name="Bild 12" descr="iconmonstr-gear-10-icon.png"/>
          <p:cNvPicPr>
            <a:picLocks noChangeAspect="1"/>
          </p:cNvPicPr>
          <p:nvPr userDrawn="1"/>
        </p:nvPicPr>
        <p:blipFill>
          <a:blip r:embed="rId1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99352" y="727744"/>
            <a:ext cx="864565" cy="864565"/>
          </a:xfrm>
          <a:prstGeom prst="rect">
            <a:avLst/>
          </a:prstGeom>
          <a:noFill/>
          <a:ln>
            <a:noFill/>
          </a:ln>
        </p:spPr>
      </p:pic>
      <p:pic>
        <p:nvPicPr>
          <p:cNvPr id="64" name="Bild 13" descr="iconmonstr-gear-icon.png"/>
          <p:cNvPicPr>
            <a:picLocks noChangeAspect="1"/>
          </p:cNvPicPr>
          <p:nvPr userDrawn="1"/>
        </p:nvPicPr>
        <p:blipFill>
          <a:blip r:embed="rId1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029470" y="1909134"/>
            <a:ext cx="723242" cy="723242"/>
          </a:xfrm>
          <a:prstGeom prst="rect">
            <a:avLst/>
          </a:prstGeom>
          <a:noFill/>
          <a:ln>
            <a:noFill/>
          </a:ln>
        </p:spPr>
      </p:pic>
      <p:pic>
        <p:nvPicPr>
          <p:cNvPr id="65" name="Bild 14" descr="iconmonstr-magnifier-5-icon.png"/>
          <p:cNvPicPr>
            <a:picLocks noChangeAspect="1"/>
          </p:cNvPicPr>
          <p:nvPr userDrawn="1"/>
        </p:nvPicPr>
        <p:blipFill>
          <a:blip r:embed="rId1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950720" y="1523539"/>
            <a:ext cx="482161" cy="482161"/>
          </a:xfrm>
          <a:prstGeom prst="rect">
            <a:avLst/>
          </a:prstGeom>
          <a:noFill/>
          <a:ln>
            <a:noFill/>
          </a:ln>
        </p:spPr>
      </p:pic>
      <p:pic>
        <p:nvPicPr>
          <p:cNvPr id="66" name="Bild 18" descr="iconmonstr-share-3-icon.png"/>
          <p:cNvPicPr>
            <a:picLocks noChangeAspect="1"/>
          </p:cNvPicPr>
          <p:nvPr userDrawn="1"/>
        </p:nvPicPr>
        <p:blipFill>
          <a:blip r:embed="rId1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421813" y="1322388"/>
            <a:ext cx="602702" cy="602702"/>
          </a:xfrm>
          <a:prstGeom prst="rect">
            <a:avLst/>
          </a:prstGeom>
          <a:noFill/>
          <a:ln>
            <a:noFill/>
          </a:ln>
        </p:spPr>
      </p:pic>
      <p:pic>
        <p:nvPicPr>
          <p:cNvPr id="67" name="Bild 30" descr="iconmonstr-time-13-icon.png"/>
          <p:cNvPicPr>
            <a:picLocks noChangeAspect="1"/>
          </p:cNvPicPr>
          <p:nvPr userDrawn="1"/>
        </p:nvPicPr>
        <p:blipFill>
          <a:blip r:embed="rId1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0158806" y="514746"/>
            <a:ext cx="719086" cy="719086"/>
          </a:xfrm>
          <a:prstGeom prst="rect">
            <a:avLst/>
          </a:prstGeom>
          <a:noFill/>
          <a:ln>
            <a:noFill/>
          </a:ln>
        </p:spPr>
      </p:pic>
      <p:pic>
        <p:nvPicPr>
          <p:cNvPr id="68" name="Bild 14" descr="iconmonstr-certificate-4-icon.png"/>
          <p:cNvPicPr>
            <a:picLocks noChangeAspect="1"/>
          </p:cNvPicPr>
          <p:nvPr userDrawn="1"/>
        </p:nvPicPr>
        <p:blipFill>
          <a:blip r:embed="rId1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619625" y="2555875"/>
            <a:ext cx="719086" cy="719086"/>
          </a:xfrm>
          <a:prstGeom prst="rect">
            <a:avLst/>
          </a:prstGeom>
          <a:noFill/>
          <a:ln>
            <a:noFill/>
          </a:ln>
        </p:spPr>
      </p:pic>
      <p:pic>
        <p:nvPicPr>
          <p:cNvPr id="69" name="Bild 33" descr="iconmonstr-computer-3-icon.png"/>
          <p:cNvPicPr>
            <a:picLocks noChangeAspect="1"/>
          </p:cNvPicPr>
          <p:nvPr userDrawn="1"/>
        </p:nvPicPr>
        <p:blipFill>
          <a:blip r:embed="rId2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5990861" y="512065"/>
            <a:ext cx="594389" cy="598545"/>
          </a:xfrm>
          <a:prstGeom prst="rect">
            <a:avLst/>
          </a:prstGeom>
          <a:noFill/>
          <a:ln>
            <a:noFill/>
          </a:ln>
        </p:spPr>
      </p:pic>
      <p:pic>
        <p:nvPicPr>
          <p:cNvPr id="70" name="Bild 29" descr="iconmonstr-coin-9-icon.png"/>
          <p:cNvPicPr>
            <a:picLocks noChangeAspect="1"/>
          </p:cNvPicPr>
          <p:nvPr userDrawn="1"/>
        </p:nvPicPr>
        <p:blipFill>
          <a:blip r:embed="rId2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054044" y="3147172"/>
            <a:ext cx="864565" cy="864565"/>
          </a:xfrm>
          <a:prstGeom prst="rect">
            <a:avLst/>
          </a:prstGeom>
          <a:noFill/>
          <a:ln>
            <a:noFill/>
          </a:ln>
        </p:spPr>
      </p:pic>
      <p:pic>
        <p:nvPicPr>
          <p:cNvPr id="71" name="Bild 24" descr="iconmonstr-clipboard-5-icon.png"/>
          <p:cNvPicPr>
            <a:picLocks noChangeAspect="1"/>
          </p:cNvPicPr>
          <p:nvPr userDrawn="1"/>
        </p:nvPicPr>
        <p:blipFill>
          <a:blip r:embed="rId2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7980868" y="1523540"/>
            <a:ext cx="719086" cy="719086"/>
          </a:xfrm>
          <a:prstGeom prst="rect">
            <a:avLst/>
          </a:prstGeom>
          <a:noFill/>
          <a:ln>
            <a:noFill/>
          </a:ln>
        </p:spPr>
      </p:pic>
      <p:pic>
        <p:nvPicPr>
          <p:cNvPr id="72" name="Bild 12" descr="iconmonstr-connection-icon.png"/>
          <p:cNvPicPr>
            <a:picLocks noChangeAspect="1"/>
          </p:cNvPicPr>
          <p:nvPr userDrawn="1"/>
        </p:nvPicPr>
        <p:blipFill>
          <a:blip r:embed="rId23"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166366" y="1002003"/>
            <a:ext cx="719086" cy="719086"/>
          </a:xfrm>
          <a:prstGeom prst="rect">
            <a:avLst/>
          </a:prstGeom>
          <a:noFill/>
          <a:ln>
            <a:noFill/>
          </a:ln>
        </p:spPr>
      </p:pic>
      <p:pic>
        <p:nvPicPr>
          <p:cNvPr id="73" name="Bild 12" descr="iconmonstr-gear-10-icon.png"/>
          <p:cNvPicPr>
            <a:picLocks noChangeAspect="1"/>
          </p:cNvPicPr>
          <p:nvPr userDrawn="1"/>
        </p:nvPicPr>
        <p:blipFill>
          <a:blip r:embed="rId1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037672" y="3973360"/>
            <a:ext cx="864565" cy="864565"/>
          </a:xfrm>
          <a:prstGeom prst="rect">
            <a:avLst/>
          </a:prstGeom>
          <a:noFill/>
          <a:ln>
            <a:noFill/>
          </a:ln>
        </p:spPr>
      </p:pic>
      <p:pic>
        <p:nvPicPr>
          <p:cNvPr id="74" name="Bild 13" descr="iconmonstr-gear-icon.png"/>
          <p:cNvPicPr>
            <a:picLocks noChangeAspect="1"/>
          </p:cNvPicPr>
          <p:nvPr userDrawn="1"/>
        </p:nvPicPr>
        <p:blipFill>
          <a:blip r:embed="rId2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6817469" y="2314919"/>
            <a:ext cx="482161" cy="482161"/>
          </a:xfrm>
          <a:prstGeom prst="rect">
            <a:avLst/>
          </a:prstGeom>
          <a:noFill/>
          <a:ln>
            <a:noFill/>
          </a:ln>
        </p:spPr>
      </p:pic>
      <p:pic>
        <p:nvPicPr>
          <p:cNvPr id="75" name="Bild 24" descr="iconmonstr-id-card-8-icon.png"/>
          <p:cNvPicPr>
            <a:picLocks noChangeAspect="1"/>
          </p:cNvPicPr>
          <p:nvPr userDrawn="1"/>
        </p:nvPicPr>
        <p:blipFill>
          <a:blip r:embed="rId2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5629017" y="1321838"/>
            <a:ext cx="478005" cy="478005"/>
          </a:xfrm>
          <a:prstGeom prst="rect">
            <a:avLst/>
          </a:prstGeom>
          <a:noFill/>
          <a:ln>
            <a:noFill/>
          </a:ln>
        </p:spPr>
      </p:pic>
      <p:pic>
        <p:nvPicPr>
          <p:cNvPr id="76" name="Bild 19" descr="iconmonstr-headphones-6-icon.png"/>
          <p:cNvPicPr>
            <a:picLocks noChangeAspect="1"/>
          </p:cNvPicPr>
          <p:nvPr userDrawn="1"/>
        </p:nvPicPr>
        <p:blipFill>
          <a:blip r:embed="rId2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8821074" y="802815"/>
            <a:ext cx="719086" cy="719086"/>
          </a:xfrm>
          <a:prstGeom prst="rect">
            <a:avLst/>
          </a:prstGeom>
          <a:noFill/>
          <a:ln>
            <a:noFill/>
          </a:ln>
        </p:spPr>
      </p:pic>
      <p:pic>
        <p:nvPicPr>
          <p:cNvPr id="77" name="Bild 12" descr="iconmonstr-lock-10-icon.png"/>
          <p:cNvPicPr>
            <a:picLocks noChangeAspect="1"/>
          </p:cNvPicPr>
          <p:nvPr userDrawn="1"/>
        </p:nvPicPr>
        <p:blipFill>
          <a:blip r:embed="rId2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5273404" y="2843211"/>
            <a:ext cx="478005" cy="482161"/>
          </a:xfrm>
          <a:prstGeom prst="rect">
            <a:avLst/>
          </a:prstGeom>
          <a:noFill/>
          <a:ln>
            <a:noFill/>
          </a:ln>
        </p:spPr>
      </p:pic>
      <p:pic>
        <p:nvPicPr>
          <p:cNvPr id="78" name="Bild 11" descr="iconmonstr-radio-tower-4-icon.png"/>
          <p:cNvPicPr>
            <a:picLocks noChangeAspect="1"/>
          </p:cNvPicPr>
          <p:nvPr userDrawn="1"/>
        </p:nvPicPr>
        <p:blipFill>
          <a:blip r:embed="rId2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625471" y="641706"/>
            <a:ext cx="860409" cy="864565"/>
          </a:xfrm>
          <a:prstGeom prst="rect">
            <a:avLst/>
          </a:prstGeom>
          <a:noFill/>
          <a:ln>
            <a:noFill/>
          </a:ln>
        </p:spPr>
      </p:pic>
      <p:pic>
        <p:nvPicPr>
          <p:cNvPr id="79" name="Bild 24" descr="iconmonstr-shipping-box-12-icon.png"/>
          <p:cNvPicPr>
            <a:picLocks noChangeAspect="1"/>
          </p:cNvPicPr>
          <p:nvPr userDrawn="1"/>
        </p:nvPicPr>
        <p:blipFill>
          <a:blip r:embed="rId2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7665514" y="802815"/>
            <a:ext cx="839626" cy="839626"/>
          </a:xfrm>
          <a:prstGeom prst="rect">
            <a:avLst/>
          </a:prstGeom>
          <a:noFill/>
          <a:ln>
            <a:noFill/>
          </a:ln>
        </p:spPr>
      </p:pic>
      <p:pic>
        <p:nvPicPr>
          <p:cNvPr id="80" name="Bild 19" descr="iconmonstr-share-icon.png"/>
          <p:cNvPicPr>
            <a:picLocks noChangeAspect="1"/>
          </p:cNvPicPr>
          <p:nvPr userDrawn="1"/>
        </p:nvPicPr>
        <p:blipFill>
          <a:blip r:embed="rId3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8701498" y="1595834"/>
            <a:ext cx="719086" cy="719086"/>
          </a:xfrm>
          <a:prstGeom prst="rect">
            <a:avLst/>
          </a:prstGeom>
          <a:noFill/>
          <a:ln>
            <a:noFill/>
          </a:ln>
        </p:spPr>
      </p:pic>
      <p:pic>
        <p:nvPicPr>
          <p:cNvPr id="81" name="Bild 11" descr="iconmonstr-smartphone-4-icon.png"/>
          <p:cNvPicPr>
            <a:picLocks noChangeAspect="1"/>
          </p:cNvPicPr>
          <p:nvPr userDrawn="1"/>
        </p:nvPicPr>
        <p:blipFill>
          <a:blip r:embed="rId3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5270289" y="2004023"/>
            <a:ext cx="719086" cy="719086"/>
          </a:xfrm>
          <a:prstGeom prst="rect">
            <a:avLst/>
          </a:prstGeom>
          <a:noFill/>
          <a:ln>
            <a:noFill/>
          </a:ln>
        </p:spPr>
      </p:pic>
      <p:pic>
        <p:nvPicPr>
          <p:cNvPr id="82" name="Bild 20" descr="iconmonstr-tablet-4-icon.png"/>
          <p:cNvPicPr>
            <a:picLocks noChangeAspect="1"/>
          </p:cNvPicPr>
          <p:nvPr userDrawn="1"/>
        </p:nvPicPr>
        <p:blipFill>
          <a:blip r:embed="rId3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3947660" y="2200989"/>
            <a:ext cx="723242" cy="723242"/>
          </a:xfrm>
          <a:prstGeom prst="rect">
            <a:avLst/>
          </a:prstGeom>
          <a:noFill/>
          <a:ln>
            <a:noFill/>
          </a:ln>
        </p:spPr>
      </p:pic>
      <p:pic>
        <p:nvPicPr>
          <p:cNvPr id="83" name="Bild 8" descr="iconmonstr-wireless-icon.png"/>
          <p:cNvPicPr>
            <a:picLocks noChangeAspect="1"/>
          </p:cNvPicPr>
          <p:nvPr userDrawn="1"/>
        </p:nvPicPr>
        <p:blipFill>
          <a:blip r:embed="rId33"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6107113" y="1800225"/>
            <a:ext cx="719086" cy="719086"/>
          </a:xfrm>
          <a:prstGeom prst="rect">
            <a:avLst/>
          </a:prstGeom>
          <a:noFill/>
          <a:ln>
            <a:noFill/>
          </a:ln>
        </p:spPr>
      </p:pic>
      <p:pic>
        <p:nvPicPr>
          <p:cNvPr id="84" name="Bild 17" descr="iconmonstr-youtube-icon.png"/>
          <p:cNvPicPr>
            <a:picLocks noChangeAspect="1"/>
          </p:cNvPicPr>
          <p:nvPr userDrawn="1"/>
        </p:nvPicPr>
        <p:blipFill>
          <a:blip r:embed="rId3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313755" y="5858018"/>
            <a:ext cx="864565" cy="864565"/>
          </a:xfrm>
          <a:prstGeom prst="rect">
            <a:avLst/>
          </a:prstGeom>
          <a:noFill/>
          <a:ln>
            <a:noFill/>
          </a:ln>
        </p:spPr>
      </p:pic>
      <p:pic>
        <p:nvPicPr>
          <p:cNvPr id="85" name="Bild 21" descr="iconmonstr-twitter-icon.png"/>
          <p:cNvPicPr>
            <a:picLocks noChangeAspect="1"/>
          </p:cNvPicPr>
          <p:nvPr userDrawn="1"/>
        </p:nvPicPr>
        <p:blipFill>
          <a:blip r:embed="rId3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0519120" y="1235473"/>
            <a:ext cx="719086" cy="719086"/>
          </a:xfrm>
          <a:prstGeom prst="rect">
            <a:avLst/>
          </a:prstGeom>
          <a:noFill/>
          <a:ln>
            <a:noFill/>
          </a:ln>
        </p:spPr>
      </p:pic>
      <p:pic>
        <p:nvPicPr>
          <p:cNvPr id="86" name="Bild 27" descr="iconmonstr-user-14-icon.png"/>
          <p:cNvPicPr>
            <a:picLocks noChangeAspect="1"/>
          </p:cNvPicPr>
          <p:nvPr userDrawn="1"/>
        </p:nvPicPr>
        <p:blipFill>
          <a:blip r:embed="rId3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176716" y="5858018"/>
            <a:ext cx="864565" cy="864565"/>
          </a:xfrm>
          <a:prstGeom prst="rect">
            <a:avLst/>
          </a:prstGeom>
          <a:noFill/>
          <a:ln>
            <a:noFill/>
          </a:ln>
        </p:spPr>
      </p:pic>
      <p:pic>
        <p:nvPicPr>
          <p:cNvPr id="87" name="Bild 12" descr="iconmonstr-tools-5-icon.png"/>
          <p:cNvPicPr>
            <a:picLocks noChangeAspect="1"/>
          </p:cNvPicPr>
          <p:nvPr userDrawn="1"/>
        </p:nvPicPr>
        <p:blipFill>
          <a:blip r:embed="rId3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1180" y="5162982"/>
            <a:ext cx="723242" cy="723242"/>
          </a:xfrm>
          <a:prstGeom prst="rect">
            <a:avLst/>
          </a:prstGeom>
          <a:noFill/>
          <a:ln>
            <a:noFill/>
          </a:ln>
        </p:spPr>
      </p:pic>
      <p:pic>
        <p:nvPicPr>
          <p:cNvPr id="88" name="Bild 29" descr="iconmonstr-video-3-icon.png"/>
          <p:cNvPicPr>
            <a:picLocks noChangeAspect="1"/>
          </p:cNvPicPr>
          <p:nvPr userDrawn="1"/>
        </p:nvPicPr>
        <p:blipFill>
          <a:blip r:embed="rId3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343599" y="2182802"/>
            <a:ext cx="719086" cy="723242"/>
          </a:xfrm>
          <a:prstGeom prst="rect">
            <a:avLst/>
          </a:prstGeom>
          <a:noFill/>
          <a:ln>
            <a:noFill/>
          </a:ln>
        </p:spPr>
      </p:pic>
      <p:pic>
        <p:nvPicPr>
          <p:cNvPr id="89" name="Bild 16" descr="iconmonstr-photo-camera-7-icon.png"/>
          <p:cNvPicPr>
            <a:picLocks noChangeAspect="1"/>
          </p:cNvPicPr>
          <p:nvPr userDrawn="1"/>
        </p:nvPicPr>
        <p:blipFill>
          <a:blip r:embed="rId3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5028020" y="281408"/>
            <a:ext cx="723242" cy="719086"/>
          </a:xfrm>
          <a:prstGeom prst="rect">
            <a:avLst/>
          </a:prstGeom>
          <a:noFill/>
          <a:ln>
            <a:noFill/>
          </a:ln>
        </p:spPr>
      </p:pic>
      <p:pic>
        <p:nvPicPr>
          <p:cNvPr id="90" name="Bild 13" descr="iconmonstr-phone-2-icon.png"/>
          <p:cNvPicPr>
            <a:picLocks noChangeAspect="1"/>
          </p:cNvPicPr>
          <p:nvPr userDrawn="1"/>
        </p:nvPicPr>
        <p:blipFill>
          <a:blip r:embed="rId4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986815" y="3353644"/>
            <a:ext cx="640111" cy="640111"/>
          </a:xfrm>
          <a:prstGeom prst="rect">
            <a:avLst/>
          </a:prstGeom>
          <a:noFill/>
          <a:ln>
            <a:noFill/>
          </a:ln>
        </p:spPr>
      </p:pic>
      <p:pic>
        <p:nvPicPr>
          <p:cNvPr id="91" name="Bild 17" descr="iconmonstr-picture-icon.png"/>
          <p:cNvPicPr>
            <a:picLocks noChangeAspect="1"/>
          </p:cNvPicPr>
          <p:nvPr userDrawn="1"/>
        </p:nvPicPr>
        <p:blipFill>
          <a:blip r:embed="rId4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0879436" y="514749"/>
            <a:ext cx="719086" cy="719086"/>
          </a:xfrm>
          <a:prstGeom prst="rect">
            <a:avLst/>
          </a:prstGeom>
          <a:noFill/>
          <a:ln>
            <a:noFill/>
          </a:ln>
        </p:spPr>
      </p:pic>
      <p:pic>
        <p:nvPicPr>
          <p:cNvPr id="92" name="Bild 29" descr="iconmonstr-qr-code-11-icon.png"/>
          <p:cNvPicPr>
            <a:picLocks noChangeAspect="1"/>
          </p:cNvPicPr>
          <p:nvPr userDrawn="1"/>
        </p:nvPicPr>
        <p:blipFill>
          <a:blip r:embed="rId4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219325" y="3465513"/>
            <a:ext cx="723242" cy="723242"/>
          </a:xfrm>
          <a:prstGeom prst="rect">
            <a:avLst/>
          </a:prstGeom>
          <a:noFill/>
          <a:ln>
            <a:noFill/>
          </a:ln>
        </p:spPr>
      </p:pic>
      <p:pic>
        <p:nvPicPr>
          <p:cNvPr id="93" name="Bild 30" descr="iconmonstr-qr-code-icon.png"/>
          <p:cNvPicPr>
            <a:picLocks noChangeAspect="1"/>
          </p:cNvPicPr>
          <p:nvPr userDrawn="1"/>
        </p:nvPicPr>
        <p:blipFill>
          <a:blip r:embed="rId43"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551164" y="4803678"/>
            <a:ext cx="956010" cy="956010"/>
          </a:xfrm>
          <a:prstGeom prst="rect">
            <a:avLst/>
          </a:prstGeom>
          <a:noFill/>
          <a:ln>
            <a:noFill/>
          </a:ln>
        </p:spPr>
      </p:pic>
      <p:pic>
        <p:nvPicPr>
          <p:cNvPr id="94" name="Bild 32" descr="iconmonstr-quote-15-icon.png"/>
          <p:cNvPicPr>
            <a:picLocks noChangeAspect="1"/>
          </p:cNvPicPr>
          <p:nvPr userDrawn="1"/>
        </p:nvPicPr>
        <p:blipFill>
          <a:blip r:embed="rId4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0879435" y="1800205"/>
            <a:ext cx="719086" cy="719086"/>
          </a:xfrm>
          <a:prstGeom prst="rect">
            <a:avLst/>
          </a:prstGeom>
          <a:noFill/>
          <a:ln>
            <a:noFill/>
          </a:ln>
        </p:spPr>
      </p:pic>
      <p:pic>
        <p:nvPicPr>
          <p:cNvPr id="95" name="Bild 15" descr="iconmonstr-key-3-icon.png"/>
          <p:cNvPicPr>
            <a:picLocks noChangeAspect="1"/>
          </p:cNvPicPr>
          <p:nvPr userDrawn="1"/>
        </p:nvPicPr>
        <p:blipFill>
          <a:blip r:embed="rId4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655023" y="1238531"/>
            <a:ext cx="723242" cy="719086"/>
          </a:xfrm>
          <a:prstGeom prst="rect">
            <a:avLst/>
          </a:prstGeom>
          <a:noFill/>
          <a:ln>
            <a:noFill/>
          </a:ln>
        </p:spPr>
      </p:pic>
      <p:pic>
        <p:nvPicPr>
          <p:cNvPr id="96" name="Bild 21" descr="iconmonstr-light-bulb-18-icon.png"/>
          <p:cNvPicPr>
            <a:picLocks noChangeAspect="1"/>
          </p:cNvPicPr>
          <p:nvPr userDrawn="1"/>
        </p:nvPicPr>
        <p:blipFill>
          <a:blip r:embed="rId4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619911" y="2966950"/>
            <a:ext cx="723242" cy="723242"/>
          </a:xfrm>
          <a:prstGeom prst="rect">
            <a:avLst/>
          </a:prstGeom>
          <a:noFill/>
          <a:ln>
            <a:noFill/>
          </a:ln>
        </p:spPr>
      </p:pic>
      <p:pic>
        <p:nvPicPr>
          <p:cNvPr id="97" name="Bild 22" descr="iconmonstr-line-chart-2-icon.png"/>
          <p:cNvPicPr>
            <a:picLocks noChangeAspect="1"/>
          </p:cNvPicPr>
          <p:nvPr userDrawn="1"/>
        </p:nvPicPr>
        <p:blipFill>
          <a:blip r:embed="rId4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746138" y="1185349"/>
            <a:ext cx="723242" cy="723242"/>
          </a:xfrm>
          <a:prstGeom prst="rect">
            <a:avLst/>
          </a:prstGeom>
          <a:noFill/>
          <a:ln>
            <a:noFill/>
          </a:ln>
        </p:spPr>
      </p:pic>
      <p:pic>
        <p:nvPicPr>
          <p:cNvPr id="98" name="Bild 23" descr="iconmonstr-line-chart-icon.png"/>
          <p:cNvPicPr>
            <a:picLocks noChangeAspect="1"/>
          </p:cNvPicPr>
          <p:nvPr userDrawn="1"/>
        </p:nvPicPr>
        <p:blipFill>
          <a:blip r:embed="rId4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902552" y="1689930"/>
            <a:ext cx="478005" cy="482161"/>
          </a:xfrm>
          <a:prstGeom prst="rect">
            <a:avLst/>
          </a:prstGeom>
          <a:noFill/>
          <a:ln>
            <a:noFill/>
          </a:ln>
        </p:spPr>
      </p:pic>
      <p:pic>
        <p:nvPicPr>
          <p:cNvPr id="99" name="Bild 25" descr="iconmonstr-linkedin-5-icon.png"/>
          <p:cNvPicPr>
            <a:picLocks noChangeAspect="1"/>
          </p:cNvPicPr>
          <p:nvPr userDrawn="1"/>
        </p:nvPicPr>
        <p:blipFill>
          <a:blip r:embed="rId4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65701" y="3464790"/>
            <a:ext cx="864565" cy="860409"/>
          </a:xfrm>
          <a:prstGeom prst="rect">
            <a:avLst/>
          </a:prstGeom>
          <a:noFill/>
          <a:ln>
            <a:noFill/>
          </a:ln>
        </p:spPr>
      </p:pic>
      <p:pic>
        <p:nvPicPr>
          <p:cNvPr id="100" name="Bild 27" descr="iconmonstr-location-2-icon.png"/>
          <p:cNvPicPr>
            <a:picLocks noChangeAspect="1"/>
          </p:cNvPicPr>
          <p:nvPr userDrawn="1"/>
        </p:nvPicPr>
        <p:blipFill>
          <a:blip r:embed="rId5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759139" y="5400579"/>
            <a:ext cx="719086" cy="719086"/>
          </a:xfrm>
          <a:prstGeom prst="rect">
            <a:avLst/>
          </a:prstGeom>
          <a:noFill/>
          <a:ln>
            <a:noFill/>
          </a:ln>
        </p:spPr>
      </p:pic>
      <p:pic>
        <p:nvPicPr>
          <p:cNvPr id="101" name="Bild 11" descr="iconmonstr-error-4-icon.png"/>
          <p:cNvPicPr>
            <a:picLocks noChangeAspect="1"/>
          </p:cNvPicPr>
          <p:nvPr userDrawn="1"/>
        </p:nvPicPr>
        <p:blipFill>
          <a:blip r:embed="rId5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62518" y="1658746"/>
            <a:ext cx="714929" cy="719086"/>
          </a:xfrm>
          <a:prstGeom prst="rect">
            <a:avLst/>
          </a:prstGeom>
          <a:noFill/>
          <a:ln>
            <a:noFill/>
          </a:ln>
        </p:spPr>
      </p:pic>
      <p:pic>
        <p:nvPicPr>
          <p:cNvPr id="102" name="Bild 14" descr="iconmonstr-facebook-2-icon.png"/>
          <p:cNvPicPr>
            <a:picLocks noChangeAspect="1"/>
          </p:cNvPicPr>
          <p:nvPr userDrawn="1"/>
        </p:nvPicPr>
        <p:blipFill>
          <a:blip r:embed="rId5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545638" y="390525"/>
            <a:ext cx="611015" cy="611015"/>
          </a:xfrm>
          <a:prstGeom prst="rect">
            <a:avLst/>
          </a:prstGeom>
          <a:noFill/>
          <a:ln>
            <a:noFill/>
          </a:ln>
        </p:spPr>
      </p:pic>
      <p:pic>
        <p:nvPicPr>
          <p:cNvPr id="103" name="Bild 17" descr="iconmonstr-favorite-3-icon.png"/>
          <p:cNvPicPr>
            <a:picLocks noChangeAspect="1"/>
          </p:cNvPicPr>
          <p:nvPr userDrawn="1"/>
        </p:nvPicPr>
        <p:blipFill>
          <a:blip r:embed="rId53"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886997" y="514746"/>
            <a:ext cx="723242" cy="723242"/>
          </a:xfrm>
          <a:prstGeom prst="rect">
            <a:avLst/>
          </a:prstGeom>
          <a:noFill/>
          <a:ln>
            <a:noFill/>
          </a:ln>
        </p:spPr>
      </p:pic>
      <p:pic>
        <p:nvPicPr>
          <p:cNvPr id="104" name="Bild 18" descr="iconmonstr-filter-3-icon.png"/>
          <p:cNvPicPr>
            <a:picLocks noChangeAspect="1"/>
          </p:cNvPicPr>
          <p:nvPr userDrawn="1"/>
        </p:nvPicPr>
        <p:blipFill>
          <a:blip r:embed="rId54"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950913" y="4368800"/>
            <a:ext cx="719086" cy="719086"/>
          </a:xfrm>
          <a:prstGeom prst="rect">
            <a:avLst/>
          </a:prstGeom>
          <a:noFill/>
          <a:ln>
            <a:noFill/>
          </a:ln>
        </p:spPr>
      </p:pic>
      <p:pic>
        <p:nvPicPr>
          <p:cNvPr id="105" name="Bild 21" descr="iconmonstr-flag-3-icon.png"/>
          <p:cNvPicPr>
            <a:picLocks noChangeAspect="1"/>
          </p:cNvPicPr>
          <p:nvPr userDrawn="1"/>
        </p:nvPicPr>
        <p:blipFill>
          <a:blip r:embed="rId55"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00050" y="2520950"/>
            <a:ext cx="719086" cy="719086"/>
          </a:xfrm>
          <a:prstGeom prst="rect">
            <a:avLst/>
          </a:prstGeom>
          <a:noFill/>
          <a:ln>
            <a:noFill/>
          </a:ln>
        </p:spPr>
      </p:pic>
      <p:pic>
        <p:nvPicPr>
          <p:cNvPr id="106" name="Bild 25" descr="iconmonstr-flip-chart-icon.png"/>
          <p:cNvPicPr>
            <a:picLocks noChangeAspect="1"/>
          </p:cNvPicPr>
          <p:nvPr userDrawn="1"/>
        </p:nvPicPr>
        <p:blipFill>
          <a:blip r:embed="rId56"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00050" y="4445000"/>
            <a:ext cx="719086" cy="719086"/>
          </a:xfrm>
          <a:prstGeom prst="rect">
            <a:avLst/>
          </a:prstGeom>
          <a:noFill/>
          <a:ln>
            <a:noFill/>
          </a:ln>
        </p:spPr>
      </p:pic>
      <p:pic>
        <p:nvPicPr>
          <p:cNvPr id="107" name="Bild 11" descr="iconmonstr-calendar-4-icon.png"/>
          <p:cNvPicPr>
            <a:picLocks noChangeAspect="1"/>
          </p:cNvPicPr>
          <p:nvPr userDrawn="1"/>
        </p:nvPicPr>
        <p:blipFill>
          <a:blip r:embed="rId57"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6945313" y="465138"/>
            <a:ext cx="719086" cy="719086"/>
          </a:xfrm>
          <a:prstGeom prst="rect">
            <a:avLst/>
          </a:prstGeom>
          <a:noFill/>
          <a:ln>
            <a:noFill/>
          </a:ln>
        </p:spPr>
      </p:pic>
      <p:pic>
        <p:nvPicPr>
          <p:cNvPr id="108" name="Bild 25" descr="iconmonstr-cloud-3-icon.png"/>
          <p:cNvPicPr>
            <a:picLocks noChangeAspect="1"/>
          </p:cNvPicPr>
          <p:nvPr userDrawn="1"/>
        </p:nvPicPr>
        <p:blipFill>
          <a:blip r:embed="rId58"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2749308" y="2632919"/>
            <a:ext cx="835469" cy="831313"/>
          </a:xfrm>
          <a:prstGeom prst="rect">
            <a:avLst/>
          </a:prstGeom>
          <a:noFill/>
          <a:ln>
            <a:noFill/>
          </a:ln>
        </p:spPr>
      </p:pic>
      <p:pic>
        <p:nvPicPr>
          <p:cNvPr id="109" name="Bild 30" descr="iconmonstr-bookmark-17-icon.png"/>
          <p:cNvPicPr>
            <a:picLocks noChangeAspect="1"/>
          </p:cNvPicPr>
          <p:nvPr userDrawn="1"/>
        </p:nvPicPr>
        <p:blipFill>
          <a:blip r:embed="rId59"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4666175" y="966149"/>
            <a:ext cx="723242" cy="723242"/>
          </a:xfrm>
          <a:prstGeom prst="rect">
            <a:avLst/>
          </a:prstGeom>
          <a:noFill/>
          <a:ln>
            <a:noFill/>
          </a:ln>
        </p:spPr>
      </p:pic>
      <p:pic>
        <p:nvPicPr>
          <p:cNvPr id="110" name="Bild 47" descr="iconmonstr-apple-os-icon.png"/>
          <p:cNvPicPr>
            <a:picLocks noChangeAspect="1"/>
          </p:cNvPicPr>
          <p:nvPr userDrawn="1"/>
        </p:nvPicPr>
        <p:blipFill>
          <a:blip r:embed="rId60"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118925" y="412148"/>
            <a:ext cx="665050" cy="660894"/>
          </a:xfrm>
          <a:prstGeom prst="rect">
            <a:avLst/>
          </a:prstGeom>
          <a:noFill/>
          <a:ln>
            <a:noFill/>
          </a:ln>
        </p:spPr>
      </p:pic>
      <p:pic>
        <p:nvPicPr>
          <p:cNvPr id="111" name="Bild 20" descr="iconmonstr-pinterest-2-icon.png"/>
          <p:cNvPicPr>
            <a:picLocks noChangeAspect="1"/>
          </p:cNvPicPr>
          <p:nvPr userDrawn="1"/>
        </p:nvPicPr>
        <p:blipFill>
          <a:blip r:embed="rId61"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1174599" y="1963658"/>
            <a:ext cx="1047454" cy="1047454"/>
          </a:xfrm>
          <a:prstGeom prst="rect">
            <a:avLst/>
          </a:prstGeom>
          <a:noFill/>
          <a:ln>
            <a:noFill/>
          </a:ln>
        </p:spPr>
      </p:pic>
      <p:pic>
        <p:nvPicPr>
          <p:cNvPr id="112" name="Bild 12" descr="iconmonstr-info-8-icon.png"/>
          <p:cNvPicPr>
            <a:picLocks noChangeAspect="1"/>
          </p:cNvPicPr>
          <p:nvPr userDrawn="1"/>
        </p:nvPicPr>
        <p:blipFill>
          <a:blip r:embed="rId62" cstate="screen">
            <a:duotone>
              <a:schemeClr val="accent5">
                <a:shade val="45000"/>
                <a:satMod val="135000"/>
              </a:schemeClr>
              <a:prstClr val="white"/>
            </a:duotone>
            <a:lum bright="20000"/>
            <a:extLst>
              <a:ext uri="{28A0092B-C50C-407E-A947-70E740481C1C}">
                <a14:useLocalDpi xmlns:a14="http://schemas.microsoft.com/office/drawing/2010/main"/>
              </a:ext>
            </a:extLst>
          </a:blip>
          <a:stretch>
            <a:fillRect/>
          </a:stretch>
        </p:blipFill>
        <p:spPr bwMode="auto">
          <a:xfrm>
            <a:off x="8434388" y="107950"/>
            <a:ext cx="810530" cy="814687"/>
          </a:xfrm>
          <a:prstGeom prst="rect">
            <a:avLst/>
          </a:prstGeom>
          <a:noFill/>
          <a:ln>
            <a:noFill/>
          </a:ln>
        </p:spPr>
      </p:pic>
    </p:spTree>
    <p:extLst>
      <p:ext uri="{BB962C8B-B14F-4D97-AF65-F5344CB8AC3E}">
        <p14:creationId xmlns:p14="http://schemas.microsoft.com/office/powerpoint/2010/main" val="26686181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dissolve">
                                      <p:cBhvr>
                                        <p:cTn id="7" dur="2000"/>
                                        <p:tgtEl>
                                          <p:spTgt spid="57"/>
                                        </p:tgtEl>
                                      </p:cBhvr>
                                    </p:animEffect>
                                  </p:childTnLst>
                                </p:cTn>
                              </p:par>
                              <p:par>
                                <p:cTn id="8" presetID="9"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dissolve">
                                      <p:cBhvr>
                                        <p:cTn id="10" dur="2000"/>
                                        <p:tgtEl>
                                          <p:spTgt spid="58"/>
                                        </p:tgtEl>
                                      </p:cBhvr>
                                    </p:animEffect>
                                  </p:childTnLst>
                                </p:cTn>
                              </p:par>
                              <p:par>
                                <p:cTn id="11" presetID="9" presetClass="entr" presetSubtype="0" fill="hold"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dissolve">
                                      <p:cBhvr>
                                        <p:cTn id="13" dur="2000"/>
                                        <p:tgtEl>
                                          <p:spTgt spid="88"/>
                                        </p:tgtEl>
                                      </p:cBhvr>
                                    </p:animEffect>
                                  </p:childTnLst>
                                </p:cTn>
                              </p:par>
                              <p:par>
                                <p:cTn id="14" presetID="9" presetClass="entr" presetSubtype="0" fill="hold"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dissolve">
                                      <p:cBhvr>
                                        <p:cTn id="16" dur="2000"/>
                                        <p:tgtEl>
                                          <p:spTgt spid="33"/>
                                        </p:tgtEl>
                                      </p:cBhvr>
                                    </p:animEffect>
                                  </p:childTnLst>
                                </p:cTn>
                              </p:par>
                              <p:par>
                                <p:cTn id="17" presetID="9" presetClass="entr" presetSubtype="0" fill="hold" nodeType="withEffect">
                                  <p:stCondLst>
                                    <p:cond delay="0"/>
                                  </p:stCondLst>
                                  <p:childTnLst>
                                    <p:set>
                                      <p:cBhvr>
                                        <p:cTn id="18" dur="1" fill="hold">
                                          <p:stCondLst>
                                            <p:cond delay="0"/>
                                          </p:stCondLst>
                                        </p:cTn>
                                        <p:tgtEl>
                                          <p:spTgt spid="112"/>
                                        </p:tgtEl>
                                        <p:attrNameLst>
                                          <p:attrName>style.visibility</p:attrName>
                                        </p:attrNameLst>
                                      </p:cBhvr>
                                      <p:to>
                                        <p:strVal val="visible"/>
                                      </p:to>
                                    </p:set>
                                    <p:animEffect transition="in" filter="dissolve">
                                      <p:cBhvr>
                                        <p:cTn id="19" dur="2000"/>
                                        <p:tgtEl>
                                          <p:spTgt spid="112"/>
                                        </p:tgtEl>
                                      </p:cBhvr>
                                    </p:animEffect>
                                  </p:childTnLst>
                                </p:cTn>
                              </p:par>
                              <p:par>
                                <p:cTn id="20" presetID="9" presetClass="entr" presetSubtype="0" fill="hold"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dissolve">
                                      <p:cBhvr>
                                        <p:cTn id="22" dur="2000"/>
                                        <p:tgtEl>
                                          <p:spTgt spid="98"/>
                                        </p:tgtEl>
                                      </p:cBhvr>
                                    </p:animEffect>
                                  </p:childTnLst>
                                </p:cTn>
                              </p:par>
                              <p:par>
                                <p:cTn id="23" presetID="9"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dissolve">
                                      <p:cBhvr>
                                        <p:cTn id="25" dur="2000"/>
                                        <p:tgtEl>
                                          <p:spTgt spid="63"/>
                                        </p:tgtEl>
                                      </p:cBhvr>
                                    </p:animEffect>
                                  </p:childTnLst>
                                </p:cTn>
                              </p:par>
                              <p:par>
                                <p:cTn id="26" presetID="9" presetClass="entr" presetSubtype="0" fill="hold" nodeType="withEffect">
                                  <p:stCondLst>
                                    <p:cond delay="0"/>
                                  </p:stCondLst>
                                  <p:childTnLst>
                                    <p:set>
                                      <p:cBhvr>
                                        <p:cTn id="27" dur="1" fill="hold">
                                          <p:stCondLst>
                                            <p:cond delay="0"/>
                                          </p:stCondLst>
                                        </p:cTn>
                                        <p:tgtEl>
                                          <p:spTgt spid="101"/>
                                        </p:tgtEl>
                                        <p:attrNameLst>
                                          <p:attrName>style.visibility</p:attrName>
                                        </p:attrNameLst>
                                      </p:cBhvr>
                                      <p:to>
                                        <p:strVal val="visible"/>
                                      </p:to>
                                    </p:set>
                                    <p:animEffect transition="in" filter="dissolve">
                                      <p:cBhvr>
                                        <p:cTn id="28" dur="2000"/>
                                        <p:tgtEl>
                                          <p:spTgt spid="101"/>
                                        </p:tgtEl>
                                      </p:cBhvr>
                                    </p:animEffect>
                                  </p:childTnLst>
                                </p:cTn>
                              </p:par>
                              <p:par>
                                <p:cTn id="29" presetID="9" presetClass="entr" presetSubtype="0" fill="hold" nodeType="withEffect">
                                  <p:stCondLst>
                                    <p:cond delay="0"/>
                                  </p:stCondLst>
                                  <p:childTnLst>
                                    <p:set>
                                      <p:cBhvr>
                                        <p:cTn id="30" dur="1" fill="hold">
                                          <p:stCondLst>
                                            <p:cond delay="0"/>
                                          </p:stCondLst>
                                        </p:cTn>
                                        <p:tgtEl>
                                          <p:spTgt spid="99"/>
                                        </p:tgtEl>
                                        <p:attrNameLst>
                                          <p:attrName>style.visibility</p:attrName>
                                        </p:attrNameLst>
                                      </p:cBhvr>
                                      <p:to>
                                        <p:strVal val="visible"/>
                                      </p:to>
                                    </p:set>
                                    <p:animEffect transition="in" filter="dissolve">
                                      <p:cBhvr>
                                        <p:cTn id="31" dur="2000"/>
                                        <p:tgtEl>
                                          <p:spTgt spid="99"/>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87"/>
                                        </p:tgtEl>
                                        <p:attrNameLst>
                                          <p:attrName>style.visibility</p:attrName>
                                        </p:attrNameLst>
                                      </p:cBhvr>
                                      <p:to>
                                        <p:strVal val="visible"/>
                                      </p:to>
                                    </p:set>
                                    <p:animEffect transition="in" filter="dissolve">
                                      <p:cBhvr>
                                        <p:cTn id="36" dur="2000"/>
                                        <p:tgtEl>
                                          <p:spTgt spid="87"/>
                                        </p:tgtEl>
                                      </p:cBhvr>
                                    </p:animEffect>
                                  </p:childTnLst>
                                </p:cTn>
                              </p:par>
                              <p:par>
                                <p:cTn id="37" presetID="9" presetClass="entr" presetSubtype="0" fill="hold" nodeType="withEffect">
                                  <p:stCondLst>
                                    <p:cond delay="0"/>
                                  </p:stCondLst>
                                  <p:childTnLst>
                                    <p:set>
                                      <p:cBhvr>
                                        <p:cTn id="38" dur="1" fill="hold">
                                          <p:stCondLst>
                                            <p:cond delay="0"/>
                                          </p:stCondLst>
                                        </p:cTn>
                                        <p:tgtEl>
                                          <p:spTgt spid="81"/>
                                        </p:tgtEl>
                                        <p:attrNameLst>
                                          <p:attrName>style.visibility</p:attrName>
                                        </p:attrNameLst>
                                      </p:cBhvr>
                                      <p:to>
                                        <p:strVal val="visible"/>
                                      </p:to>
                                    </p:set>
                                    <p:animEffect transition="in" filter="dissolve">
                                      <p:cBhvr>
                                        <p:cTn id="39" dur="2000"/>
                                        <p:tgtEl>
                                          <p:spTgt spid="81"/>
                                        </p:tgtEl>
                                      </p:cBhvr>
                                    </p:animEffect>
                                  </p:childTnLst>
                                </p:cTn>
                              </p:par>
                              <p:par>
                                <p:cTn id="40" presetID="9" presetClass="entr" presetSubtype="0" fill="hold"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dissolve">
                                      <p:cBhvr>
                                        <p:cTn id="42" dur="2000"/>
                                        <p:tgtEl>
                                          <p:spTgt spid="67"/>
                                        </p:tgtEl>
                                      </p:cBhvr>
                                    </p:animEffect>
                                  </p:childTnLst>
                                </p:cTn>
                              </p:par>
                              <p:par>
                                <p:cTn id="43" presetID="9"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dissolve">
                                      <p:cBhvr>
                                        <p:cTn id="45" dur="2000"/>
                                        <p:tgtEl>
                                          <p:spTgt spid="97"/>
                                        </p:tgtEl>
                                      </p:cBhvr>
                                    </p:animEffect>
                                  </p:childTnLst>
                                </p:cTn>
                              </p:par>
                              <p:par>
                                <p:cTn id="46" presetID="9" presetClass="entr" presetSubtype="0" fill="hold" nodeType="withEffect">
                                  <p:stCondLst>
                                    <p:cond delay="0"/>
                                  </p:stCondLst>
                                  <p:childTnLst>
                                    <p:set>
                                      <p:cBhvr>
                                        <p:cTn id="47" dur="1" fill="hold">
                                          <p:stCondLst>
                                            <p:cond delay="0"/>
                                          </p:stCondLst>
                                        </p:cTn>
                                        <p:tgtEl>
                                          <p:spTgt spid="103"/>
                                        </p:tgtEl>
                                        <p:attrNameLst>
                                          <p:attrName>style.visibility</p:attrName>
                                        </p:attrNameLst>
                                      </p:cBhvr>
                                      <p:to>
                                        <p:strVal val="visible"/>
                                      </p:to>
                                    </p:set>
                                    <p:animEffect transition="in" filter="dissolve">
                                      <p:cBhvr>
                                        <p:cTn id="48" dur="2000"/>
                                        <p:tgtEl>
                                          <p:spTgt spid="103"/>
                                        </p:tgtEl>
                                      </p:cBhvr>
                                    </p:animEffect>
                                  </p:childTnLst>
                                </p:cTn>
                              </p:par>
                              <p:par>
                                <p:cTn id="49" presetID="9" presetClass="entr" presetSubtype="0" fill="hold" nodeType="withEffect">
                                  <p:stCondLst>
                                    <p:cond delay="0"/>
                                  </p:stCondLst>
                                  <p:childTnLst>
                                    <p:set>
                                      <p:cBhvr>
                                        <p:cTn id="50" dur="1" fill="hold">
                                          <p:stCondLst>
                                            <p:cond delay="0"/>
                                          </p:stCondLst>
                                        </p:cTn>
                                        <p:tgtEl>
                                          <p:spTgt spid="71"/>
                                        </p:tgtEl>
                                        <p:attrNameLst>
                                          <p:attrName>style.visibility</p:attrName>
                                        </p:attrNameLst>
                                      </p:cBhvr>
                                      <p:to>
                                        <p:strVal val="visible"/>
                                      </p:to>
                                    </p:set>
                                    <p:animEffect transition="in" filter="dissolve">
                                      <p:cBhvr>
                                        <p:cTn id="51" dur="2000"/>
                                        <p:tgtEl>
                                          <p:spTgt spid="71"/>
                                        </p:tgtEl>
                                      </p:cBhvr>
                                    </p:animEffect>
                                  </p:childTnLst>
                                </p:cTn>
                              </p:par>
                              <p:par>
                                <p:cTn id="52" presetID="9" presetClass="entr" presetSubtype="0" fill="hold" nodeType="withEffect">
                                  <p:stCondLst>
                                    <p:cond delay="0"/>
                                  </p:stCondLst>
                                  <p:childTnLst>
                                    <p:set>
                                      <p:cBhvr>
                                        <p:cTn id="53" dur="1" fill="hold">
                                          <p:stCondLst>
                                            <p:cond delay="0"/>
                                          </p:stCondLst>
                                        </p:cTn>
                                        <p:tgtEl>
                                          <p:spTgt spid="86"/>
                                        </p:tgtEl>
                                        <p:attrNameLst>
                                          <p:attrName>style.visibility</p:attrName>
                                        </p:attrNameLst>
                                      </p:cBhvr>
                                      <p:to>
                                        <p:strVal val="visible"/>
                                      </p:to>
                                    </p:set>
                                    <p:animEffect transition="in" filter="dissolve">
                                      <p:cBhvr>
                                        <p:cTn id="54" dur="2000"/>
                                        <p:tgtEl>
                                          <p:spTgt spid="86"/>
                                        </p:tgtEl>
                                      </p:cBhvr>
                                    </p:animEffect>
                                  </p:childTnLst>
                                </p:cTn>
                              </p:par>
                              <p:par>
                                <p:cTn id="55" presetID="9" presetClass="entr" presetSubtype="0" fill="hold" nodeType="withEffect">
                                  <p:stCondLst>
                                    <p:cond delay="0"/>
                                  </p:stCondLst>
                                  <p:childTnLst>
                                    <p:set>
                                      <p:cBhvr>
                                        <p:cTn id="56" dur="1" fill="hold">
                                          <p:stCondLst>
                                            <p:cond delay="0"/>
                                          </p:stCondLst>
                                        </p:cTn>
                                        <p:tgtEl>
                                          <p:spTgt spid="89"/>
                                        </p:tgtEl>
                                        <p:attrNameLst>
                                          <p:attrName>style.visibility</p:attrName>
                                        </p:attrNameLst>
                                      </p:cBhvr>
                                      <p:to>
                                        <p:strVal val="visible"/>
                                      </p:to>
                                    </p:set>
                                    <p:animEffect transition="in" filter="dissolve">
                                      <p:cBhvr>
                                        <p:cTn id="57" dur="2000"/>
                                        <p:tgtEl>
                                          <p:spTgt spid="89"/>
                                        </p:tgtEl>
                                      </p:cBhvr>
                                    </p:animEffect>
                                  </p:childTnLst>
                                </p:cTn>
                              </p:par>
                              <p:par>
                                <p:cTn id="58" presetID="9" presetClass="entr" presetSubtype="0" fill="hold" nodeType="with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dissolve">
                                      <p:cBhvr>
                                        <p:cTn id="60" dur="2000"/>
                                        <p:tgtEl>
                                          <p:spTgt spid="32"/>
                                        </p:tgtEl>
                                      </p:cBhvr>
                                    </p:animEffect>
                                  </p:childTnLst>
                                </p:cTn>
                              </p:par>
                              <p:par>
                                <p:cTn id="61" presetID="9" presetClass="entr" presetSubtype="0" fill="hold" nodeType="withEffect">
                                  <p:stCondLst>
                                    <p:cond delay="0"/>
                                  </p:stCondLst>
                                  <p:childTnLst>
                                    <p:set>
                                      <p:cBhvr>
                                        <p:cTn id="62" dur="1" fill="hold">
                                          <p:stCondLst>
                                            <p:cond delay="0"/>
                                          </p:stCondLst>
                                        </p:cTn>
                                        <p:tgtEl>
                                          <p:spTgt spid="105"/>
                                        </p:tgtEl>
                                        <p:attrNameLst>
                                          <p:attrName>style.visibility</p:attrName>
                                        </p:attrNameLst>
                                      </p:cBhvr>
                                      <p:to>
                                        <p:strVal val="visible"/>
                                      </p:to>
                                    </p:set>
                                    <p:animEffect transition="in" filter="dissolve">
                                      <p:cBhvr>
                                        <p:cTn id="63" dur="2000"/>
                                        <p:tgtEl>
                                          <p:spTgt spid="105"/>
                                        </p:tgtEl>
                                      </p:cBhvr>
                                    </p:animEffect>
                                  </p:childTnLst>
                                </p:cTn>
                              </p:par>
                              <p:par>
                                <p:cTn id="64" presetID="9" presetClass="entr" presetSubtype="0" fill="hold" nodeType="withEffect">
                                  <p:stCondLst>
                                    <p:cond delay="0"/>
                                  </p:stCondLst>
                                  <p:childTnLst>
                                    <p:set>
                                      <p:cBhvr>
                                        <p:cTn id="65" dur="1" fill="hold">
                                          <p:stCondLst>
                                            <p:cond delay="0"/>
                                          </p:stCondLst>
                                        </p:cTn>
                                        <p:tgtEl>
                                          <p:spTgt spid="94"/>
                                        </p:tgtEl>
                                        <p:attrNameLst>
                                          <p:attrName>style.visibility</p:attrName>
                                        </p:attrNameLst>
                                      </p:cBhvr>
                                      <p:to>
                                        <p:strVal val="visible"/>
                                      </p:to>
                                    </p:set>
                                    <p:animEffect transition="in" filter="dissolve">
                                      <p:cBhvr>
                                        <p:cTn id="66" dur="2000"/>
                                        <p:tgtEl>
                                          <p:spTgt spid="94"/>
                                        </p:tgtEl>
                                      </p:cBhvr>
                                    </p:animEffect>
                                  </p:childTnLst>
                                </p:cTn>
                              </p:par>
                              <p:par>
                                <p:cTn id="67" presetID="9" presetClass="entr" presetSubtype="0" fill="hold" nodeType="withEffect">
                                  <p:stCondLst>
                                    <p:cond delay="0"/>
                                  </p:stCondLst>
                                  <p:childTnLst>
                                    <p:set>
                                      <p:cBhvr>
                                        <p:cTn id="68" dur="1" fill="hold">
                                          <p:stCondLst>
                                            <p:cond delay="0"/>
                                          </p:stCondLst>
                                        </p:cTn>
                                        <p:tgtEl>
                                          <p:spTgt spid="60"/>
                                        </p:tgtEl>
                                        <p:attrNameLst>
                                          <p:attrName>style.visibility</p:attrName>
                                        </p:attrNameLst>
                                      </p:cBhvr>
                                      <p:to>
                                        <p:strVal val="visible"/>
                                      </p:to>
                                    </p:set>
                                    <p:animEffect transition="in" filter="dissolve">
                                      <p:cBhvr>
                                        <p:cTn id="69" dur="2000"/>
                                        <p:tgtEl>
                                          <p:spTgt spid="60"/>
                                        </p:tgtEl>
                                      </p:cBhvr>
                                    </p:animEffect>
                                  </p:childTnLst>
                                </p:cTn>
                              </p:par>
                              <p:par>
                                <p:cTn id="70" presetID="9" presetClass="entr" presetSubtype="0" fill="hold" nodeType="withEffect">
                                  <p:stCondLst>
                                    <p:cond delay="0"/>
                                  </p:stCondLst>
                                  <p:childTnLst>
                                    <p:set>
                                      <p:cBhvr>
                                        <p:cTn id="71" dur="1" fill="hold">
                                          <p:stCondLst>
                                            <p:cond delay="0"/>
                                          </p:stCondLst>
                                        </p:cTn>
                                        <p:tgtEl>
                                          <p:spTgt spid="83"/>
                                        </p:tgtEl>
                                        <p:attrNameLst>
                                          <p:attrName>style.visibility</p:attrName>
                                        </p:attrNameLst>
                                      </p:cBhvr>
                                      <p:to>
                                        <p:strVal val="visible"/>
                                      </p:to>
                                    </p:set>
                                    <p:animEffect transition="in" filter="dissolve">
                                      <p:cBhvr>
                                        <p:cTn id="72" dur="2000"/>
                                        <p:tgtEl>
                                          <p:spTgt spid="83"/>
                                        </p:tgtEl>
                                      </p:cBhvr>
                                    </p:animEffect>
                                  </p:childTnLst>
                                </p:cTn>
                              </p:par>
                              <p:par>
                                <p:cTn id="73" presetID="9" presetClass="entr" presetSubtype="0" fill="hold" nodeType="withEffect">
                                  <p:stCondLst>
                                    <p:cond delay="0"/>
                                  </p:stCondLst>
                                  <p:childTnLst>
                                    <p:set>
                                      <p:cBhvr>
                                        <p:cTn id="74" dur="1" fill="hold">
                                          <p:stCondLst>
                                            <p:cond delay="0"/>
                                          </p:stCondLst>
                                        </p:cTn>
                                        <p:tgtEl>
                                          <p:spTgt spid="91"/>
                                        </p:tgtEl>
                                        <p:attrNameLst>
                                          <p:attrName>style.visibility</p:attrName>
                                        </p:attrNameLst>
                                      </p:cBhvr>
                                      <p:to>
                                        <p:strVal val="visible"/>
                                      </p:to>
                                    </p:set>
                                    <p:animEffect transition="in" filter="dissolve">
                                      <p:cBhvr>
                                        <p:cTn id="75" dur="2000"/>
                                        <p:tgtEl>
                                          <p:spTgt spid="91"/>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nodeType="clickEffect">
                                  <p:stCondLst>
                                    <p:cond delay="0"/>
                                  </p:stCondLst>
                                  <p:childTnLst>
                                    <p:set>
                                      <p:cBhvr>
                                        <p:cTn id="79" dur="1" fill="hold">
                                          <p:stCondLst>
                                            <p:cond delay="0"/>
                                          </p:stCondLst>
                                        </p:cTn>
                                        <p:tgtEl>
                                          <p:spTgt spid="65"/>
                                        </p:tgtEl>
                                        <p:attrNameLst>
                                          <p:attrName>style.visibility</p:attrName>
                                        </p:attrNameLst>
                                      </p:cBhvr>
                                      <p:to>
                                        <p:strVal val="visible"/>
                                      </p:to>
                                    </p:set>
                                    <p:animEffect transition="in" filter="dissolve">
                                      <p:cBhvr>
                                        <p:cTn id="80" dur="2000"/>
                                        <p:tgtEl>
                                          <p:spTgt spid="65"/>
                                        </p:tgtEl>
                                      </p:cBhvr>
                                    </p:animEffect>
                                  </p:childTnLst>
                                </p:cTn>
                              </p:par>
                              <p:par>
                                <p:cTn id="81" presetID="9" presetClass="entr" presetSubtype="0" fill="hold" nodeType="withEffect">
                                  <p:stCondLst>
                                    <p:cond delay="0"/>
                                  </p:stCondLst>
                                  <p:childTnLst>
                                    <p:set>
                                      <p:cBhvr>
                                        <p:cTn id="82" dur="1" fill="hold">
                                          <p:stCondLst>
                                            <p:cond delay="0"/>
                                          </p:stCondLst>
                                        </p:cTn>
                                        <p:tgtEl>
                                          <p:spTgt spid="100"/>
                                        </p:tgtEl>
                                        <p:attrNameLst>
                                          <p:attrName>style.visibility</p:attrName>
                                        </p:attrNameLst>
                                      </p:cBhvr>
                                      <p:to>
                                        <p:strVal val="visible"/>
                                      </p:to>
                                    </p:set>
                                    <p:animEffect transition="in" filter="dissolve">
                                      <p:cBhvr>
                                        <p:cTn id="83" dur="2000"/>
                                        <p:tgtEl>
                                          <p:spTgt spid="100"/>
                                        </p:tgtEl>
                                      </p:cBhvr>
                                    </p:animEffect>
                                  </p:childTnLst>
                                </p:cTn>
                              </p:par>
                              <p:par>
                                <p:cTn id="84" presetID="9" presetClass="entr" presetSubtype="0" fill="hold" nodeType="with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dissolve">
                                      <p:cBhvr>
                                        <p:cTn id="86" dur="2000"/>
                                        <p:tgtEl>
                                          <p:spTgt spid="59"/>
                                        </p:tgtEl>
                                      </p:cBhvr>
                                    </p:animEffect>
                                  </p:childTnLst>
                                </p:cTn>
                              </p:par>
                              <p:par>
                                <p:cTn id="87" presetID="9" presetClass="entr" presetSubtype="0" fill="hold" nodeType="withEffect">
                                  <p:stCondLst>
                                    <p:cond delay="0"/>
                                  </p:stCondLst>
                                  <p:childTnLst>
                                    <p:set>
                                      <p:cBhvr>
                                        <p:cTn id="88" dur="1" fill="hold">
                                          <p:stCondLst>
                                            <p:cond delay="0"/>
                                          </p:stCondLst>
                                        </p:cTn>
                                        <p:tgtEl>
                                          <p:spTgt spid="80"/>
                                        </p:tgtEl>
                                        <p:attrNameLst>
                                          <p:attrName>style.visibility</p:attrName>
                                        </p:attrNameLst>
                                      </p:cBhvr>
                                      <p:to>
                                        <p:strVal val="visible"/>
                                      </p:to>
                                    </p:set>
                                    <p:animEffect transition="in" filter="dissolve">
                                      <p:cBhvr>
                                        <p:cTn id="89" dur="2000"/>
                                        <p:tgtEl>
                                          <p:spTgt spid="80"/>
                                        </p:tgtEl>
                                      </p:cBhvr>
                                    </p:animEffect>
                                  </p:childTnLst>
                                </p:cTn>
                              </p:par>
                              <p:par>
                                <p:cTn id="90" presetID="9" presetClass="entr" presetSubtype="0" fill="hold" nodeType="withEffect">
                                  <p:stCondLst>
                                    <p:cond delay="0"/>
                                  </p:stCondLst>
                                  <p:childTnLst>
                                    <p:set>
                                      <p:cBhvr>
                                        <p:cTn id="91" dur="1" fill="hold">
                                          <p:stCondLst>
                                            <p:cond delay="0"/>
                                          </p:stCondLst>
                                        </p:cTn>
                                        <p:tgtEl>
                                          <p:spTgt spid="111"/>
                                        </p:tgtEl>
                                        <p:attrNameLst>
                                          <p:attrName>style.visibility</p:attrName>
                                        </p:attrNameLst>
                                      </p:cBhvr>
                                      <p:to>
                                        <p:strVal val="visible"/>
                                      </p:to>
                                    </p:set>
                                    <p:animEffect transition="in" filter="dissolve">
                                      <p:cBhvr>
                                        <p:cTn id="92" dur="2000"/>
                                        <p:tgtEl>
                                          <p:spTgt spid="111"/>
                                        </p:tgtEl>
                                      </p:cBhvr>
                                    </p:animEffect>
                                  </p:childTnLst>
                                </p:cTn>
                              </p:par>
                              <p:par>
                                <p:cTn id="93" presetID="9" presetClass="entr" presetSubtype="0" fill="hold" nodeType="with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dissolve">
                                      <p:cBhvr>
                                        <p:cTn id="95" dur="2000"/>
                                        <p:tgtEl>
                                          <p:spTgt spid="79"/>
                                        </p:tgtEl>
                                      </p:cBhvr>
                                    </p:animEffect>
                                  </p:childTnLst>
                                </p:cTn>
                              </p:par>
                              <p:par>
                                <p:cTn id="96" presetID="9" presetClass="entr" presetSubtype="0" fill="hold" nodeType="withEffect">
                                  <p:stCondLst>
                                    <p:cond delay="0"/>
                                  </p:stCondLst>
                                  <p:childTnLst>
                                    <p:set>
                                      <p:cBhvr>
                                        <p:cTn id="97" dur="1" fill="hold">
                                          <p:stCondLst>
                                            <p:cond delay="0"/>
                                          </p:stCondLst>
                                        </p:cTn>
                                        <p:tgtEl>
                                          <p:spTgt spid="110"/>
                                        </p:tgtEl>
                                        <p:attrNameLst>
                                          <p:attrName>style.visibility</p:attrName>
                                        </p:attrNameLst>
                                      </p:cBhvr>
                                      <p:to>
                                        <p:strVal val="visible"/>
                                      </p:to>
                                    </p:set>
                                    <p:animEffect transition="in" filter="dissolve">
                                      <p:cBhvr>
                                        <p:cTn id="98" dur="2000"/>
                                        <p:tgtEl>
                                          <p:spTgt spid="110"/>
                                        </p:tgtEl>
                                      </p:cBhvr>
                                    </p:animEffect>
                                  </p:childTnLst>
                                </p:cTn>
                              </p:par>
                              <p:par>
                                <p:cTn id="99" presetID="9" presetClass="entr" presetSubtype="0" fill="hold" nodeType="withEffect">
                                  <p:stCondLst>
                                    <p:cond delay="0"/>
                                  </p:stCondLst>
                                  <p:childTnLst>
                                    <p:set>
                                      <p:cBhvr>
                                        <p:cTn id="100" dur="1" fill="hold">
                                          <p:stCondLst>
                                            <p:cond delay="0"/>
                                          </p:stCondLst>
                                        </p:cTn>
                                        <p:tgtEl>
                                          <p:spTgt spid="69"/>
                                        </p:tgtEl>
                                        <p:attrNameLst>
                                          <p:attrName>style.visibility</p:attrName>
                                        </p:attrNameLst>
                                      </p:cBhvr>
                                      <p:to>
                                        <p:strVal val="visible"/>
                                      </p:to>
                                    </p:set>
                                    <p:animEffect transition="in" filter="dissolve">
                                      <p:cBhvr>
                                        <p:cTn id="101" dur="2000"/>
                                        <p:tgtEl>
                                          <p:spTgt spid="69"/>
                                        </p:tgtEl>
                                      </p:cBhvr>
                                    </p:animEffect>
                                  </p:childTnLst>
                                </p:cTn>
                              </p:par>
                              <p:par>
                                <p:cTn id="102" presetID="9" presetClass="entr" presetSubtype="0" fill="hold" nodeType="withEffect">
                                  <p:stCondLst>
                                    <p:cond delay="0"/>
                                  </p:stCondLst>
                                  <p:childTnLst>
                                    <p:set>
                                      <p:cBhvr>
                                        <p:cTn id="103" dur="1" fill="hold">
                                          <p:stCondLst>
                                            <p:cond delay="0"/>
                                          </p:stCondLst>
                                        </p:cTn>
                                        <p:tgtEl>
                                          <p:spTgt spid="96"/>
                                        </p:tgtEl>
                                        <p:attrNameLst>
                                          <p:attrName>style.visibility</p:attrName>
                                        </p:attrNameLst>
                                      </p:cBhvr>
                                      <p:to>
                                        <p:strVal val="visible"/>
                                      </p:to>
                                    </p:set>
                                    <p:animEffect transition="in" filter="dissolve">
                                      <p:cBhvr>
                                        <p:cTn id="104" dur="2000"/>
                                        <p:tgtEl>
                                          <p:spTgt spid="96"/>
                                        </p:tgtEl>
                                      </p:cBhvr>
                                    </p:animEffect>
                                  </p:childTnLst>
                                </p:cTn>
                              </p:par>
                              <p:par>
                                <p:cTn id="105" presetID="9" presetClass="entr" presetSubtype="0" fill="hold" nodeType="withEffect">
                                  <p:stCondLst>
                                    <p:cond delay="0"/>
                                  </p:stCondLst>
                                  <p:childTnLst>
                                    <p:set>
                                      <p:cBhvr>
                                        <p:cTn id="106" dur="1" fill="hold">
                                          <p:stCondLst>
                                            <p:cond delay="0"/>
                                          </p:stCondLst>
                                        </p:cTn>
                                        <p:tgtEl>
                                          <p:spTgt spid="106"/>
                                        </p:tgtEl>
                                        <p:attrNameLst>
                                          <p:attrName>style.visibility</p:attrName>
                                        </p:attrNameLst>
                                      </p:cBhvr>
                                      <p:to>
                                        <p:strVal val="visible"/>
                                      </p:to>
                                    </p:set>
                                    <p:animEffect transition="in" filter="dissolve">
                                      <p:cBhvr>
                                        <p:cTn id="107" dur="2000"/>
                                        <p:tgtEl>
                                          <p:spTgt spid="106"/>
                                        </p:tgtEl>
                                      </p:cBhvr>
                                    </p:animEffect>
                                  </p:childTnLst>
                                </p:cTn>
                              </p:par>
                              <p:par>
                                <p:cTn id="108" presetID="9" presetClass="entr" presetSubtype="0" fill="hold" nodeType="withEffect">
                                  <p:stCondLst>
                                    <p:cond delay="0"/>
                                  </p:stCondLst>
                                  <p:childTnLst>
                                    <p:set>
                                      <p:cBhvr>
                                        <p:cTn id="109" dur="1" fill="hold">
                                          <p:stCondLst>
                                            <p:cond delay="0"/>
                                          </p:stCondLst>
                                        </p:cTn>
                                        <p:tgtEl>
                                          <p:spTgt spid="109"/>
                                        </p:tgtEl>
                                        <p:attrNameLst>
                                          <p:attrName>style.visibility</p:attrName>
                                        </p:attrNameLst>
                                      </p:cBhvr>
                                      <p:to>
                                        <p:strVal val="visible"/>
                                      </p:to>
                                    </p:set>
                                    <p:animEffect transition="in" filter="dissolve">
                                      <p:cBhvr>
                                        <p:cTn id="110" dur="2000"/>
                                        <p:tgtEl>
                                          <p:spTgt spid="109"/>
                                        </p:tgtEl>
                                      </p:cBhvr>
                                    </p:animEffect>
                                  </p:childTnLst>
                                </p:cTn>
                              </p:par>
                              <p:par>
                                <p:cTn id="111" presetID="9" presetClass="entr" presetSubtype="0" fill="hold" nodeType="with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dissolve">
                                      <p:cBhvr>
                                        <p:cTn id="113" dur="2000"/>
                                        <p:tgtEl>
                                          <p:spTgt spid="75"/>
                                        </p:tgtEl>
                                      </p:cBhvr>
                                    </p:animEffect>
                                  </p:childTnLst>
                                </p:cTn>
                              </p:par>
                              <p:par>
                                <p:cTn id="114" presetID="9" presetClass="entr" presetSubtype="0" fill="hold" nodeType="withEffect">
                                  <p:stCondLst>
                                    <p:cond delay="0"/>
                                  </p:stCondLst>
                                  <p:childTnLst>
                                    <p:set>
                                      <p:cBhvr>
                                        <p:cTn id="115" dur="1" fill="hold">
                                          <p:stCondLst>
                                            <p:cond delay="0"/>
                                          </p:stCondLst>
                                        </p:cTn>
                                        <p:tgtEl>
                                          <p:spTgt spid="92"/>
                                        </p:tgtEl>
                                        <p:attrNameLst>
                                          <p:attrName>style.visibility</p:attrName>
                                        </p:attrNameLst>
                                      </p:cBhvr>
                                      <p:to>
                                        <p:strVal val="visible"/>
                                      </p:to>
                                    </p:set>
                                    <p:animEffect transition="in" filter="dissolve">
                                      <p:cBhvr>
                                        <p:cTn id="116" dur="2000"/>
                                        <p:tgtEl>
                                          <p:spTgt spid="92"/>
                                        </p:tgtEl>
                                      </p:cBhvr>
                                    </p:animEffect>
                                  </p:childTnLst>
                                </p:cTn>
                              </p:par>
                              <p:par>
                                <p:cTn id="117" presetID="9" presetClass="entr" presetSubtype="0" fill="hold" nodeType="withEffect">
                                  <p:stCondLst>
                                    <p:cond delay="0"/>
                                  </p:stCondLst>
                                  <p:childTnLst>
                                    <p:set>
                                      <p:cBhvr>
                                        <p:cTn id="118" dur="1" fill="hold">
                                          <p:stCondLst>
                                            <p:cond delay="0"/>
                                          </p:stCondLst>
                                        </p:cTn>
                                        <p:tgtEl>
                                          <p:spTgt spid="78"/>
                                        </p:tgtEl>
                                        <p:attrNameLst>
                                          <p:attrName>style.visibility</p:attrName>
                                        </p:attrNameLst>
                                      </p:cBhvr>
                                      <p:to>
                                        <p:strVal val="visible"/>
                                      </p:to>
                                    </p:set>
                                    <p:animEffect transition="in" filter="dissolve">
                                      <p:cBhvr>
                                        <p:cTn id="119" dur="2000"/>
                                        <p:tgtEl>
                                          <p:spTgt spid="78"/>
                                        </p:tgtEl>
                                      </p:cBhvr>
                                    </p:animEffect>
                                  </p:childTnLst>
                                </p:cTn>
                              </p:par>
                              <p:par>
                                <p:cTn id="120" presetID="9" presetClass="entr" presetSubtype="0" fill="hold" nodeType="withEffect">
                                  <p:stCondLst>
                                    <p:cond delay="0"/>
                                  </p:stCondLst>
                                  <p:childTnLst>
                                    <p:set>
                                      <p:cBhvr>
                                        <p:cTn id="121" dur="1" fill="hold">
                                          <p:stCondLst>
                                            <p:cond delay="0"/>
                                          </p:stCondLst>
                                        </p:cTn>
                                        <p:tgtEl>
                                          <p:spTgt spid="104"/>
                                        </p:tgtEl>
                                        <p:attrNameLst>
                                          <p:attrName>style.visibility</p:attrName>
                                        </p:attrNameLst>
                                      </p:cBhvr>
                                      <p:to>
                                        <p:strVal val="visible"/>
                                      </p:to>
                                    </p:set>
                                    <p:animEffect transition="in" filter="dissolve">
                                      <p:cBhvr>
                                        <p:cTn id="122" dur="2000"/>
                                        <p:tgtEl>
                                          <p:spTgt spid="104"/>
                                        </p:tgtEl>
                                      </p:cBhvr>
                                    </p:animEffect>
                                  </p:childTnLst>
                                </p:cTn>
                              </p:par>
                              <p:par>
                                <p:cTn id="123" presetID="9" presetClass="entr" presetSubtype="0" fill="hold" nodeType="withEffect">
                                  <p:stCondLst>
                                    <p:cond delay="0"/>
                                  </p:stCondLst>
                                  <p:childTnLst>
                                    <p:set>
                                      <p:cBhvr>
                                        <p:cTn id="124" dur="1" fill="hold">
                                          <p:stCondLst>
                                            <p:cond delay="0"/>
                                          </p:stCondLst>
                                        </p:cTn>
                                        <p:tgtEl>
                                          <p:spTgt spid="68"/>
                                        </p:tgtEl>
                                        <p:attrNameLst>
                                          <p:attrName>style.visibility</p:attrName>
                                        </p:attrNameLst>
                                      </p:cBhvr>
                                      <p:to>
                                        <p:strVal val="visible"/>
                                      </p:to>
                                    </p:set>
                                    <p:animEffect transition="in" filter="dissolve">
                                      <p:cBhvr>
                                        <p:cTn id="125" dur="2000"/>
                                        <p:tgtEl>
                                          <p:spTgt spid="68"/>
                                        </p:tgtEl>
                                      </p:cBhvr>
                                    </p:animEffect>
                                  </p:childTnLst>
                                </p:cTn>
                              </p:par>
                              <p:par>
                                <p:cTn id="126" presetID="9" presetClass="entr" presetSubtype="0" fill="hold" nodeType="withEffect">
                                  <p:stCondLst>
                                    <p:cond delay="0"/>
                                  </p:stCondLst>
                                  <p:childTnLst>
                                    <p:set>
                                      <p:cBhvr>
                                        <p:cTn id="127" dur="1" fill="hold">
                                          <p:stCondLst>
                                            <p:cond delay="0"/>
                                          </p:stCondLst>
                                        </p:cTn>
                                        <p:tgtEl>
                                          <p:spTgt spid="74"/>
                                        </p:tgtEl>
                                        <p:attrNameLst>
                                          <p:attrName>style.visibility</p:attrName>
                                        </p:attrNameLst>
                                      </p:cBhvr>
                                      <p:to>
                                        <p:strVal val="visible"/>
                                      </p:to>
                                    </p:set>
                                    <p:animEffect transition="in" filter="dissolve">
                                      <p:cBhvr>
                                        <p:cTn id="128" dur="2000"/>
                                        <p:tgtEl>
                                          <p:spTgt spid="74"/>
                                        </p:tgtEl>
                                      </p:cBhvr>
                                    </p:animEffect>
                                  </p:childTnLst>
                                </p:cTn>
                              </p:par>
                              <p:par>
                                <p:cTn id="129" presetID="9" presetClass="entr" presetSubtype="0" fill="hold" nodeType="withEffect">
                                  <p:stCondLst>
                                    <p:cond delay="0"/>
                                  </p:stCondLst>
                                  <p:childTnLst>
                                    <p:set>
                                      <p:cBhvr>
                                        <p:cTn id="130" dur="1" fill="hold">
                                          <p:stCondLst>
                                            <p:cond delay="0"/>
                                          </p:stCondLst>
                                        </p:cTn>
                                        <p:tgtEl>
                                          <p:spTgt spid="107"/>
                                        </p:tgtEl>
                                        <p:attrNameLst>
                                          <p:attrName>style.visibility</p:attrName>
                                        </p:attrNameLst>
                                      </p:cBhvr>
                                      <p:to>
                                        <p:strVal val="visible"/>
                                      </p:to>
                                    </p:set>
                                    <p:animEffect transition="in" filter="dissolve">
                                      <p:cBhvr>
                                        <p:cTn id="131" dur="2000"/>
                                        <p:tgtEl>
                                          <p:spTgt spid="107"/>
                                        </p:tgtEl>
                                      </p:cBhvr>
                                    </p:animEffect>
                                  </p:childTnLst>
                                </p:cTn>
                              </p:par>
                              <p:par>
                                <p:cTn id="132" presetID="9" presetClass="entr" presetSubtype="0" fill="hold" nodeType="withEffect">
                                  <p:stCondLst>
                                    <p:cond delay="0"/>
                                  </p:stCondLst>
                                  <p:childTnLst>
                                    <p:set>
                                      <p:cBhvr>
                                        <p:cTn id="133" dur="1" fill="hold">
                                          <p:stCondLst>
                                            <p:cond delay="0"/>
                                          </p:stCondLst>
                                        </p:cTn>
                                        <p:tgtEl>
                                          <p:spTgt spid="64"/>
                                        </p:tgtEl>
                                        <p:attrNameLst>
                                          <p:attrName>style.visibility</p:attrName>
                                        </p:attrNameLst>
                                      </p:cBhvr>
                                      <p:to>
                                        <p:strVal val="visible"/>
                                      </p:to>
                                    </p:set>
                                    <p:animEffect transition="in" filter="dissolve">
                                      <p:cBhvr>
                                        <p:cTn id="134" dur="2000"/>
                                        <p:tgtEl>
                                          <p:spTgt spid="64"/>
                                        </p:tgtEl>
                                      </p:cBhvr>
                                    </p:animEffect>
                                  </p:childTnLst>
                                </p:cTn>
                              </p:par>
                              <p:par>
                                <p:cTn id="135" presetID="9" presetClass="entr" presetSubtype="0" fill="hold" nodeType="withEffect">
                                  <p:stCondLst>
                                    <p:cond delay="0"/>
                                  </p:stCondLst>
                                  <p:childTnLst>
                                    <p:set>
                                      <p:cBhvr>
                                        <p:cTn id="136" dur="1" fill="hold">
                                          <p:stCondLst>
                                            <p:cond delay="0"/>
                                          </p:stCondLst>
                                        </p:cTn>
                                        <p:tgtEl>
                                          <p:spTgt spid="93"/>
                                        </p:tgtEl>
                                        <p:attrNameLst>
                                          <p:attrName>style.visibility</p:attrName>
                                        </p:attrNameLst>
                                      </p:cBhvr>
                                      <p:to>
                                        <p:strVal val="visible"/>
                                      </p:to>
                                    </p:set>
                                    <p:animEffect transition="in" filter="dissolve">
                                      <p:cBhvr>
                                        <p:cTn id="137" dur="2000"/>
                                        <p:tgtEl>
                                          <p:spTgt spid="93"/>
                                        </p:tgtEl>
                                      </p:cBhvr>
                                    </p:animEffect>
                                  </p:childTnLst>
                                </p:cTn>
                              </p:par>
                              <p:par>
                                <p:cTn id="138" presetID="9" presetClass="entr" presetSubtype="0" fill="hold" nodeType="withEffect">
                                  <p:stCondLst>
                                    <p:cond delay="0"/>
                                  </p:stCondLst>
                                  <p:childTnLst>
                                    <p:set>
                                      <p:cBhvr>
                                        <p:cTn id="139" dur="1" fill="hold">
                                          <p:stCondLst>
                                            <p:cond delay="0"/>
                                          </p:stCondLst>
                                        </p:cTn>
                                        <p:tgtEl>
                                          <p:spTgt spid="102"/>
                                        </p:tgtEl>
                                        <p:attrNameLst>
                                          <p:attrName>style.visibility</p:attrName>
                                        </p:attrNameLst>
                                      </p:cBhvr>
                                      <p:to>
                                        <p:strVal val="visible"/>
                                      </p:to>
                                    </p:set>
                                    <p:animEffect transition="in" filter="dissolve">
                                      <p:cBhvr>
                                        <p:cTn id="140" dur="2000"/>
                                        <p:tgtEl>
                                          <p:spTgt spid="102"/>
                                        </p:tgtEl>
                                      </p:cBhvr>
                                    </p:animEffect>
                                  </p:childTnLst>
                                </p:cTn>
                              </p:par>
                              <p:par>
                                <p:cTn id="141" presetID="9" presetClass="entr" presetSubtype="0" fill="hold" nodeType="withEffect">
                                  <p:stCondLst>
                                    <p:cond delay="0"/>
                                  </p:stCondLst>
                                  <p:childTnLst>
                                    <p:set>
                                      <p:cBhvr>
                                        <p:cTn id="142" dur="1" fill="hold">
                                          <p:stCondLst>
                                            <p:cond delay="0"/>
                                          </p:stCondLst>
                                        </p:cTn>
                                        <p:tgtEl>
                                          <p:spTgt spid="95"/>
                                        </p:tgtEl>
                                        <p:attrNameLst>
                                          <p:attrName>style.visibility</p:attrName>
                                        </p:attrNameLst>
                                      </p:cBhvr>
                                      <p:to>
                                        <p:strVal val="visible"/>
                                      </p:to>
                                    </p:set>
                                    <p:animEffect transition="in" filter="dissolve">
                                      <p:cBhvr>
                                        <p:cTn id="143" dur="2000"/>
                                        <p:tgtEl>
                                          <p:spTgt spid="95"/>
                                        </p:tgtEl>
                                      </p:cBhvr>
                                    </p:animEffect>
                                  </p:childTnLst>
                                </p:cTn>
                              </p:par>
                              <p:par>
                                <p:cTn id="144" presetID="9" presetClass="entr" presetSubtype="0" fill="hold" nodeType="withEffect">
                                  <p:stCondLst>
                                    <p:cond delay="0"/>
                                  </p:stCondLst>
                                  <p:childTnLst>
                                    <p:set>
                                      <p:cBhvr>
                                        <p:cTn id="145" dur="1" fill="hold">
                                          <p:stCondLst>
                                            <p:cond delay="0"/>
                                          </p:stCondLst>
                                        </p:cTn>
                                        <p:tgtEl>
                                          <p:spTgt spid="108"/>
                                        </p:tgtEl>
                                        <p:attrNameLst>
                                          <p:attrName>style.visibility</p:attrName>
                                        </p:attrNameLst>
                                      </p:cBhvr>
                                      <p:to>
                                        <p:strVal val="visible"/>
                                      </p:to>
                                    </p:set>
                                    <p:animEffect transition="in" filter="dissolve">
                                      <p:cBhvr>
                                        <p:cTn id="146" dur="2000"/>
                                        <p:tgtEl>
                                          <p:spTgt spid="108"/>
                                        </p:tgtEl>
                                      </p:cBhvr>
                                    </p:animEffect>
                                  </p:childTnLst>
                                </p:cTn>
                              </p:par>
                              <p:par>
                                <p:cTn id="147" presetID="9" presetClass="entr" presetSubtype="0" fill="hold" nodeType="withEffect">
                                  <p:stCondLst>
                                    <p:cond delay="0"/>
                                  </p:stCondLst>
                                  <p:childTnLst>
                                    <p:set>
                                      <p:cBhvr>
                                        <p:cTn id="148" dur="1" fill="hold">
                                          <p:stCondLst>
                                            <p:cond delay="0"/>
                                          </p:stCondLst>
                                        </p:cTn>
                                        <p:tgtEl>
                                          <p:spTgt spid="66"/>
                                        </p:tgtEl>
                                        <p:attrNameLst>
                                          <p:attrName>style.visibility</p:attrName>
                                        </p:attrNameLst>
                                      </p:cBhvr>
                                      <p:to>
                                        <p:strVal val="visible"/>
                                      </p:to>
                                    </p:set>
                                    <p:animEffect transition="in" filter="dissolve">
                                      <p:cBhvr>
                                        <p:cTn id="149" dur="2000"/>
                                        <p:tgtEl>
                                          <p:spTgt spid="66"/>
                                        </p:tgtEl>
                                      </p:cBhvr>
                                    </p:animEffect>
                                  </p:childTnLst>
                                </p:cTn>
                              </p:par>
                              <p:par>
                                <p:cTn id="150" presetID="9" presetClass="entr" presetSubtype="0" fill="hold" nodeType="withEffect">
                                  <p:stCondLst>
                                    <p:cond delay="0"/>
                                  </p:stCondLst>
                                  <p:childTnLst>
                                    <p:set>
                                      <p:cBhvr>
                                        <p:cTn id="151" dur="1" fill="hold">
                                          <p:stCondLst>
                                            <p:cond delay="0"/>
                                          </p:stCondLst>
                                        </p:cTn>
                                        <p:tgtEl>
                                          <p:spTgt spid="85"/>
                                        </p:tgtEl>
                                        <p:attrNameLst>
                                          <p:attrName>style.visibility</p:attrName>
                                        </p:attrNameLst>
                                      </p:cBhvr>
                                      <p:to>
                                        <p:strVal val="visible"/>
                                      </p:to>
                                    </p:set>
                                    <p:animEffect transition="in" filter="dissolve">
                                      <p:cBhvr>
                                        <p:cTn id="152" dur="2000"/>
                                        <p:tgtEl>
                                          <p:spTgt spid="85"/>
                                        </p:tgtEl>
                                      </p:cBhvr>
                                    </p:animEffect>
                                  </p:childTnLst>
                                </p:cTn>
                              </p:par>
                            </p:childTnLst>
                          </p:cTn>
                        </p:par>
                      </p:childTnLst>
                    </p:cTn>
                  </p:par>
                  <p:par>
                    <p:cTn id="153" fill="hold">
                      <p:stCondLst>
                        <p:cond delay="indefinite"/>
                      </p:stCondLst>
                      <p:childTnLst>
                        <p:par>
                          <p:cTn id="154" fill="hold">
                            <p:stCondLst>
                              <p:cond delay="0"/>
                            </p:stCondLst>
                            <p:childTnLst>
                              <p:par>
                                <p:cTn id="155" presetID="9" presetClass="entr" presetSubtype="0" fill="hold" nodeType="clickEffect">
                                  <p:stCondLst>
                                    <p:cond delay="0"/>
                                  </p:stCondLst>
                                  <p:childTnLst>
                                    <p:set>
                                      <p:cBhvr>
                                        <p:cTn id="156" dur="1" fill="hold">
                                          <p:stCondLst>
                                            <p:cond delay="0"/>
                                          </p:stCondLst>
                                        </p:cTn>
                                        <p:tgtEl>
                                          <p:spTgt spid="57"/>
                                        </p:tgtEl>
                                        <p:attrNameLst>
                                          <p:attrName>style.visibility</p:attrName>
                                        </p:attrNameLst>
                                      </p:cBhvr>
                                      <p:to>
                                        <p:strVal val="visible"/>
                                      </p:to>
                                    </p:set>
                                    <p:animEffect transition="in" filter="dissolve">
                                      <p:cBhvr>
                                        <p:cTn id="157" dur="2000"/>
                                        <p:tgtEl>
                                          <p:spTgt spid="57"/>
                                        </p:tgtEl>
                                      </p:cBhvr>
                                    </p:animEffect>
                                  </p:childTnLst>
                                </p:cTn>
                              </p:par>
                              <p:par>
                                <p:cTn id="158" presetID="9" presetClass="entr" presetSubtype="0" fill="hold" nodeType="withEffect">
                                  <p:stCondLst>
                                    <p:cond delay="0"/>
                                  </p:stCondLst>
                                  <p:childTnLst>
                                    <p:set>
                                      <p:cBhvr>
                                        <p:cTn id="159" dur="1" fill="hold">
                                          <p:stCondLst>
                                            <p:cond delay="0"/>
                                          </p:stCondLst>
                                        </p:cTn>
                                        <p:tgtEl>
                                          <p:spTgt spid="84"/>
                                        </p:tgtEl>
                                        <p:attrNameLst>
                                          <p:attrName>style.visibility</p:attrName>
                                        </p:attrNameLst>
                                      </p:cBhvr>
                                      <p:to>
                                        <p:strVal val="visible"/>
                                      </p:to>
                                    </p:set>
                                    <p:animEffect transition="in" filter="dissolve">
                                      <p:cBhvr>
                                        <p:cTn id="160" dur="2000"/>
                                        <p:tgtEl>
                                          <p:spTgt spid="84"/>
                                        </p:tgtEl>
                                      </p:cBhvr>
                                    </p:animEffect>
                                  </p:childTnLst>
                                </p:cTn>
                              </p:par>
                              <p:par>
                                <p:cTn id="161" presetID="9" presetClass="entr" presetSubtype="0" fill="hold" nodeType="withEffect">
                                  <p:stCondLst>
                                    <p:cond delay="0"/>
                                  </p:stCondLst>
                                  <p:childTnLst>
                                    <p:set>
                                      <p:cBhvr>
                                        <p:cTn id="162" dur="1" fill="hold">
                                          <p:stCondLst>
                                            <p:cond delay="0"/>
                                          </p:stCondLst>
                                        </p:cTn>
                                        <p:tgtEl>
                                          <p:spTgt spid="73"/>
                                        </p:tgtEl>
                                        <p:attrNameLst>
                                          <p:attrName>style.visibility</p:attrName>
                                        </p:attrNameLst>
                                      </p:cBhvr>
                                      <p:to>
                                        <p:strVal val="visible"/>
                                      </p:to>
                                    </p:set>
                                    <p:animEffect transition="in" filter="dissolve">
                                      <p:cBhvr>
                                        <p:cTn id="163" dur="2000"/>
                                        <p:tgtEl>
                                          <p:spTgt spid="73"/>
                                        </p:tgtEl>
                                      </p:cBhvr>
                                    </p:animEffect>
                                  </p:childTnLst>
                                </p:cTn>
                              </p:par>
                              <p:par>
                                <p:cTn id="164" presetID="9" presetClass="entr" presetSubtype="0" fill="hold" nodeType="withEffect">
                                  <p:stCondLst>
                                    <p:cond delay="0"/>
                                  </p:stCondLst>
                                  <p:childTnLst>
                                    <p:set>
                                      <p:cBhvr>
                                        <p:cTn id="165" dur="1" fill="hold">
                                          <p:stCondLst>
                                            <p:cond delay="0"/>
                                          </p:stCondLst>
                                        </p:cTn>
                                        <p:tgtEl>
                                          <p:spTgt spid="61"/>
                                        </p:tgtEl>
                                        <p:attrNameLst>
                                          <p:attrName>style.visibility</p:attrName>
                                        </p:attrNameLst>
                                      </p:cBhvr>
                                      <p:to>
                                        <p:strVal val="visible"/>
                                      </p:to>
                                    </p:set>
                                    <p:animEffect transition="in" filter="dissolve">
                                      <p:cBhvr>
                                        <p:cTn id="166" dur="2000"/>
                                        <p:tgtEl>
                                          <p:spTgt spid="61"/>
                                        </p:tgtEl>
                                      </p:cBhvr>
                                    </p:animEffect>
                                  </p:childTnLst>
                                </p:cTn>
                              </p:par>
                              <p:par>
                                <p:cTn id="167" presetID="9" presetClass="entr" presetSubtype="0" fill="hold" nodeType="withEffect">
                                  <p:stCondLst>
                                    <p:cond delay="0"/>
                                  </p:stCondLst>
                                  <p:childTnLst>
                                    <p:set>
                                      <p:cBhvr>
                                        <p:cTn id="168" dur="1" fill="hold">
                                          <p:stCondLst>
                                            <p:cond delay="0"/>
                                          </p:stCondLst>
                                        </p:cTn>
                                        <p:tgtEl>
                                          <p:spTgt spid="70"/>
                                        </p:tgtEl>
                                        <p:attrNameLst>
                                          <p:attrName>style.visibility</p:attrName>
                                        </p:attrNameLst>
                                      </p:cBhvr>
                                      <p:to>
                                        <p:strVal val="visible"/>
                                      </p:to>
                                    </p:set>
                                    <p:animEffect transition="in" filter="dissolve">
                                      <p:cBhvr>
                                        <p:cTn id="169" dur="2000"/>
                                        <p:tgtEl>
                                          <p:spTgt spid="70"/>
                                        </p:tgtEl>
                                      </p:cBhvr>
                                    </p:animEffect>
                                  </p:childTnLst>
                                </p:cTn>
                              </p:par>
                              <p:par>
                                <p:cTn id="170" presetID="9" presetClass="entr" presetSubtype="0" fill="hold" nodeType="withEffect">
                                  <p:stCondLst>
                                    <p:cond delay="0"/>
                                  </p:stCondLst>
                                  <p:childTnLst>
                                    <p:set>
                                      <p:cBhvr>
                                        <p:cTn id="171" dur="1" fill="hold">
                                          <p:stCondLst>
                                            <p:cond delay="0"/>
                                          </p:stCondLst>
                                        </p:cTn>
                                        <p:tgtEl>
                                          <p:spTgt spid="90"/>
                                        </p:tgtEl>
                                        <p:attrNameLst>
                                          <p:attrName>style.visibility</p:attrName>
                                        </p:attrNameLst>
                                      </p:cBhvr>
                                      <p:to>
                                        <p:strVal val="visible"/>
                                      </p:to>
                                    </p:set>
                                    <p:animEffect transition="in" filter="dissolve">
                                      <p:cBhvr>
                                        <p:cTn id="172" dur="2000"/>
                                        <p:tgtEl>
                                          <p:spTgt spid="90"/>
                                        </p:tgtEl>
                                      </p:cBhvr>
                                    </p:animEffect>
                                  </p:childTnLst>
                                </p:cTn>
                              </p:par>
                              <p:par>
                                <p:cTn id="173" presetID="9" presetClass="entr" presetSubtype="0" fill="hold" nodeType="withEffect">
                                  <p:stCondLst>
                                    <p:cond delay="0"/>
                                  </p:stCondLst>
                                  <p:childTnLst>
                                    <p:set>
                                      <p:cBhvr>
                                        <p:cTn id="174" dur="1" fill="hold">
                                          <p:stCondLst>
                                            <p:cond delay="0"/>
                                          </p:stCondLst>
                                        </p:cTn>
                                        <p:tgtEl>
                                          <p:spTgt spid="77"/>
                                        </p:tgtEl>
                                        <p:attrNameLst>
                                          <p:attrName>style.visibility</p:attrName>
                                        </p:attrNameLst>
                                      </p:cBhvr>
                                      <p:to>
                                        <p:strVal val="visible"/>
                                      </p:to>
                                    </p:set>
                                    <p:animEffect transition="in" filter="dissolve">
                                      <p:cBhvr>
                                        <p:cTn id="175" dur="2000"/>
                                        <p:tgtEl>
                                          <p:spTgt spid="77"/>
                                        </p:tgtEl>
                                      </p:cBhvr>
                                    </p:animEffect>
                                  </p:childTnLst>
                                </p:cTn>
                              </p:par>
                              <p:par>
                                <p:cTn id="176" presetID="9" presetClass="entr" presetSubtype="0" fill="hold" nodeType="withEffect">
                                  <p:stCondLst>
                                    <p:cond delay="0"/>
                                  </p:stCondLst>
                                  <p:childTnLst>
                                    <p:set>
                                      <p:cBhvr>
                                        <p:cTn id="177" dur="1" fill="hold">
                                          <p:stCondLst>
                                            <p:cond delay="0"/>
                                          </p:stCondLst>
                                        </p:cTn>
                                        <p:tgtEl>
                                          <p:spTgt spid="58"/>
                                        </p:tgtEl>
                                        <p:attrNameLst>
                                          <p:attrName>style.visibility</p:attrName>
                                        </p:attrNameLst>
                                      </p:cBhvr>
                                      <p:to>
                                        <p:strVal val="visible"/>
                                      </p:to>
                                    </p:set>
                                    <p:animEffect transition="in" filter="dissolve">
                                      <p:cBhvr>
                                        <p:cTn id="178" dur="2000"/>
                                        <p:tgtEl>
                                          <p:spTgt spid="58"/>
                                        </p:tgtEl>
                                      </p:cBhvr>
                                    </p:animEffect>
                                  </p:childTnLst>
                                </p:cTn>
                              </p:par>
                              <p:par>
                                <p:cTn id="179" presetID="9" presetClass="entr" presetSubtype="0" fill="hold" nodeType="withEffect">
                                  <p:stCondLst>
                                    <p:cond delay="0"/>
                                  </p:stCondLst>
                                  <p:childTnLst>
                                    <p:set>
                                      <p:cBhvr>
                                        <p:cTn id="180" dur="1" fill="hold">
                                          <p:stCondLst>
                                            <p:cond delay="0"/>
                                          </p:stCondLst>
                                        </p:cTn>
                                        <p:tgtEl>
                                          <p:spTgt spid="88"/>
                                        </p:tgtEl>
                                        <p:attrNameLst>
                                          <p:attrName>style.visibility</p:attrName>
                                        </p:attrNameLst>
                                      </p:cBhvr>
                                      <p:to>
                                        <p:strVal val="visible"/>
                                      </p:to>
                                    </p:set>
                                    <p:animEffect transition="in" filter="dissolve">
                                      <p:cBhvr>
                                        <p:cTn id="181" dur="2000"/>
                                        <p:tgtEl>
                                          <p:spTgt spid="88"/>
                                        </p:tgtEl>
                                      </p:cBhvr>
                                    </p:animEffect>
                                  </p:childTnLst>
                                </p:cTn>
                              </p:par>
                              <p:par>
                                <p:cTn id="182" presetID="9" presetClass="entr" presetSubtype="0" fill="hold" nodeType="withEffect">
                                  <p:stCondLst>
                                    <p:cond delay="0"/>
                                  </p:stCondLst>
                                  <p:childTnLst>
                                    <p:set>
                                      <p:cBhvr>
                                        <p:cTn id="183" dur="1" fill="hold">
                                          <p:stCondLst>
                                            <p:cond delay="0"/>
                                          </p:stCondLst>
                                        </p:cTn>
                                        <p:tgtEl>
                                          <p:spTgt spid="33"/>
                                        </p:tgtEl>
                                        <p:attrNameLst>
                                          <p:attrName>style.visibility</p:attrName>
                                        </p:attrNameLst>
                                      </p:cBhvr>
                                      <p:to>
                                        <p:strVal val="visible"/>
                                      </p:to>
                                    </p:set>
                                    <p:animEffect transition="in" filter="dissolve">
                                      <p:cBhvr>
                                        <p:cTn id="184" dur="2000"/>
                                        <p:tgtEl>
                                          <p:spTgt spid="33"/>
                                        </p:tgtEl>
                                      </p:cBhvr>
                                    </p:animEffect>
                                  </p:childTnLst>
                                </p:cTn>
                              </p:par>
                              <p:par>
                                <p:cTn id="185" presetID="9" presetClass="entr" presetSubtype="0" fill="hold" nodeType="withEffect">
                                  <p:stCondLst>
                                    <p:cond delay="0"/>
                                  </p:stCondLst>
                                  <p:childTnLst>
                                    <p:set>
                                      <p:cBhvr>
                                        <p:cTn id="186" dur="1" fill="hold">
                                          <p:stCondLst>
                                            <p:cond delay="0"/>
                                          </p:stCondLst>
                                        </p:cTn>
                                        <p:tgtEl>
                                          <p:spTgt spid="112"/>
                                        </p:tgtEl>
                                        <p:attrNameLst>
                                          <p:attrName>style.visibility</p:attrName>
                                        </p:attrNameLst>
                                      </p:cBhvr>
                                      <p:to>
                                        <p:strVal val="visible"/>
                                      </p:to>
                                    </p:set>
                                    <p:animEffect transition="in" filter="dissolve">
                                      <p:cBhvr>
                                        <p:cTn id="187" dur="2000"/>
                                        <p:tgtEl>
                                          <p:spTgt spid="112"/>
                                        </p:tgtEl>
                                      </p:cBhvr>
                                    </p:animEffect>
                                  </p:childTnLst>
                                </p:cTn>
                              </p:par>
                              <p:par>
                                <p:cTn id="188" presetID="9" presetClass="entr" presetSubtype="0" fill="hold" nodeType="withEffect">
                                  <p:stCondLst>
                                    <p:cond delay="0"/>
                                  </p:stCondLst>
                                  <p:childTnLst>
                                    <p:set>
                                      <p:cBhvr>
                                        <p:cTn id="189" dur="1" fill="hold">
                                          <p:stCondLst>
                                            <p:cond delay="0"/>
                                          </p:stCondLst>
                                        </p:cTn>
                                        <p:tgtEl>
                                          <p:spTgt spid="98"/>
                                        </p:tgtEl>
                                        <p:attrNameLst>
                                          <p:attrName>style.visibility</p:attrName>
                                        </p:attrNameLst>
                                      </p:cBhvr>
                                      <p:to>
                                        <p:strVal val="visible"/>
                                      </p:to>
                                    </p:set>
                                    <p:animEffect transition="in" filter="dissolve">
                                      <p:cBhvr>
                                        <p:cTn id="190" dur="2000"/>
                                        <p:tgtEl>
                                          <p:spTgt spid="98"/>
                                        </p:tgtEl>
                                      </p:cBhvr>
                                    </p:animEffect>
                                  </p:childTnLst>
                                </p:cTn>
                              </p:par>
                              <p:par>
                                <p:cTn id="191" presetID="9" presetClass="entr" presetSubtype="0" fill="hold" nodeType="withEffect">
                                  <p:stCondLst>
                                    <p:cond delay="0"/>
                                  </p:stCondLst>
                                  <p:childTnLst>
                                    <p:set>
                                      <p:cBhvr>
                                        <p:cTn id="192" dur="1" fill="hold">
                                          <p:stCondLst>
                                            <p:cond delay="0"/>
                                          </p:stCondLst>
                                        </p:cTn>
                                        <p:tgtEl>
                                          <p:spTgt spid="63"/>
                                        </p:tgtEl>
                                        <p:attrNameLst>
                                          <p:attrName>style.visibility</p:attrName>
                                        </p:attrNameLst>
                                      </p:cBhvr>
                                      <p:to>
                                        <p:strVal val="visible"/>
                                      </p:to>
                                    </p:set>
                                    <p:animEffect transition="in" filter="dissolve">
                                      <p:cBhvr>
                                        <p:cTn id="193" dur="2000"/>
                                        <p:tgtEl>
                                          <p:spTgt spid="63"/>
                                        </p:tgtEl>
                                      </p:cBhvr>
                                    </p:animEffect>
                                  </p:childTnLst>
                                </p:cTn>
                              </p:par>
                              <p:par>
                                <p:cTn id="194" presetID="9" presetClass="entr" presetSubtype="0" fill="hold" nodeType="withEffect">
                                  <p:stCondLst>
                                    <p:cond delay="0"/>
                                  </p:stCondLst>
                                  <p:childTnLst>
                                    <p:set>
                                      <p:cBhvr>
                                        <p:cTn id="195" dur="1" fill="hold">
                                          <p:stCondLst>
                                            <p:cond delay="0"/>
                                          </p:stCondLst>
                                        </p:cTn>
                                        <p:tgtEl>
                                          <p:spTgt spid="101"/>
                                        </p:tgtEl>
                                        <p:attrNameLst>
                                          <p:attrName>style.visibility</p:attrName>
                                        </p:attrNameLst>
                                      </p:cBhvr>
                                      <p:to>
                                        <p:strVal val="visible"/>
                                      </p:to>
                                    </p:set>
                                    <p:animEffect transition="in" filter="dissolve">
                                      <p:cBhvr>
                                        <p:cTn id="196" dur="2000"/>
                                        <p:tgtEl>
                                          <p:spTgt spid="101"/>
                                        </p:tgtEl>
                                      </p:cBhvr>
                                    </p:animEffect>
                                  </p:childTnLst>
                                </p:cTn>
                              </p:par>
                              <p:par>
                                <p:cTn id="197" presetID="9" presetClass="entr" presetSubtype="0" fill="hold" nodeType="withEffect">
                                  <p:stCondLst>
                                    <p:cond delay="0"/>
                                  </p:stCondLst>
                                  <p:childTnLst>
                                    <p:set>
                                      <p:cBhvr>
                                        <p:cTn id="198" dur="1" fill="hold">
                                          <p:stCondLst>
                                            <p:cond delay="0"/>
                                          </p:stCondLst>
                                        </p:cTn>
                                        <p:tgtEl>
                                          <p:spTgt spid="99"/>
                                        </p:tgtEl>
                                        <p:attrNameLst>
                                          <p:attrName>style.visibility</p:attrName>
                                        </p:attrNameLst>
                                      </p:cBhvr>
                                      <p:to>
                                        <p:strVal val="visible"/>
                                      </p:to>
                                    </p:set>
                                    <p:animEffect transition="in" filter="dissolve">
                                      <p:cBhvr>
                                        <p:cTn id="199" dur="2000"/>
                                        <p:tgtEl>
                                          <p:spTgt spid="99"/>
                                        </p:tgtEl>
                                      </p:cBhvr>
                                    </p:animEffect>
                                  </p:childTnLst>
                                </p:cTn>
                              </p:par>
                              <p:par>
                                <p:cTn id="200" presetID="9" presetClass="entr" presetSubtype="0" fill="hold" nodeType="withEffect">
                                  <p:stCondLst>
                                    <p:cond delay="0"/>
                                  </p:stCondLst>
                                  <p:childTnLst>
                                    <p:set>
                                      <p:cBhvr>
                                        <p:cTn id="201" dur="1" fill="hold">
                                          <p:stCondLst>
                                            <p:cond delay="0"/>
                                          </p:stCondLst>
                                        </p:cTn>
                                        <p:tgtEl>
                                          <p:spTgt spid="87"/>
                                        </p:tgtEl>
                                        <p:attrNameLst>
                                          <p:attrName>style.visibility</p:attrName>
                                        </p:attrNameLst>
                                      </p:cBhvr>
                                      <p:to>
                                        <p:strVal val="visible"/>
                                      </p:to>
                                    </p:set>
                                    <p:animEffect transition="in" filter="dissolve">
                                      <p:cBhvr>
                                        <p:cTn id="202" dur="2000"/>
                                        <p:tgtEl>
                                          <p:spTgt spid="87"/>
                                        </p:tgtEl>
                                      </p:cBhvr>
                                    </p:animEffect>
                                  </p:childTnLst>
                                </p:cTn>
                              </p:par>
                              <p:par>
                                <p:cTn id="203" presetID="9" presetClass="entr" presetSubtype="0" fill="hold" nodeType="withEffect">
                                  <p:stCondLst>
                                    <p:cond delay="0"/>
                                  </p:stCondLst>
                                  <p:childTnLst>
                                    <p:set>
                                      <p:cBhvr>
                                        <p:cTn id="204" dur="1" fill="hold">
                                          <p:stCondLst>
                                            <p:cond delay="0"/>
                                          </p:stCondLst>
                                        </p:cTn>
                                        <p:tgtEl>
                                          <p:spTgt spid="81"/>
                                        </p:tgtEl>
                                        <p:attrNameLst>
                                          <p:attrName>style.visibility</p:attrName>
                                        </p:attrNameLst>
                                      </p:cBhvr>
                                      <p:to>
                                        <p:strVal val="visible"/>
                                      </p:to>
                                    </p:set>
                                    <p:animEffect transition="in" filter="dissolve">
                                      <p:cBhvr>
                                        <p:cTn id="205" dur="2000"/>
                                        <p:tgtEl>
                                          <p:spTgt spid="81"/>
                                        </p:tgtEl>
                                      </p:cBhvr>
                                    </p:animEffect>
                                  </p:childTnLst>
                                </p:cTn>
                              </p:par>
                              <p:par>
                                <p:cTn id="206" presetID="9" presetClass="entr" presetSubtype="0" fill="hold" nodeType="withEffect">
                                  <p:stCondLst>
                                    <p:cond delay="0"/>
                                  </p:stCondLst>
                                  <p:childTnLst>
                                    <p:set>
                                      <p:cBhvr>
                                        <p:cTn id="207" dur="1" fill="hold">
                                          <p:stCondLst>
                                            <p:cond delay="0"/>
                                          </p:stCondLst>
                                        </p:cTn>
                                        <p:tgtEl>
                                          <p:spTgt spid="67"/>
                                        </p:tgtEl>
                                        <p:attrNameLst>
                                          <p:attrName>style.visibility</p:attrName>
                                        </p:attrNameLst>
                                      </p:cBhvr>
                                      <p:to>
                                        <p:strVal val="visible"/>
                                      </p:to>
                                    </p:set>
                                    <p:animEffect transition="in" filter="dissolve">
                                      <p:cBhvr>
                                        <p:cTn id="208" dur="2000"/>
                                        <p:tgtEl>
                                          <p:spTgt spid="67"/>
                                        </p:tgtEl>
                                      </p:cBhvr>
                                    </p:animEffect>
                                  </p:childTnLst>
                                </p:cTn>
                              </p:par>
                              <p:par>
                                <p:cTn id="209" presetID="9" presetClass="entr" presetSubtype="0" fill="hold" nodeType="withEffect">
                                  <p:stCondLst>
                                    <p:cond delay="0"/>
                                  </p:stCondLst>
                                  <p:childTnLst>
                                    <p:set>
                                      <p:cBhvr>
                                        <p:cTn id="210" dur="1" fill="hold">
                                          <p:stCondLst>
                                            <p:cond delay="0"/>
                                          </p:stCondLst>
                                        </p:cTn>
                                        <p:tgtEl>
                                          <p:spTgt spid="97"/>
                                        </p:tgtEl>
                                        <p:attrNameLst>
                                          <p:attrName>style.visibility</p:attrName>
                                        </p:attrNameLst>
                                      </p:cBhvr>
                                      <p:to>
                                        <p:strVal val="visible"/>
                                      </p:to>
                                    </p:set>
                                    <p:animEffect transition="in" filter="dissolve">
                                      <p:cBhvr>
                                        <p:cTn id="211" dur="2000"/>
                                        <p:tgtEl>
                                          <p:spTgt spid="97"/>
                                        </p:tgtEl>
                                      </p:cBhvr>
                                    </p:animEffect>
                                  </p:childTnLst>
                                </p:cTn>
                              </p:par>
                              <p:par>
                                <p:cTn id="212" presetID="9" presetClass="entr" presetSubtype="0" fill="hold" nodeType="withEffect">
                                  <p:stCondLst>
                                    <p:cond delay="0"/>
                                  </p:stCondLst>
                                  <p:childTnLst>
                                    <p:set>
                                      <p:cBhvr>
                                        <p:cTn id="213" dur="1" fill="hold">
                                          <p:stCondLst>
                                            <p:cond delay="0"/>
                                          </p:stCondLst>
                                        </p:cTn>
                                        <p:tgtEl>
                                          <p:spTgt spid="103"/>
                                        </p:tgtEl>
                                        <p:attrNameLst>
                                          <p:attrName>style.visibility</p:attrName>
                                        </p:attrNameLst>
                                      </p:cBhvr>
                                      <p:to>
                                        <p:strVal val="visible"/>
                                      </p:to>
                                    </p:set>
                                    <p:animEffect transition="in" filter="dissolve">
                                      <p:cBhvr>
                                        <p:cTn id="214" dur="2000"/>
                                        <p:tgtEl>
                                          <p:spTgt spid="103"/>
                                        </p:tgtEl>
                                      </p:cBhvr>
                                    </p:animEffect>
                                  </p:childTnLst>
                                </p:cTn>
                              </p:par>
                              <p:par>
                                <p:cTn id="215" presetID="9" presetClass="entr" presetSubtype="0" fill="hold" nodeType="withEffect">
                                  <p:stCondLst>
                                    <p:cond delay="0"/>
                                  </p:stCondLst>
                                  <p:childTnLst>
                                    <p:set>
                                      <p:cBhvr>
                                        <p:cTn id="216" dur="1" fill="hold">
                                          <p:stCondLst>
                                            <p:cond delay="0"/>
                                          </p:stCondLst>
                                        </p:cTn>
                                        <p:tgtEl>
                                          <p:spTgt spid="71"/>
                                        </p:tgtEl>
                                        <p:attrNameLst>
                                          <p:attrName>style.visibility</p:attrName>
                                        </p:attrNameLst>
                                      </p:cBhvr>
                                      <p:to>
                                        <p:strVal val="visible"/>
                                      </p:to>
                                    </p:set>
                                    <p:animEffect transition="in" filter="dissolve">
                                      <p:cBhvr>
                                        <p:cTn id="217" dur="2000"/>
                                        <p:tgtEl>
                                          <p:spTgt spid="71"/>
                                        </p:tgtEl>
                                      </p:cBhvr>
                                    </p:animEffect>
                                  </p:childTnLst>
                                </p:cTn>
                              </p:par>
                              <p:par>
                                <p:cTn id="218" presetID="9" presetClass="entr" presetSubtype="0" fill="hold" nodeType="withEffect">
                                  <p:stCondLst>
                                    <p:cond delay="0"/>
                                  </p:stCondLst>
                                  <p:childTnLst>
                                    <p:set>
                                      <p:cBhvr>
                                        <p:cTn id="219" dur="1" fill="hold">
                                          <p:stCondLst>
                                            <p:cond delay="0"/>
                                          </p:stCondLst>
                                        </p:cTn>
                                        <p:tgtEl>
                                          <p:spTgt spid="86"/>
                                        </p:tgtEl>
                                        <p:attrNameLst>
                                          <p:attrName>style.visibility</p:attrName>
                                        </p:attrNameLst>
                                      </p:cBhvr>
                                      <p:to>
                                        <p:strVal val="visible"/>
                                      </p:to>
                                    </p:set>
                                    <p:animEffect transition="in" filter="dissolve">
                                      <p:cBhvr>
                                        <p:cTn id="220" dur="2000"/>
                                        <p:tgtEl>
                                          <p:spTgt spid="86"/>
                                        </p:tgtEl>
                                      </p:cBhvr>
                                    </p:animEffect>
                                  </p:childTnLst>
                                </p:cTn>
                              </p:par>
                              <p:par>
                                <p:cTn id="221" presetID="9" presetClass="entr" presetSubtype="0" fill="hold" nodeType="withEffect">
                                  <p:stCondLst>
                                    <p:cond delay="0"/>
                                  </p:stCondLst>
                                  <p:childTnLst>
                                    <p:set>
                                      <p:cBhvr>
                                        <p:cTn id="222" dur="1" fill="hold">
                                          <p:stCondLst>
                                            <p:cond delay="0"/>
                                          </p:stCondLst>
                                        </p:cTn>
                                        <p:tgtEl>
                                          <p:spTgt spid="89"/>
                                        </p:tgtEl>
                                        <p:attrNameLst>
                                          <p:attrName>style.visibility</p:attrName>
                                        </p:attrNameLst>
                                      </p:cBhvr>
                                      <p:to>
                                        <p:strVal val="visible"/>
                                      </p:to>
                                    </p:set>
                                    <p:animEffect transition="in" filter="dissolve">
                                      <p:cBhvr>
                                        <p:cTn id="223" dur="2000"/>
                                        <p:tgtEl>
                                          <p:spTgt spid="89"/>
                                        </p:tgtEl>
                                      </p:cBhvr>
                                    </p:animEffect>
                                  </p:childTnLst>
                                </p:cTn>
                              </p:par>
                              <p:par>
                                <p:cTn id="224" presetID="9" presetClass="entr" presetSubtype="0" fill="hold" nodeType="withEffect">
                                  <p:stCondLst>
                                    <p:cond delay="0"/>
                                  </p:stCondLst>
                                  <p:childTnLst>
                                    <p:set>
                                      <p:cBhvr>
                                        <p:cTn id="225" dur="1" fill="hold">
                                          <p:stCondLst>
                                            <p:cond delay="0"/>
                                          </p:stCondLst>
                                        </p:cTn>
                                        <p:tgtEl>
                                          <p:spTgt spid="32"/>
                                        </p:tgtEl>
                                        <p:attrNameLst>
                                          <p:attrName>style.visibility</p:attrName>
                                        </p:attrNameLst>
                                      </p:cBhvr>
                                      <p:to>
                                        <p:strVal val="visible"/>
                                      </p:to>
                                    </p:set>
                                    <p:animEffect transition="in" filter="dissolve">
                                      <p:cBhvr>
                                        <p:cTn id="226" dur="2000"/>
                                        <p:tgtEl>
                                          <p:spTgt spid="32"/>
                                        </p:tgtEl>
                                      </p:cBhvr>
                                    </p:animEffect>
                                  </p:childTnLst>
                                </p:cTn>
                              </p:par>
                              <p:par>
                                <p:cTn id="227" presetID="9" presetClass="entr" presetSubtype="0" fill="hold" nodeType="withEffect">
                                  <p:stCondLst>
                                    <p:cond delay="0"/>
                                  </p:stCondLst>
                                  <p:childTnLst>
                                    <p:set>
                                      <p:cBhvr>
                                        <p:cTn id="228" dur="1" fill="hold">
                                          <p:stCondLst>
                                            <p:cond delay="0"/>
                                          </p:stCondLst>
                                        </p:cTn>
                                        <p:tgtEl>
                                          <p:spTgt spid="105"/>
                                        </p:tgtEl>
                                        <p:attrNameLst>
                                          <p:attrName>style.visibility</p:attrName>
                                        </p:attrNameLst>
                                      </p:cBhvr>
                                      <p:to>
                                        <p:strVal val="visible"/>
                                      </p:to>
                                    </p:set>
                                    <p:animEffect transition="in" filter="dissolve">
                                      <p:cBhvr>
                                        <p:cTn id="229" dur="2000"/>
                                        <p:tgtEl>
                                          <p:spTgt spid="105"/>
                                        </p:tgtEl>
                                      </p:cBhvr>
                                    </p:animEffect>
                                  </p:childTnLst>
                                </p:cTn>
                              </p:par>
                              <p:par>
                                <p:cTn id="230" presetID="9" presetClass="entr" presetSubtype="0" fill="hold" nodeType="withEffect">
                                  <p:stCondLst>
                                    <p:cond delay="0"/>
                                  </p:stCondLst>
                                  <p:childTnLst>
                                    <p:set>
                                      <p:cBhvr>
                                        <p:cTn id="231" dur="1" fill="hold">
                                          <p:stCondLst>
                                            <p:cond delay="0"/>
                                          </p:stCondLst>
                                        </p:cTn>
                                        <p:tgtEl>
                                          <p:spTgt spid="94"/>
                                        </p:tgtEl>
                                        <p:attrNameLst>
                                          <p:attrName>style.visibility</p:attrName>
                                        </p:attrNameLst>
                                      </p:cBhvr>
                                      <p:to>
                                        <p:strVal val="visible"/>
                                      </p:to>
                                    </p:set>
                                    <p:animEffect transition="in" filter="dissolve">
                                      <p:cBhvr>
                                        <p:cTn id="232" dur="2000"/>
                                        <p:tgtEl>
                                          <p:spTgt spid="94"/>
                                        </p:tgtEl>
                                      </p:cBhvr>
                                    </p:animEffect>
                                  </p:childTnLst>
                                </p:cTn>
                              </p:par>
                              <p:par>
                                <p:cTn id="233" presetID="9" presetClass="entr" presetSubtype="0" fill="hold" nodeType="withEffect">
                                  <p:stCondLst>
                                    <p:cond delay="0"/>
                                  </p:stCondLst>
                                  <p:childTnLst>
                                    <p:set>
                                      <p:cBhvr>
                                        <p:cTn id="234" dur="1" fill="hold">
                                          <p:stCondLst>
                                            <p:cond delay="0"/>
                                          </p:stCondLst>
                                        </p:cTn>
                                        <p:tgtEl>
                                          <p:spTgt spid="60"/>
                                        </p:tgtEl>
                                        <p:attrNameLst>
                                          <p:attrName>style.visibility</p:attrName>
                                        </p:attrNameLst>
                                      </p:cBhvr>
                                      <p:to>
                                        <p:strVal val="visible"/>
                                      </p:to>
                                    </p:set>
                                    <p:animEffect transition="in" filter="dissolve">
                                      <p:cBhvr>
                                        <p:cTn id="235" dur="2000"/>
                                        <p:tgtEl>
                                          <p:spTgt spid="60"/>
                                        </p:tgtEl>
                                      </p:cBhvr>
                                    </p:animEffect>
                                  </p:childTnLst>
                                </p:cTn>
                              </p:par>
                              <p:par>
                                <p:cTn id="236" presetID="9" presetClass="entr" presetSubtype="0" fill="hold" nodeType="withEffect">
                                  <p:stCondLst>
                                    <p:cond delay="0"/>
                                  </p:stCondLst>
                                  <p:childTnLst>
                                    <p:set>
                                      <p:cBhvr>
                                        <p:cTn id="237" dur="1" fill="hold">
                                          <p:stCondLst>
                                            <p:cond delay="0"/>
                                          </p:stCondLst>
                                        </p:cTn>
                                        <p:tgtEl>
                                          <p:spTgt spid="83"/>
                                        </p:tgtEl>
                                        <p:attrNameLst>
                                          <p:attrName>style.visibility</p:attrName>
                                        </p:attrNameLst>
                                      </p:cBhvr>
                                      <p:to>
                                        <p:strVal val="visible"/>
                                      </p:to>
                                    </p:set>
                                    <p:animEffect transition="in" filter="dissolve">
                                      <p:cBhvr>
                                        <p:cTn id="238" dur="2000"/>
                                        <p:tgtEl>
                                          <p:spTgt spid="83"/>
                                        </p:tgtEl>
                                      </p:cBhvr>
                                    </p:animEffect>
                                  </p:childTnLst>
                                </p:cTn>
                              </p:par>
                              <p:par>
                                <p:cTn id="239" presetID="9" presetClass="entr" presetSubtype="0" fill="hold" nodeType="withEffect">
                                  <p:stCondLst>
                                    <p:cond delay="0"/>
                                  </p:stCondLst>
                                  <p:childTnLst>
                                    <p:set>
                                      <p:cBhvr>
                                        <p:cTn id="240" dur="1" fill="hold">
                                          <p:stCondLst>
                                            <p:cond delay="0"/>
                                          </p:stCondLst>
                                        </p:cTn>
                                        <p:tgtEl>
                                          <p:spTgt spid="91"/>
                                        </p:tgtEl>
                                        <p:attrNameLst>
                                          <p:attrName>style.visibility</p:attrName>
                                        </p:attrNameLst>
                                      </p:cBhvr>
                                      <p:to>
                                        <p:strVal val="visible"/>
                                      </p:to>
                                    </p:set>
                                    <p:animEffect transition="in" filter="dissolve">
                                      <p:cBhvr>
                                        <p:cTn id="241" dur="2000"/>
                                        <p:tgtEl>
                                          <p:spTgt spid="91"/>
                                        </p:tgtEl>
                                      </p:cBhvr>
                                    </p:animEffect>
                                  </p:childTnLst>
                                </p:cTn>
                              </p:par>
                              <p:par>
                                <p:cTn id="242" presetID="9" presetClass="entr" presetSubtype="0" fill="hold" nodeType="withEffect">
                                  <p:stCondLst>
                                    <p:cond delay="0"/>
                                  </p:stCondLst>
                                  <p:childTnLst>
                                    <p:set>
                                      <p:cBhvr>
                                        <p:cTn id="243" dur="1" fill="hold">
                                          <p:stCondLst>
                                            <p:cond delay="0"/>
                                          </p:stCondLst>
                                        </p:cTn>
                                        <p:tgtEl>
                                          <p:spTgt spid="100"/>
                                        </p:tgtEl>
                                        <p:attrNameLst>
                                          <p:attrName>style.visibility</p:attrName>
                                        </p:attrNameLst>
                                      </p:cBhvr>
                                      <p:to>
                                        <p:strVal val="visible"/>
                                      </p:to>
                                    </p:set>
                                    <p:animEffect transition="in" filter="dissolve">
                                      <p:cBhvr>
                                        <p:cTn id="244" dur="2000"/>
                                        <p:tgtEl>
                                          <p:spTgt spid="100"/>
                                        </p:tgtEl>
                                      </p:cBhvr>
                                    </p:animEffect>
                                  </p:childTnLst>
                                </p:cTn>
                              </p:par>
                              <p:par>
                                <p:cTn id="245" presetID="9" presetClass="entr" presetSubtype="0" fill="hold" nodeType="withEffect">
                                  <p:stCondLst>
                                    <p:cond delay="0"/>
                                  </p:stCondLst>
                                  <p:childTnLst>
                                    <p:set>
                                      <p:cBhvr>
                                        <p:cTn id="246" dur="1" fill="hold">
                                          <p:stCondLst>
                                            <p:cond delay="0"/>
                                          </p:stCondLst>
                                        </p:cTn>
                                        <p:tgtEl>
                                          <p:spTgt spid="62"/>
                                        </p:tgtEl>
                                        <p:attrNameLst>
                                          <p:attrName>style.visibility</p:attrName>
                                        </p:attrNameLst>
                                      </p:cBhvr>
                                      <p:to>
                                        <p:strVal val="visible"/>
                                      </p:to>
                                    </p:set>
                                    <p:animEffect transition="in" filter="dissolve">
                                      <p:cBhvr>
                                        <p:cTn id="247" dur="2000"/>
                                        <p:tgtEl>
                                          <p:spTgt spid="62"/>
                                        </p:tgtEl>
                                      </p:cBhvr>
                                    </p:animEffect>
                                  </p:childTnLst>
                                </p:cTn>
                              </p:par>
                              <p:par>
                                <p:cTn id="248" presetID="9" presetClass="entr" presetSubtype="0" fill="hold" nodeType="withEffect">
                                  <p:stCondLst>
                                    <p:cond delay="0"/>
                                  </p:stCondLst>
                                  <p:childTnLst>
                                    <p:set>
                                      <p:cBhvr>
                                        <p:cTn id="249" dur="1" fill="hold">
                                          <p:stCondLst>
                                            <p:cond delay="0"/>
                                          </p:stCondLst>
                                        </p:cTn>
                                        <p:tgtEl>
                                          <p:spTgt spid="59"/>
                                        </p:tgtEl>
                                        <p:attrNameLst>
                                          <p:attrName>style.visibility</p:attrName>
                                        </p:attrNameLst>
                                      </p:cBhvr>
                                      <p:to>
                                        <p:strVal val="visible"/>
                                      </p:to>
                                    </p:set>
                                    <p:animEffect transition="in" filter="dissolve">
                                      <p:cBhvr>
                                        <p:cTn id="250" dur="2000"/>
                                        <p:tgtEl>
                                          <p:spTgt spid="59"/>
                                        </p:tgtEl>
                                      </p:cBhvr>
                                    </p:animEffect>
                                  </p:childTnLst>
                                </p:cTn>
                              </p:par>
                              <p:par>
                                <p:cTn id="251" presetID="9" presetClass="entr" presetSubtype="0" fill="hold" nodeType="withEffect">
                                  <p:stCondLst>
                                    <p:cond delay="0"/>
                                  </p:stCondLst>
                                  <p:childTnLst>
                                    <p:set>
                                      <p:cBhvr>
                                        <p:cTn id="252" dur="1" fill="hold">
                                          <p:stCondLst>
                                            <p:cond delay="0"/>
                                          </p:stCondLst>
                                        </p:cTn>
                                        <p:tgtEl>
                                          <p:spTgt spid="80"/>
                                        </p:tgtEl>
                                        <p:attrNameLst>
                                          <p:attrName>style.visibility</p:attrName>
                                        </p:attrNameLst>
                                      </p:cBhvr>
                                      <p:to>
                                        <p:strVal val="visible"/>
                                      </p:to>
                                    </p:set>
                                    <p:animEffect transition="in" filter="dissolve">
                                      <p:cBhvr>
                                        <p:cTn id="253" dur="2000"/>
                                        <p:tgtEl>
                                          <p:spTgt spid="80"/>
                                        </p:tgtEl>
                                      </p:cBhvr>
                                    </p:animEffect>
                                  </p:childTnLst>
                                </p:cTn>
                              </p:par>
                              <p:par>
                                <p:cTn id="254" presetID="9" presetClass="entr" presetSubtype="0" fill="hold" nodeType="withEffect">
                                  <p:stCondLst>
                                    <p:cond delay="0"/>
                                  </p:stCondLst>
                                  <p:childTnLst>
                                    <p:set>
                                      <p:cBhvr>
                                        <p:cTn id="255" dur="1" fill="hold">
                                          <p:stCondLst>
                                            <p:cond delay="0"/>
                                          </p:stCondLst>
                                        </p:cTn>
                                        <p:tgtEl>
                                          <p:spTgt spid="111"/>
                                        </p:tgtEl>
                                        <p:attrNameLst>
                                          <p:attrName>style.visibility</p:attrName>
                                        </p:attrNameLst>
                                      </p:cBhvr>
                                      <p:to>
                                        <p:strVal val="visible"/>
                                      </p:to>
                                    </p:set>
                                    <p:animEffect transition="in" filter="dissolve">
                                      <p:cBhvr>
                                        <p:cTn id="256" dur="2000"/>
                                        <p:tgtEl>
                                          <p:spTgt spid="111"/>
                                        </p:tgtEl>
                                      </p:cBhvr>
                                    </p:animEffect>
                                  </p:childTnLst>
                                </p:cTn>
                              </p:par>
                              <p:par>
                                <p:cTn id="257" presetID="9" presetClass="entr" presetSubtype="0" fill="hold" nodeType="withEffect">
                                  <p:stCondLst>
                                    <p:cond delay="0"/>
                                  </p:stCondLst>
                                  <p:childTnLst>
                                    <p:set>
                                      <p:cBhvr>
                                        <p:cTn id="258" dur="1" fill="hold">
                                          <p:stCondLst>
                                            <p:cond delay="0"/>
                                          </p:stCondLst>
                                        </p:cTn>
                                        <p:tgtEl>
                                          <p:spTgt spid="79"/>
                                        </p:tgtEl>
                                        <p:attrNameLst>
                                          <p:attrName>style.visibility</p:attrName>
                                        </p:attrNameLst>
                                      </p:cBhvr>
                                      <p:to>
                                        <p:strVal val="visible"/>
                                      </p:to>
                                    </p:set>
                                    <p:animEffect transition="in" filter="dissolve">
                                      <p:cBhvr>
                                        <p:cTn id="259" dur="2000"/>
                                        <p:tgtEl>
                                          <p:spTgt spid="79"/>
                                        </p:tgtEl>
                                      </p:cBhvr>
                                    </p:animEffect>
                                  </p:childTnLst>
                                </p:cTn>
                              </p:par>
                              <p:par>
                                <p:cTn id="260" presetID="9" presetClass="entr" presetSubtype="0" fill="hold" nodeType="withEffect">
                                  <p:stCondLst>
                                    <p:cond delay="0"/>
                                  </p:stCondLst>
                                  <p:childTnLst>
                                    <p:set>
                                      <p:cBhvr>
                                        <p:cTn id="261" dur="1" fill="hold">
                                          <p:stCondLst>
                                            <p:cond delay="0"/>
                                          </p:stCondLst>
                                        </p:cTn>
                                        <p:tgtEl>
                                          <p:spTgt spid="110"/>
                                        </p:tgtEl>
                                        <p:attrNameLst>
                                          <p:attrName>style.visibility</p:attrName>
                                        </p:attrNameLst>
                                      </p:cBhvr>
                                      <p:to>
                                        <p:strVal val="visible"/>
                                      </p:to>
                                    </p:set>
                                    <p:animEffect transition="in" filter="dissolve">
                                      <p:cBhvr>
                                        <p:cTn id="262" dur="2000"/>
                                        <p:tgtEl>
                                          <p:spTgt spid="110"/>
                                        </p:tgtEl>
                                      </p:cBhvr>
                                    </p:animEffect>
                                  </p:childTnLst>
                                </p:cTn>
                              </p:par>
                              <p:par>
                                <p:cTn id="263" presetID="9" presetClass="entr" presetSubtype="0" fill="hold" nodeType="withEffect">
                                  <p:stCondLst>
                                    <p:cond delay="0"/>
                                  </p:stCondLst>
                                  <p:childTnLst>
                                    <p:set>
                                      <p:cBhvr>
                                        <p:cTn id="264" dur="1" fill="hold">
                                          <p:stCondLst>
                                            <p:cond delay="0"/>
                                          </p:stCondLst>
                                        </p:cTn>
                                        <p:tgtEl>
                                          <p:spTgt spid="69"/>
                                        </p:tgtEl>
                                        <p:attrNameLst>
                                          <p:attrName>style.visibility</p:attrName>
                                        </p:attrNameLst>
                                      </p:cBhvr>
                                      <p:to>
                                        <p:strVal val="visible"/>
                                      </p:to>
                                    </p:set>
                                    <p:animEffect transition="in" filter="dissolve">
                                      <p:cBhvr>
                                        <p:cTn id="265" dur="2000"/>
                                        <p:tgtEl>
                                          <p:spTgt spid="69"/>
                                        </p:tgtEl>
                                      </p:cBhvr>
                                    </p:animEffect>
                                  </p:childTnLst>
                                </p:cTn>
                              </p:par>
                              <p:par>
                                <p:cTn id="266" presetID="9" presetClass="entr" presetSubtype="0" fill="hold" nodeType="withEffect">
                                  <p:stCondLst>
                                    <p:cond delay="0"/>
                                  </p:stCondLst>
                                  <p:childTnLst>
                                    <p:set>
                                      <p:cBhvr>
                                        <p:cTn id="267" dur="1" fill="hold">
                                          <p:stCondLst>
                                            <p:cond delay="0"/>
                                          </p:stCondLst>
                                        </p:cTn>
                                        <p:tgtEl>
                                          <p:spTgt spid="96"/>
                                        </p:tgtEl>
                                        <p:attrNameLst>
                                          <p:attrName>style.visibility</p:attrName>
                                        </p:attrNameLst>
                                      </p:cBhvr>
                                      <p:to>
                                        <p:strVal val="visible"/>
                                      </p:to>
                                    </p:set>
                                    <p:animEffect transition="in" filter="dissolve">
                                      <p:cBhvr>
                                        <p:cTn id="268" dur="2000"/>
                                        <p:tgtEl>
                                          <p:spTgt spid="96"/>
                                        </p:tgtEl>
                                      </p:cBhvr>
                                    </p:animEffect>
                                  </p:childTnLst>
                                </p:cTn>
                              </p:par>
                              <p:par>
                                <p:cTn id="269" presetID="9" presetClass="entr" presetSubtype="0" fill="hold" nodeType="withEffect">
                                  <p:stCondLst>
                                    <p:cond delay="0"/>
                                  </p:stCondLst>
                                  <p:childTnLst>
                                    <p:set>
                                      <p:cBhvr>
                                        <p:cTn id="270" dur="1" fill="hold">
                                          <p:stCondLst>
                                            <p:cond delay="0"/>
                                          </p:stCondLst>
                                        </p:cTn>
                                        <p:tgtEl>
                                          <p:spTgt spid="106"/>
                                        </p:tgtEl>
                                        <p:attrNameLst>
                                          <p:attrName>style.visibility</p:attrName>
                                        </p:attrNameLst>
                                      </p:cBhvr>
                                      <p:to>
                                        <p:strVal val="visible"/>
                                      </p:to>
                                    </p:set>
                                    <p:animEffect transition="in" filter="dissolve">
                                      <p:cBhvr>
                                        <p:cTn id="271" dur="2000"/>
                                        <p:tgtEl>
                                          <p:spTgt spid="106"/>
                                        </p:tgtEl>
                                      </p:cBhvr>
                                    </p:animEffect>
                                  </p:childTnLst>
                                </p:cTn>
                              </p:par>
                              <p:par>
                                <p:cTn id="272" presetID="9" presetClass="entr" presetSubtype="0" fill="hold" nodeType="withEffect">
                                  <p:stCondLst>
                                    <p:cond delay="0"/>
                                  </p:stCondLst>
                                  <p:childTnLst>
                                    <p:set>
                                      <p:cBhvr>
                                        <p:cTn id="273" dur="1" fill="hold">
                                          <p:stCondLst>
                                            <p:cond delay="0"/>
                                          </p:stCondLst>
                                        </p:cTn>
                                        <p:tgtEl>
                                          <p:spTgt spid="75"/>
                                        </p:tgtEl>
                                        <p:attrNameLst>
                                          <p:attrName>style.visibility</p:attrName>
                                        </p:attrNameLst>
                                      </p:cBhvr>
                                      <p:to>
                                        <p:strVal val="visible"/>
                                      </p:to>
                                    </p:set>
                                    <p:animEffect transition="in" filter="dissolve">
                                      <p:cBhvr>
                                        <p:cTn id="274" dur="2000"/>
                                        <p:tgtEl>
                                          <p:spTgt spid="75"/>
                                        </p:tgtEl>
                                      </p:cBhvr>
                                    </p:animEffect>
                                  </p:childTnLst>
                                </p:cTn>
                              </p:par>
                              <p:par>
                                <p:cTn id="275" presetID="9" presetClass="entr" presetSubtype="0" fill="hold" nodeType="withEffect">
                                  <p:stCondLst>
                                    <p:cond delay="0"/>
                                  </p:stCondLst>
                                  <p:childTnLst>
                                    <p:set>
                                      <p:cBhvr>
                                        <p:cTn id="276" dur="1" fill="hold">
                                          <p:stCondLst>
                                            <p:cond delay="0"/>
                                          </p:stCondLst>
                                        </p:cTn>
                                        <p:tgtEl>
                                          <p:spTgt spid="92"/>
                                        </p:tgtEl>
                                        <p:attrNameLst>
                                          <p:attrName>style.visibility</p:attrName>
                                        </p:attrNameLst>
                                      </p:cBhvr>
                                      <p:to>
                                        <p:strVal val="visible"/>
                                      </p:to>
                                    </p:set>
                                    <p:animEffect transition="in" filter="dissolve">
                                      <p:cBhvr>
                                        <p:cTn id="277" dur="2000"/>
                                        <p:tgtEl>
                                          <p:spTgt spid="92"/>
                                        </p:tgtEl>
                                      </p:cBhvr>
                                    </p:animEffect>
                                  </p:childTnLst>
                                </p:cTn>
                              </p:par>
                              <p:par>
                                <p:cTn id="278" presetID="9" presetClass="entr" presetSubtype="0" fill="hold" nodeType="withEffect">
                                  <p:stCondLst>
                                    <p:cond delay="0"/>
                                  </p:stCondLst>
                                  <p:childTnLst>
                                    <p:set>
                                      <p:cBhvr>
                                        <p:cTn id="279" dur="1" fill="hold">
                                          <p:stCondLst>
                                            <p:cond delay="0"/>
                                          </p:stCondLst>
                                        </p:cTn>
                                        <p:tgtEl>
                                          <p:spTgt spid="109"/>
                                        </p:tgtEl>
                                        <p:attrNameLst>
                                          <p:attrName>style.visibility</p:attrName>
                                        </p:attrNameLst>
                                      </p:cBhvr>
                                      <p:to>
                                        <p:strVal val="visible"/>
                                      </p:to>
                                    </p:set>
                                    <p:animEffect transition="in" filter="dissolve">
                                      <p:cBhvr>
                                        <p:cTn id="280" dur="2000"/>
                                        <p:tgtEl>
                                          <p:spTgt spid="109"/>
                                        </p:tgtEl>
                                      </p:cBhvr>
                                    </p:animEffect>
                                  </p:childTnLst>
                                </p:cTn>
                              </p:par>
                              <p:par>
                                <p:cTn id="281" presetID="9" presetClass="entr" presetSubtype="0" fill="hold" nodeType="withEffect">
                                  <p:stCondLst>
                                    <p:cond delay="0"/>
                                  </p:stCondLst>
                                  <p:childTnLst>
                                    <p:set>
                                      <p:cBhvr>
                                        <p:cTn id="282" dur="1" fill="hold">
                                          <p:stCondLst>
                                            <p:cond delay="0"/>
                                          </p:stCondLst>
                                        </p:cTn>
                                        <p:tgtEl>
                                          <p:spTgt spid="78"/>
                                        </p:tgtEl>
                                        <p:attrNameLst>
                                          <p:attrName>style.visibility</p:attrName>
                                        </p:attrNameLst>
                                      </p:cBhvr>
                                      <p:to>
                                        <p:strVal val="visible"/>
                                      </p:to>
                                    </p:set>
                                    <p:animEffect transition="in" filter="dissolve">
                                      <p:cBhvr>
                                        <p:cTn id="283" dur="2000"/>
                                        <p:tgtEl>
                                          <p:spTgt spid="78"/>
                                        </p:tgtEl>
                                      </p:cBhvr>
                                    </p:animEffect>
                                  </p:childTnLst>
                                </p:cTn>
                              </p:par>
                              <p:par>
                                <p:cTn id="284" presetID="9" presetClass="entr" presetSubtype="0" fill="hold" nodeType="withEffect">
                                  <p:stCondLst>
                                    <p:cond delay="0"/>
                                  </p:stCondLst>
                                  <p:childTnLst>
                                    <p:set>
                                      <p:cBhvr>
                                        <p:cTn id="285" dur="1" fill="hold">
                                          <p:stCondLst>
                                            <p:cond delay="0"/>
                                          </p:stCondLst>
                                        </p:cTn>
                                        <p:tgtEl>
                                          <p:spTgt spid="104"/>
                                        </p:tgtEl>
                                        <p:attrNameLst>
                                          <p:attrName>style.visibility</p:attrName>
                                        </p:attrNameLst>
                                      </p:cBhvr>
                                      <p:to>
                                        <p:strVal val="visible"/>
                                      </p:to>
                                    </p:set>
                                    <p:animEffect transition="in" filter="dissolve">
                                      <p:cBhvr>
                                        <p:cTn id="286" dur="2000"/>
                                        <p:tgtEl>
                                          <p:spTgt spid="104"/>
                                        </p:tgtEl>
                                      </p:cBhvr>
                                    </p:animEffect>
                                  </p:childTnLst>
                                </p:cTn>
                              </p:par>
                              <p:par>
                                <p:cTn id="287" presetID="9" presetClass="entr" presetSubtype="0" fill="hold" nodeType="withEffect">
                                  <p:stCondLst>
                                    <p:cond delay="0"/>
                                  </p:stCondLst>
                                  <p:childTnLst>
                                    <p:set>
                                      <p:cBhvr>
                                        <p:cTn id="288" dur="1" fill="hold">
                                          <p:stCondLst>
                                            <p:cond delay="0"/>
                                          </p:stCondLst>
                                        </p:cTn>
                                        <p:tgtEl>
                                          <p:spTgt spid="68"/>
                                        </p:tgtEl>
                                        <p:attrNameLst>
                                          <p:attrName>style.visibility</p:attrName>
                                        </p:attrNameLst>
                                      </p:cBhvr>
                                      <p:to>
                                        <p:strVal val="visible"/>
                                      </p:to>
                                    </p:set>
                                    <p:animEffect transition="in" filter="dissolve">
                                      <p:cBhvr>
                                        <p:cTn id="289" dur="2000"/>
                                        <p:tgtEl>
                                          <p:spTgt spid="68"/>
                                        </p:tgtEl>
                                      </p:cBhvr>
                                    </p:animEffect>
                                  </p:childTnLst>
                                </p:cTn>
                              </p:par>
                              <p:par>
                                <p:cTn id="290" presetID="9" presetClass="entr" presetSubtype="0" fill="hold" nodeType="withEffect">
                                  <p:stCondLst>
                                    <p:cond delay="0"/>
                                  </p:stCondLst>
                                  <p:childTnLst>
                                    <p:set>
                                      <p:cBhvr>
                                        <p:cTn id="291" dur="1" fill="hold">
                                          <p:stCondLst>
                                            <p:cond delay="0"/>
                                          </p:stCondLst>
                                        </p:cTn>
                                        <p:tgtEl>
                                          <p:spTgt spid="74"/>
                                        </p:tgtEl>
                                        <p:attrNameLst>
                                          <p:attrName>style.visibility</p:attrName>
                                        </p:attrNameLst>
                                      </p:cBhvr>
                                      <p:to>
                                        <p:strVal val="visible"/>
                                      </p:to>
                                    </p:set>
                                    <p:animEffect transition="in" filter="dissolve">
                                      <p:cBhvr>
                                        <p:cTn id="292" dur="2000"/>
                                        <p:tgtEl>
                                          <p:spTgt spid="74"/>
                                        </p:tgtEl>
                                      </p:cBhvr>
                                    </p:animEffect>
                                  </p:childTnLst>
                                </p:cTn>
                              </p:par>
                              <p:par>
                                <p:cTn id="293" presetID="9" presetClass="entr" presetSubtype="0" fill="hold" nodeType="withEffect">
                                  <p:stCondLst>
                                    <p:cond delay="0"/>
                                  </p:stCondLst>
                                  <p:childTnLst>
                                    <p:set>
                                      <p:cBhvr>
                                        <p:cTn id="294" dur="1" fill="hold">
                                          <p:stCondLst>
                                            <p:cond delay="0"/>
                                          </p:stCondLst>
                                        </p:cTn>
                                        <p:tgtEl>
                                          <p:spTgt spid="107"/>
                                        </p:tgtEl>
                                        <p:attrNameLst>
                                          <p:attrName>style.visibility</p:attrName>
                                        </p:attrNameLst>
                                      </p:cBhvr>
                                      <p:to>
                                        <p:strVal val="visible"/>
                                      </p:to>
                                    </p:set>
                                    <p:animEffect transition="in" filter="dissolve">
                                      <p:cBhvr>
                                        <p:cTn id="295" dur="2000"/>
                                        <p:tgtEl>
                                          <p:spTgt spid="107"/>
                                        </p:tgtEl>
                                      </p:cBhvr>
                                    </p:animEffect>
                                  </p:childTnLst>
                                </p:cTn>
                              </p:par>
                              <p:par>
                                <p:cTn id="296" presetID="9" presetClass="entr" presetSubtype="0" fill="hold" nodeType="withEffect">
                                  <p:stCondLst>
                                    <p:cond delay="0"/>
                                  </p:stCondLst>
                                  <p:childTnLst>
                                    <p:set>
                                      <p:cBhvr>
                                        <p:cTn id="297" dur="1" fill="hold">
                                          <p:stCondLst>
                                            <p:cond delay="0"/>
                                          </p:stCondLst>
                                        </p:cTn>
                                        <p:tgtEl>
                                          <p:spTgt spid="64"/>
                                        </p:tgtEl>
                                        <p:attrNameLst>
                                          <p:attrName>style.visibility</p:attrName>
                                        </p:attrNameLst>
                                      </p:cBhvr>
                                      <p:to>
                                        <p:strVal val="visible"/>
                                      </p:to>
                                    </p:set>
                                    <p:animEffect transition="in" filter="dissolve">
                                      <p:cBhvr>
                                        <p:cTn id="298" dur="2000"/>
                                        <p:tgtEl>
                                          <p:spTgt spid="64"/>
                                        </p:tgtEl>
                                      </p:cBhvr>
                                    </p:animEffect>
                                  </p:childTnLst>
                                </p:cTn>
                              </p:par>
                              <p:par>
                                <p:cTn id="299" presetID="9" presetClass="entr" presetSubtype="0" fill="hold" nodeType="withEffect">
                                  <p:stCondLst>
                                    <p:cond delay="0"/>
                                  </p:stCondLst>
                                  <p:childTnLst>
                                    <p:set>
                                      <p:cBhvr>
                                        <p:cTn id="300" dur="1" fill="hold">
                                          <p:stCondLst>
                                            <p:cond delay="0"/>
                                          </p:stCondLst>
                                        </p:cTn>
                                        <p:tgtEl>
                                          <p:spTgt spid="93"/>
                                        </p:tgtEl>
                                        <p:attrNameLst>
                                          <p:attrName>style.visibility</p:attrName>
                                        </p:attrNameLst>
                                      </p:cBhvr>
                                      <p:to>
                                        <p:strVal val="visible"/>
                                      </p:to>
                                    </p:set>
                                    <p:animEffect transition="in" filter="dissolve">
                                      <p:cBhvr>
                                        <p:cTn id="301" dur="2000"/>
                                        <p:tgtEl>
                                          <p:spTgt spid="93"/>
                                        </p:tgtEl>
                                      </p:cBhvr>
                                    </p:animEffect>
                                  </p:childTnLst>
                                </p:cTn>
                              </p:par>
                              <p:par>
                                <p:cTn id="302" presetID="9" presetClass="entr" presetSubtype="0" fill="hold" nodeType="withEffect">
                                  <p:stCondLst>
                                    <p:cond delay="0"/>
                                  </p:stCondLst>
                                  <p:childTnLst>
                                    <p:set>
                                      <p:cBhvr>
                                        <p:cTn id="303" dur="1" fill="hold">
                                          <p:stCondLst>
                                            <p:cond delay="0"/>
                                          </p:stCondLst>
                                        </p:cTn>
                                        <p:tgtEl>
                                          <p:spTgt spid="102"/>
                                        </p:tgtEl>
                                        <p:attrNameLst>
                                          <p:attrName>style.visibility</p:attrName>
                                        </p:attrNameLst>
                                      </p:cBhvr>
                                      <p:to>
                                        <p:strVal val="visible"/>
                                      </p:to>
                                    </p:set>
                                    <p:animEffect transition="in" filter="dissolve">
                                      <p:cBhvr>
                                        <p:cTn id="304" dur="2000"/>
                                        <p:tgtEl>
                                          <p:spTgt spid="102"/>
                                        </p:tgtEl>
                                      </p:cBhvr>
                                    </p:animEffect>
                                  </p:childTnLst>
                                </p:cTn>
                              </p:par>
                              <p:par>
                                <p:cTn id="305" presetID="9" presetClass="entr" presetSubtype="0" fill="hold" nodeType="withEffect">
                                  <p:stCondLst>
                                    <p:cond delay="0"/>
                                  </p:stCondLst>
                                  <p:childTnLst>
                                    <p:set>
                                      <p:cBhvr>
                                        <p:cTn id="306" dur="1" fill="hold">
                                          <p:stCondLst>
                                            <p:cond delay="0"/>
                                          </p:stCondLst>
                                        </p:cTn>
                                        <p:tgtEl>
                                          <p:spTgt spid="65"/>
                                        </p:tgtEl>
                                        <p:attrNameLst>
                                          <p:attrName>style.visibility</p:attrName>
                                        </p:attrNameLst>
                                      </p:cBhvr>
                                      <p:to>
                                        <p:strVal val="visible"/>
                                      </p:to>
                                    </p:set>
                                    <p:animEffect transition="in" filter="dissolve">
                                      <p:cBhvr>
                                        <p:cTn id="307" dur="2000"/>
                                        <p:tgtEl>
                                          <p:spTgt spid="65"/>
                                        </p:tgtEl>
                                      </p:cBhvr>
                                    </p:animEffect>
                                  </p:childTnLst>
                                </p:cTn>
                              </p:par>
                              <p:par>
                                <p:cTn id="308" presetID="9" presetClass="entr" presetSubtype="0" fill="hold" nodeType="withEffect">
                                  <p:stCondLst>
                                    <p:cond delay="0"/>
                                  </p:stCondLst>
                                  <p:childTnLst>
                                    <p:set>
                                      <p:cBhvr>
                                        <p:cTn id="309" dur="1" fill="hold">
                                          <p:stCondLst>
                                            <p:cond delay="0"/>
                                          </p:stCondLst>
                                        </p:cTn>
                                        <p:tgtEl>
                                          <p:spTgt spid="95"/>
                                        </p:tgtEl>
                                        <p:attrNameLst>
                                          <p:attrName>style.visibility</p:attrName>
                                        </p:attrNameLst>
                                      </p:cBhvr>
                                      <p:to>
                                        <p:strVal val="visible"/>
                                      </p:to>
                                    </p:set>
                                    <p:animEffect transition="in" filter="dissolve">
                                      <p:cBhvr>
                                        <p:cTn id="310" dur="2000"/>
                                        <p:tgtEl>
                                          <p:spTgt spid="95"/>
                                        </p:tgtEl>
                                      </p:cBhvr>
                                    </p:animEffect>
                                  </p:childTnLst>
                                </p:cTn>
                              </p:par>
                            </p:childTnLst>
                          </p:cTn>
                        </p:par>
                      </p:childTnLst>
                    </p:cTn>
                  </p:par>
                  <p:par>
                    <p:cTn id="311" fill="hold">
                      <p:stCondLst>
                        <p:cond delay="indefinite"/>
                      </p:stCondLst>
                      <p:childTnLst>
                        <p:par>
                          <p:cTn id="312" fill="hold">
                            <p:stCondLst>
                              <p:cond delay="0"/>
                            </p:stCondLst>
                            <p:childTnLst>
                              <p:par>
                                <p:cTn id="313" presetID="9" presetClass="entr" presetSubtype="0" fill="hold" nodeType="clickEffect">
                                  <p:stCondLst>
                                    <p:cond delay="0"/>
                                  </p:stCondLst>
                                  <p:childTnLst>
                                    <p:set>
                                      <p:cBhvr>
                                        <p:cTn id="314" dur="1" fill="hold">
                                          <p:stCondLst>
                                            <p:cond delay="0"/>
                                          </p:stCondLst>
                                        </p:cTn>
                                        <p:tgtEl>
                                          <p:spTgt spid="108"/>
                                        </p:tgtEl>
                                        <p:attrNameLst>
                                          <p:attrName>style.visibility</p:attrName>
                                        </p:attrNameLst>
                                      </p:cBhvr>
                                      <p:to>
                                        <p:strVal val="visible"/>
                                      </p:to>
                                    </p:set>
                                    <p:animEffect transition="in" filter="dissolve">
                                      <p:cBhvr>
                                        <p:cTn id="315" dur="2000"/>
                                        <p:tgtEl>
                                          <p:spTgt spid="108"/>
                                        </p:tgtEl>
                                      </p:cBhvr>
                                    </p:animEffect>
                                  </p:childTnLst>
                                </p:cTn>
                              </p:par>
                              <p:par>
                                <p:cTn id="316" presetID="9" presetClass="entr" presetSubtype="0" fill="hold" nodeType="withEffect">
                                  <p:stCondLst>
                                    <p:cond delay="0"/>
                                  </p:stCondLst>
                                  <p:childTnLst>
                                    <p:set>
                                      <p:cBhvr>
                                        <p:cTn id="317" dur="1" fill="hold">
                                          <p:stCondLst>
                                            <p:cond delay="0"/>
                                          </p:stCondLst>
                                        </p:cTn>
                                        <p:tgtEl>
                                          <p:spTgt spid="66"/>
                                        </p:tgtEl>
                                        <p:attrNameLst>
                                          <p:attrName>style.visibility</p:attrName>
                                        </p:attrNameLst>
                                      </p:cBhvr>
                                      <p:to>
                                        <p:strVal val="visible"/>
                                      </p:to>
                                    </p:set>
                                    <p:animEffect transition="in" filter="dissolve">
                                      <p:cBhvr>
                                        <p:cTn id="318" dur="2000"/>
                                        <p:tgtEl>
                                          <p:spTgt spid="66"/>
                                        </p:tgtEl>
                                      </p:cBhvr>
                                    </p:animEffect>
                                  </p:childTnLst>
                                </p:cTn>
                              </p:par>
                              <p:par>
                                <p:cTn id="319" presetID="9" presetClass="entr" presetSubtype="0" fill="hold" nodeType="withEffect">
                                  <p:stCondLst>
                                    <p:cond delay="0"/>
                                  </p:stCondLst>
                                  <p:childTnLst>
                                    <p:set>
                                      <p:cBhvr>
                                        <p:cTn id="320" dur="1" fill="hold">
                                          <p:stCondLst>
                                            <p:cond delay="0"/>
                                          </p:stCondLst>
                                        </p:cTn>
                                        <p:tgtEl>
                                          <p:spTgt spid="85"/>
                                        </p:tgtEl>
                                        <p:attrNameLst>
                                          <p:attrName>style.visibility</p:attrName>
                                        </p:attrNameLst>
                                      </p:cBhvr>
                                      <p:to>
                                        <p:strVal val="visible"/>
                                      </p:to>
                                    </p:set>
                                    <p:animEffect transition="in" filter="dissolve">
                                      <p:cBhvr>
                                        <p:cTn id="321" dur="2000"/>
                                        <p:tgtEl>
                                          <p:spTgt spid="85"/>
                                        </p:tgtEl>
                                      </p:cBhvr>
                                    </p:animEffect>
                                  </p:childTnLst>
                                </p:cTn>
                              </p:par>
                              <p:par>
                                <p:cTn id="322" presetID="9" presetClass="entr" presetSubtype="0" fill="hold" nodeType="withEffect">
                                  <p:stCondLst>
                                    <p:cond delay="0"/>
                                  </p:stCondLst>
                                  <p:childTnLst>
                                    <p:set>
                                      <p:cBhvr>
                                        <p:cTn id="323" dur="1" fill="hold">
                                          <p:stCondLst>
                                            <p:cond delay="0"/>
                                          </p:stCondLst>
                                        </p:cTn>
                                        <p:tgtEl>
                                          <p:spTgt spid="84"/>
                                        </p:tgtEl>
                                        <p:attrNameLst>
                                          <p:attrName>style.visibility</p:attrName>
                                        </p:attrNameLst>
                                      </p:cBhvr>
                                      <p:to>
                                        <p:strVal val="visible"/>
                                      </p:to>
                                    </p:set>
                                    <p:animEffect transition="in" filter="dissolve">
                                      <p:cBhvr>
                                        <p:cTn id="324" dur="2000"/>
                                        <p:tgtEl>
                                          <p:spTgt spid="84"/>
                                        </p:tgtEl>
                                      </p:cBhvr>
                                    </p:animEffect>
                                  </p:childTnLst>
                                </p:cTn>
                              </p:par>
                              <p:par>
                                <p:cTn id="325" presetID="9" presetClass="entr" presetSubtype="0" fill="hold" nodeType="withEffect">
                                  <p:stCondLst>
                                    <p:cond delay="0"/>
                                  </p:stCondLst>
                                  <p:childTnLst>
                                    <p:set>
                                      <p:cBhvr>
                                        <p:cTn id="326" dur="1" fill="hold">
                                          <p:stCondLst>
                                            <p:cond delay="0"/>
                                          </p:stCondLst>
                                        </p:cTn>
                                        <p:tgtEl>
                                          <p:spTgt spid="73"/>
                                        </p:tgtEl>
                                        <p:attrNameLst>
                                          <p:attrName>style.visibility</p:attrName>
                                        </p:attrNameLst>
                                      </p:cBhvr>
                                      <p:to>
                                        <p:strVal val="visible"/>
                                      </p:to>
                                    </p:set>
                                    <p:animEffect transition="in" filter="dissolve">
                                      <p:cBhvr>
                                        <p:cTn id="327" dur="2000"/>
                                        <p:tgtEl>
                                          <p:spTgt spid="73"/>
                                        </p:tgtEl>
                                      </p:cBhvr>
                                    </p:animEffect>
                                  </p:childTnLst>
                                </p:cTn>
                              </p:par>
                              <p:par>
                                <p:cTn id="328" presetID="9" presetClass="entr" presetSubtype="0" fill="hold" nodeType="withEffect">
                                  <p:stCondLst>
                                    <p:cond delay="0"/>
                                  </p:stCondLst>
                                  <p:childTnLst>
                                    <p:set>
                                      <p:cBhvr>
                                        <p:cTn id="329" dur="1" fill="hold">
                                          <p:stCondLst>
                                            <p:cond delay="0"/>
                                          </p:stCondLst>
                                        </p:cTn>
                                        <p:tgtEl>
                                          <p:spTgt spid="61"/>
                                        </p:tgtEl>
                                        <p:attrNameLst>
                                          <p:attrName>style.visibility</p:attrName>
                                        </p:attrNameLst>
                                      </p:cBhvr>
                                      <p:to>
                                        <p:strVal val="visible"/>
                                      </p:to>
                                    </p:set>
                                    <p:animEffect transition="in" filter="dissolve">
                                      <p:cBhvr>
                                        <p:cTn id="330" dur="2000"/>
                                        <p:tgtEl>
                                          <p:spTgt spid="61"/>
                                        </p:tgtEl>
                                      </p:cBhvr>
                                    </p:animEffect>
                                  </p:childTnLst>
                                </p:cTn>
                              </p:par>
                              <p:par>
                                <p:cTn id="331" presetID="9" presetClass="entr" presetSubtype="0" fill="hold" nodeType="withEffect">
                                  <p:stCondLst>
                                    <p:cond delay="0"/>
                                  </p:stCondLst>
                                  <p:childTnLst>
                                    <p:set>
                                      <p:cBhvr>
                                        <p:cTn id="332" dur="1" fill="hold">
                                          <p:stCondLst>
                                            <p:cond delay="0"/>
                                          </p:stCondLst>
                                        </p:cTn>
                                        <p:tgtEl>
                                          <p:spTgt spid="70"/>
                                        </p:tgtEl>
                                        <p:attrNameLst>
                                          <p:attrName>style.visibility</p:attrName>
                                        </p:attrNameLst>
                                      </p:cBhvr>
                                      <p:to>
                                        <p:strVal val="visible"/>
                                      </p:to>
                                    </p:set>
                                    <p:animEffect transition="in" filter="dissolve">
                                      <p:cBhvr>
                                        <p:cTn id="333" dur="2000"/>
                                        <p:tgtEl>
                                          <p:spTgt spid="70"/>
                                        </p:tgtEl>
                                      </p:cBhvr>
                                    </p:animEffect>
                                  </p:childTnLst>
                                </p:cTn>
                              </p:par>
                              <p:par>
                                <p:cTn id="334" presetID="9" presetClass="entr" presetSubtype="0" fill="hold" nodeType="withEffect">
                                  <p:stCondLst>
                                    <p:cond delay="0"/>
                                  </p:stCondLst>
                                  <p:childTnLst>
                                    <p:set>
                                      <p:cBhvr>
                                        <p:cTn id="335" dur="1" fill="hold">
                                          <p:stCondLst>
                                            <p:cond delay="0"/>
                                          </p:stCondLst>
                                        </p:cTn>
                                        <p:tgtEl>
                                          <p:spTgt spid="90"/>
                                        </p:tgtEl>
                                        <p:attrNameLst>
                                          <p:attrName>style.visibility</p:attrName>
                                        </p:attrNameLst>
                                      </p:cBhvr>
                                      <p:to>
                                        <p:strVal val="visible"/>
                                      </p:to>
                                    </p:set>
                                    <p:animEffect transition="in" filter="dissolve">
                                      <p:cBhvr>
                                        <p:cTn id="336" dur="2000"/>
                                        <p:tgtEl>
                                          <p:spTgt spid="90"/>
                                        </p:tgtEl>
                                      </p:cBhvr>
                                    </p:animEffect>
                                  </p:childTnLst>
                                </p:cTn>
                              </p:par>
                              <p:par>
                                <p:cTn id="337" presetID="9" presetClass="entr" presetSubtype="0" fill="hold" nodeType="withEffect">
                                  <p:stCondLst>
                                    <p:cond delay="0"/>
                                  </p:stCondLst>
                                  <p:childTnLst>
                                    <p:set>
                                      <p:cBhvr>
                                        <p:cTn id="338" dur="1" fill="hold">
                                          <p:stCondLst>
                                            <p:cond delay="0"/>
                                          </p:stCondLst>
                                        </p:cTn>
                                        <p:tgtEl>
                                          <p:spTgt spid="77"/>
                                        </p:tgtEl>
                                        <p:attrNameLst>
                                          <p:attrName>style.visibility</p:attrName>
                                        </p:attrNameLst>
                                      </p:cBhvr>
                                      <p:to>
                                        <p:strVal val="visible"/>
                                      </p:to>
                                    </p:set>
                                    <p:animEffect transition="in" filter="dissolve">
                                      <p:cBhvr>
                                        <p:cTn id="339" dur="2000"/>
                                        <p:tgtEl>
                                          <p:spTgt spid="77"/>
                                        </p:tgtEl>
                                      </p:cBhvr>
                                    </p:animEffect>
                                  </p:childTnLst>
                                </p:cTn>
                              </p:par>
                              <p:par>
                                <p:cTn id="340" presetID="9" presetClass="entr" presetSubtype="0" fill="hold" nodeType="withEffect">
                                  <p:stCondLst>
                                    <p:cond delay="0"/>
                                  </p:stCondLst>
                                  <p:childTnLst>
                                    <p:set>
                                      <p:cBhvr>
                                        <p:cTn id="341" dur="1" fill="hold">
                                          <p:stCondLst>
                                            <p:cond delay="0"/>
                                          </p:stCondLst>
                                        </p:cTn>
                                        <p:tgtEl>
                                          <p:spTgt spid="76"/>
                                        </p:tgtEl>
                                        <p:attrNameLst>
                                          <p:attrName>style.visibility</p:attrName>
                                        </p:attrNameLst>
                                      </p:cBhvr>
                                      <p:to>
                                        <p:strVal val="visible"/>
                                      </p:to>
                                    </p:set>
                                    <p:animEffect transition="in" filter="dissolve">
                                      <p:cBhvr>
                                        <p:cTn id="342" dur="2000"/>
                                        <p:tgtEl>
                                          <p:spTgt spid="76"/>
                                        </p:tgtEl>
                                      </p:cBhvr>
                                    </p:animEffect>
                                  </p:childTnLst>
                                </p:cTn>
                              </p:par>
                              <p:par>
                                <p:cTn id="343" presetID="9" presetClass="entr" presetSubtype="0" fill="hold" nodeType="withEffect">
                                  <p:stCondLst>
                                    <p:cond delay="0"/>
                                  </p:stCondLst>
                                  <p:childTnLst>
                                    <p:set>
                                      <p:cBhvr>
                                        <p:cTn id="344" dur="1" fill="hold">
                                          <p:stCondLst>
                                            <p:cond delay="0"/>
                                          </p:stCondLst>
                                        </p:cTn>
                                        <p:tgtEl>
                                          <p:spTgt spid="72"/>
                                        </p:tgtEl>
                                        <p:attrNameLst>
                                          <p:attrName>style.visibility</p:attrName>
                                        </p:attrNameLst>
                                      </p:cBhvr>
                                      <p:to>
                                        <p:strVal val="visible"/>
                                      </p:to>
                                    </p:set>
                                    <p:animEffect transition="in" filter="dissolve">
                                      <p:cBhvr>
                                        <p:cTn id="345" dur="2000"/>
                                        <p:tgtEl>
                                          <p:spTgt spid="72"/>
                                        </p:tgtEl>
                                      </p:cBhvr>
                                    </p:animEffect>
                                  </p:childTnLst>
                                </p:cTn>
                              </p:par>
                              <p:par>
                                <p:cTn id="346" presetID="9" presetClass="entr" presetSubtype="0" fill="hold" nodeType="withEffect">
                                  <p:stCondLst>
                                    <p:cond delay="0"/>
                                  </p:stCondLst>
                                  <p:childTnLst>
                                    <p:set>
                                      <p:cBhvr>
                                        <p:cTn id="347" dur="1" fill="hold">
                                          <p:stCondLst>
                                            <p:cond delay="0"/>
                                          </p:stCondLst>
                                        </p:cTn>
                                        <p:tgtEl>
                                          <p:spTgt spid="82"/>
                                        </p:tgtEl>
                                        <p:attrNameLst>
                                          <p:attrName>style.visibility</p:attrName>
                                        </p:attrNameLst>
                                      </p:cBhvr>
                                      <p:to>
                                        <p:strVal val="visible"/>
                                      </p:to>
                                    </p:set>
                                    <p:animEffect transition="in" filter="dissolve">
                                      <p:cBhvr>
                                        <p:cTn id="348" dur="20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b="1" dirty="0" smtClean="0">
              <a:solidFill>
                <a:srgbClr val="000000"/>
              </a:solidFill>
            </a:endParaRPr>
          </a:p>
        </p:txBody>
      </p:sp>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7" name="Grafik 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smtClean="0"/>
              <a:t>Please insert Unrestrictedity note</a:t>
            </a:r>
            <a:endParaRPr lang="de-DE" dirty="0" smtClean="0"/>
          </a:p>
        </p:txBody>
      </p:sp>
      <p:grpSp>
        <p:nvGrpSpPr>
          <p:cNvPr id="5"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smtClean="0">
              <a:solidFill>
                <a:srgbClr val="000000"/>
              </a:solidFill>
            </a:endParaRPr>
          </a:p>
        </p:txBody>
      </p:sp>
      <p:sp>
        <p:nvSpPr>
          <p:cNvPr id="4" name="cdtText Placeholder 12 Id13"/>
          <p:cNvSpPr>
            <a:spLocks noGrp="1"/>
          </p:cNvSpPr>
          <p:nvPr>
            <p:ph type="body" sz="quarter" idx="14" hasCustomPrompt="1"/>
            <p:custDataLst>
              <p:tags r:id="rId2"/>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14799"/>
            <a:ext cx="4514400" cy="4751051"/>
          </a:xfrm>
        </p:spPr>
        <p:txBody>
          <a:bodyPr tIns="1800000"/>
          <a:lstStyle>
            <a:lvl1pPr algn="ctr">
              <a:defRPr/>
            </a:lvl1pPr>
          </a:lstStyle>
          <a:p>
            <a:endParaRPr lang="fr-FR" dirty="0"/>
          </a:p>
        </p:txBody>
      </p:sp>
    </p:spTree>
    <p:extLst>
      <p:ext uri="{BB962C8B-B14F-4D97-AF65-F5344CB8AC3E}">
        <p14:creationId xmlns:p14="http://schemas.microsoft.com/office/powerpoint/2010/main" val="150215478"/>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12874"/>
            <a:ext cx="3887914"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12874"/>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ustDataLst>
      <p:custData r:id="rId1"/>
    </p:custData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366034953"/>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endParaRPr lang="fr-FR" dirty="0"/>
          </a:p>
        </p:txBody>
      </p:sp>
    </p:spTree>
    <p:extLst>
      <p:ext uri="{BB962C8B-B14F-4D97-AF65-F5344CB8AC3E}">
        <p14:creationId xmlns:p14="http://schemas.microsoft.com/office/powerpoint/2010/main" val="331440804"/>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fr-FR" dirty="0"/>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4" name="cdtText Placeholder 12 Id13"/>
          <p:cNvSpPr>
            <a:spLocks noGrp="1"/>
          </p:cNvSpPr>
          <p:nvPr>
            <p:ph type="body" sz="quarter" idx="14" hasCustomPrompt="1"/>
            <p:custDataLst>
              <p:tags r:id="rId2"/>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14799"/>
            <a:ext cx="4514400" cy="4751051"/>
          </a:xfrm>
        </p:spPr>
        <p:txBody>
          <a:bodyPr tIns="1800000"/>
          <a:lstStyle>
            <a:lvl1pPr algn="ctr">
              <a:defRPr/>
            </a:lvl1pPr>
          </a:lstStyle>
          <a:p>
            <a:r>
              <a:rPr lang="en-US" smtClean="0"/>
              <a:t>Click icon to add picture</a:t>
            </a:r>
            <a:endParaRPr lang="fr-FR"/>
          </a:p>
        </p:txBody>
      </p:sp>
    </p:spTree>
    <p:extLst>
      <p:ext uri="{BB962C8B-B14F-4D97-AF65-F5344CB8AC3E}">
        <p14:creationId xmlns:p14="http://schemas.microsoft.com/office/powerpoint/2010/main" val="1502154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4800"/>
            <a:ext cx="12196800" cy="5443200"/>
          </a:xfrm>
        </p:spPr>
        <p:txBody>
          <a:bodyPr tIns="1800000"/>
          <a:lstStyle>
            <a:lvl1pPr algn="ctr">
              <a:defRPr/>
            </a:lvl1pPr>
          </a:lstStyle>
          <a:p>
            <a:endParaRPr lang="fr-FR" dirty="0"/>
          </a:p>
        </p:txBody>
      </p:sp>
    </p:spTree>
    <p:extLst>
      <p:ext uri="{BB962C8B-B14F-4D97-AF65-F5344CB8AC3E}">
        <p14:creationId xmlns:p14="http://schemas.microsoft.com/office/powerpoint/2010/main" val="293159480"/>
      </p:ext>
    </p:extLst>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6768000"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1607085948"/>
      </p:ext>
    </p:extLst>
  </p:cSld>
  <p:clrMapOvr>
    <a:masterClrMapping/>
  </p:clrMapOvr>
  <p:transition spd="slow"/>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12875"/>
            <a:ext cx="5472000" cy="2303463"/>
          </a:xfrm>
        </p:spPr>
        <p:txBody>
          <a:bodyPr tIns="648000"/>
          <a:lstStyle>
            <a:lvl1pPr algn="ctr">
              <a:defRPr/>
            </a:lvl1pPr>
          </a:lstStyle>
          <a:p>
            <a:endParaRPr lang="fr-FR" dirty="0"/>
          </a:p>
        </p:txBody>
      </p:sp>
      <p:sp>
        <p:nvSpPr>
          <p:cNvPr id="6" name="Bildplatzhalter 4"/>
          <p:cNvSpPr>
            <a:spLocks noGrp="1"/>
          </p:cNvSpPr>
          <p:nvPr>
            <p:ph type="pic" sz="quarter" idx="11"/>
          </p:nvPr>
        </p:nvSpPr>
        <p:spPr>
          <a:xfrm>
            <a:off x="6243637" y="3860801"/>
            <a:ext cx="5472000" cy="2305049"/>
          </a:xfrm>
        </p:spPr>
        <p:txBody>
          <a:bodyPr tIns="648000"/>
          <a:lstStyle>
            <a:lvl1pPr algn="ctr">
              <a:defRPr/>
            </a:lvl1pPr>
          </a:lstStyle>
          <a:p>
            <a:endParaRPr lang="fr-FR" dirty="0"/>
          </a:p>
        </p:txBody>
      </p:sp>
    </p:spTree>
    <p:extLst>
      <p:ext uri="{BB962C8B-B14F-4D97-AF65-F5344CB8AC3E}">
        <p14:creationId xmlns:p14="http://schemas.microsoft.com/office/powerpoint/2010/main" val="1734765545"/>
      </p:ext>
    </p:extLst>
  </p:cSld>
  <p:clrMapOvr>
    <a:masterClrMapping/>
  </p:clrMapOvr>
  <p:transition spd="slow"/>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360045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12877"/>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12875"/>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2557672274"/>
      </p:ext>
    </p:extLst>
  </p:cSld>
  <p:clrMapOvr>
    <a:masterClrMapping/>
  </p:clrMapOvr>
  <p:transition spd="slow"/>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13" name="cdtText Placeholder 12 Id13"/>
          <p:cNvSpPr>
            <a:spLocks noGrp="1"/>
          </p:cNvSpPr>
          <p:nvPr>
            <p:ph type="body" sz="quarter" idx="13" hasCustomPrompt="1"/>
            <p:custDataLst>
              <p:tags r:id="rId2"/>
            </p:custDataLst>
          </p:nvPr>
        </p:nvSpPr>
        <p:spPr>
          <a:xfrm>
            <a:off x="627063" y="1412874"/>
            <a:ext cx="3887914" cy="4752976"/>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cdtTextplatzhalter 12 Id5"/>
          <p:cNvSpPr>
            <a:spLocks noGrp="1"/>
          </p:cNvSpPr>
          <p:nvPr>
            <p:ph type="body" sz="quarter" idx="14" hasCustomPrompt="1"/>
            <p:custDataLst>
              <p:tags r:id="rId3"/>
            </p:custDataLst>
          </p:nvPr>
        </p:nvSpPr>
        <p:spPr bwMode="auto">
          <a:xfrm>
            <a:off x="4658995" y="1412874"/>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6768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259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0" y="1412873"/>
            <a:ext cx="2736775"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8" y="1412873"/>
            <a:ext cx="2592387"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7"/>
            <a:ext cx="4032000" cy="2303462"/>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12875"/>
            <a:ext cx="4032000"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3"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smtClean="0">
              <a:solidFill>
                <a:srgbClr val="000000"/>
              </a:solidFill>
            </a:endParaRPr>
          </a:p>
        </p:txBody>
      </p:sp>
      <p:sp>
        <p:nvSpPr>
          <p:cNvPr id="4" name="cdtText Placeholder 12 Id13"/>
          <p:cNvSpPr>
            <a:spLocks noGrp="1"/>
          </p:cNvSpPr>
          <p:nvPr>
            <p:ph type="body" sz="quarter" idx="14" hasCustomPrompt="1"/>
            <p:custDataLst>
              <p:tags r:id="rId2"/>
            </p:custDataLst>
          </p:nvPr>
        </p:nvSpPr>
        <p:spPr bwMode="auto">
          <a:xfrm>
            <a:off x="4658996" y="1412873"/>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pic>
        <p:nvPicPr>
          <p:cNvPr id="7" name="Grafik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30400" y="324000"/>
            <a:ext cx="1584000" cy="670123"/>
          </a:xfrm>
          <a:prstGeom prst="rect">
            <a:avLst/>
          </a:prstGeom>
        </p:spPr>
      </p:pic>
      <p:sp>
        <p:nvSpPr>
          <p:cNvPr id="8" name="Bildplatzhalter 7"/>
          <p:cNvSpPr>
            <a:spLocks noGrp="1"/>
          </p:cNvSpPr>
          <p:nvPr>
            <p:ph type="pic" sz="quarter" idx="15"/>
          </p:nvPr>
        </p:nvSpPr>
        <p:spPr>
          <a:xfrm>
            <a:off x="0" y="1412875"/>
            <a:ext cx="4514400" cy="4752975"/>
          </a:xfrm>
        </p:spPr>
        <p:txBody>
          <a:bodyPr tIns="1800000"/>
          <a:lstStyle>
            <a:lvl1pPr algn="ctr">
              <a:defRPr/>
            </a:lvl1pPr>
          </a:lstStyle>
          <a:p>
            <a:endParaRPr lang="fr-FR" dirty="0"/>
          </a:p>
        </p:txBody>
      </p:sp>
    </p:spTree>
    <p:extLst>
      <p:ext uri="{BB962C8B-B14F-4D97-AF65-F5344CB8AC3E}">
        <p14:creationId xmlns:p14="http://schemas.microsoft.com/office/powerpoint/2010/main" val="790332991"/>
      </p:ext>
    </p:extLst>
  </p:cSld>
  <p:clrMapOvr>
    <a:masterClrMapping/>
  </p:clrMapOvr>
  <p:transition spd="slow"/>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917" y="6356351"/>
            <a:ext cx="2846282" cy="365125"/>
          </a:xfrm>
          <a:prstGeom prst="rect">
            <a:avLst/>
          </a:prstGeom>
        </p:spPr>
        <p:txBody>
          <a:bodyPr/>
          <a:lstStyle/>
          <a:p>
            <a:fld id="{1906DB4D-9B98-431C-86BC-C7806F0951F5}" type="datetimeFigureOut">
              <a:rPr lang="en-US" smtClean="0">
                <a:solidFill>
                  <a:srgbClr val="ADBECB"/>
                </a:solidFill>
              </a:rPr>
              <a:pPr/>
              <a:t>3/14/2018</a:t>
            </a:fld>
            <a:endParaRPr lang="en-US">
              <a:solidFill>
                <a:srgbClr val="ADBECB"/>
              </a:solidFill>
            </a:endParaRPr>
          </a:p>
        </p:txBody>
      </p:sp>
      <p:sp>
        <p:nvSpPr>
          <p:cNvPr id="3" name="Footer Placeholder 2"/>
          <p:cNvSpPr>
            <a:spLocks noGrp="1"/>
          </p:cNvSpPr>
          <p:nvPr>
            <p:ph type="ftr" sz="quarter" idx="11"/>
          </p:nvPr>
        </p:nvSpPr>
        <p:spPr>
          <a:xfrm>
            <a:off x="4167770" y="6356351"/>
            <a:ext cx="3862811" cy="365125"/>
          </a:xfrm>
          <a:prstGeom prst="rect">
            <a:avLst/>
          </a:prstGeom>
        </p:spPr>
        <p:txBody>
          <a:bodyPr/>
          <a:lstStyle/>
          <a:p>
            <a:endParaRPr lang="en-US">
              <a:solidFill>
                <a:srgbClr val="ADBECB"/>
              </a:solidFill>
            </a:endParaRPr>
          </a:p>
        </p:txBody>
      </p:sp>
      <p:sp>
        <p:nvSpPr>
          <p:cNvPr id="4" name="Slide Number Placeholder 3"/>
          <p:cNvSpPr>
            <a:spLocks noGrp="1"/>
          </p:cNvSpPr>
          <p:nvPr>
            <p:ph type="sldNum" sz="quarter" idx="12"/>
          </p:nvPr>
        </p:nvSpPr>
        <p:spPr>
          <a:xfrm>
            <a:off x="8742151" y="6356351"/>
            <a:ext cx="2846282" cy="365125"/>
          </a:xfrm>
          <a:prstGeom prst="rect">
            <a:avLst/>
          </a:prstGeom>
        </p:spPr>
        <p:txBody>
          <a:bodyPr/>
          <a:lstStyle/>
          <a:p>
            <a:fld id="{B1139ABC-4738-48A6-96CB-9A4045781047}" type="slidenum">
              <a:rPr lang="en-US" smtClean="0">
                <a:solidFill>
                  <a:srgbClr val="ADBECB"/>
                </a:solidFill>
              </a:rPr>
              <a:pPr/>
              <a:t>‹#›</a:t>
            </a:fld>
            <a:endParaRPr lang="en-US">
              <a:solidFill>
                <a:srgbClr val="ADBECB"/>
              </a:solidFill>
            </a:endParaRPr>
          </a:p>
        </p:txBody>
      </p:sp>
    </p:spTree>
  </p:cSld>
  <p:clrMapOvr>
    <a:masterClrMapping/>
  </p:clrMapOvr>
  <p:transition spd="slow"/>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955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830388" y="3886200"/>
            <a:ext cx="853757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609600" y="6356350"/>
            <a:ext cx="2846388" cy="365125"/>
          </a:xfrm>
          <a:prstGeom prst="rect">
            <a:avLst/>
          </a:prstGeom>
        </p:spPr>
        <p:txBody>
          <a:bodyPr/>
          <a:lstStyle/>
          <a:p>
            <a:fld id="{D291B31E-7DC0-4FE2-AE1D-C8B1716AE80E}" type="datetimeFigureOut">
              <a:rPr lang="en-GB" smtClean="0">
                <a:solidFill>
                  <a:srgbClr val="ADBECB"/>
                </a:solidFill>
              </a:rPr>
              <a:pPr/>
              <a:t>14/03/2018</a:t>
            </a:fld>
            <a:endParaRPr lang="en-GB">
              <a:solidFill>
                <a:srgbClr val="ADBECB"/>
              </a:solidFill>
            </a:endParaRPr>
          </a:p>
        </p:txBody>
      </p:sp>
      <p:sp>
        <p:nvSpPr>
          <p:cNvPr id="5" name="Footer Placeholder 4"/>
          <p:cNvSpPr>
            <a:spLocks noGrp="1"/>
          </p:cNvSpPr>
          <p:nvPr>
            <p:ph type="ftr" sz="quarter" idx="11"/>
          </p:nvPr>
        </p:nvSpPr>
        <p:spPr>
          <a:xfrm>
            <a:off x="4167188" y="6356350"/>
            <a:ext cx="3863975" cy="365125"/>
          </a:xfrm>
          <a:prstGeom prst="rect">
            <a:avLst/>
          </a:prstGeom>
        </p:spPr>
        <p:txBody>
          <a:bodyPr/>
          <a:lstStyle/>
          <a:p>
            <a:endParaRPr lang="en-GB">
              <a:solidFill>
                <a:srgbClr val="ADBECB"/>
              </a:solidFill>
            </a:endParaRPr>
          </a:p>
        </p:txBody>
      </p:sp>
      <p:sp>
        <p:nvSpPr>
          <p:cNvPr id="6" name="Slide Number Placeholder 5"/>
          <p:cNvSpPr>
            <a:spLocks noGrp="1"/>
          </p:cNvSpPr>
          <p:nvPr>
            <p:ph type="sldNum" sz="quarter" idx="12"/>
          </p:nvPr>
        </p:nvSpPr>
        <p:spPr>
          <a:xfrm>
            <a:off x="8742363" y="6356350"/>
            <a:ext cx="2846387" cy="365125"/>
          </a:xfrm>
          <a:prstGeom prst="rect">
            <a:avLst/>
          </a:prstGeom>
        </p:spPr>
        <p:txBody>
          <a:bodyPr/>
          <a:lstStyle/>
          <a:p>
            <a:fld id="{04E628AF-7C1B-4375-AEB1-611E4DC37E64}" type="slidenum">
              <a:rPr lang="en-GB" smtClean="0">
                <a:solidFill>
                  <a:srgbClr val="ADBECB"/>
                </a:solidFill>
              </a:rPr>
              <a:pPr/>
              <a:t>‹#›</a:t>
            </a:fld>
            <a:endParaRPr lang="en-GB">
              <a:solidFill>
                <a:srgbClr val="ADBECB"/>
              </a:solidFill>
            </a:endParaRPr>
          </a:p>
        </p:txBody>
      </p:sp>
    </p:spTree>
    <p:extLst>
      <p:ext uri="{BB962C8B-B14F-4D97-AF65-F5344CB8AC3E}">
        <p14:creationId xmlns:p14="http://schemas.microsoft.com/office/powerpoint/2010/main" val="3066293135"/>
      </p:ext>
    </p:extLst>
  </p:cSld>
  <p:clrMapOvr>
    <a:masterClrMapping/>
  </p:clrMapOvr>
  <p:transition spd="slow"/>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picture 1">
    <p:spTree>
      <p:nvGrpSpPr>
        <p:cNvPr id="1" name=""/>
        <p:cNvGrpSpPr/>
        <p:nvPr/>
      </p:nvGrpSpPr>
      <p:grpSpPr>
        <a:xfrm>
          <a:off x="0" y="0"/>
          <a:ext cx="0" cy="0"/>
          <a:chOff x="0" y="0"/>
          <a:chExt cx="0" cy="0"/>
        </a:xfrm>
      </p:grpSpPr>
      <p:pic>
        <p:nvPicPr>
          <p:cNvPr id="32" name="Picture 1"/>
          <p:cNvPicPr>
            <a:picLocks noChangeAspect="1" noChangeArrowheads="1"/>
          </p:cNvPicPr>
          <p:nvPr userDrawn="1"/>
        </p:nvPicPr>
        <p:blipFill rotWithShape="1">
          <a:blip r:embed="rId4" cstate="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t="9808" r="7037" b="22168"/>
          <a:stretch/>
        </p:blipFill>
        <p:spPr bwMode="auto">
          <a:xfrm>
            <a:off x="0" y="1"/>
            <a:ext cx="12198350" cy="720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a:t>
            </a:r>
            <a:r>
              <a:rPr lang="de-DE" dirty="0" err="1" smtClean="0"/>
              <a:t>confidentiality</a:t>
            </a:r>
            <a:r>
              <a:rPr lang="de-DE" dirty="0" smtClean="0"/>
              <a:t> </a:t>
            </a:r>
            <a:r>
              <a:rPr lang="de-DE" dirty="0" err="1" smtClean="0"/>
              <a:t>note</a:t>
            </a:r>
            <a:endParaRPr lang="de-DE" dirty="0" smtClean="0"/>
          </a:p>
        </p:txBody>
      </p:sp>
      <p:grpSp>
        <p:nvGrpSpPr>
          <p:cNvPr id="2"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668618151"/>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69834846"/>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noProof="0" dirty="0" smtClean="0"/>
              <a:t>Click the style sheet to edit the title</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33660349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color fill">
    <p:spTree>
      <p:nvGrpSpPr>
        <p:cNvPr id="1" name=""/>
        <p:cNvGrpSpPr/>
        <p:nvPr/>
      </p:nvGrpSpPr>
      <p:grpSpPr>
        <a:xfrm>
          <a:off x="0" y="0"/>
          <a:ext cx="0" cy="0"/>
          <a:chOff x="0" y="0"/>
          <a:chExt cx="0" cy="0"/>
        </a:xfrm>
      </p:grpSpPr>
      <p:sp>
        <p:nvSpPr>
          <p:cNvPr id="2" name="Rechteck 1"/>
          <p:cNvSpPr/>
          <p:nvPr userDrawn="1"/>
        </p:nvSpPr>
        <p:spPr bwMode="auto">
          <a:xfrm>
            <a:off x="0" y="0"/>
            <a:ext cx="12198350" cy="6858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b="1" dirty="0" err="1" smtClean="0">
              <a:solidFill>
                <a:srgbClr val="000000"/>
              </a:solidFill>
            </a:endParaRPr>
          </a:p>
        </p:txBody>
      </p:sp>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7" name="Grafik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smtClean="0"/>
              <a:t>Please</a:t>
            </a:r>
            <a:r>
              <a:rPr lang="de-DE" dirty="0" smtClean="0"/>
              <a:t> </a:t>
            </a:r>
            <a:r>
              <a:rPr lang="de-DE" dirty="0" err="1" smtClean="0"/>
              <a:t>insert</a:t>
            </a:r>
            <a:r>
              <a:rPr lang="de-DE" dirty="0" smtClean="0"/>
              <a:t> </a:t>
            </a:r>
            <a:r>
              <a:rPr lang="de-DE" dirty="0" err="1" smtClean="0"/>
              <a:t>confidentiality</a:t>
            </a:r>
            <a:r>
              <a:rPr lang="de-DE" dirty="0" smtClean="0"/>
              <a:t> </a:t>
            </a:r>
            <a:r>
              <a:rPr lang="de-DE" dirty="0" err="1" smtClean="0"/>
              <a:t>note</a:t>
            </a:r>
            <a:endParaRPr lang="de-DE" dirty="0" smtClean="0"/>
          </a:p>
        </p:txBody>
      </p:sp>
      <p:grpSp>
        <p:nvGrpSpPr>
          <p:cNvPr id="5"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smtClean="0">
              <a:solidFill>
                <a:srgbClr val="000000"/>
              </a:solidFill>
            </a:endParaRPr>
          </a:p>
        </p:txBody>
      </p:sp>
      <p:sp>
        <p:nvSpPr>
          <p:cNvPr id="4" name="cdtText Placeholder 12 Id13"/>
          <p:cNvSpPr>
            <a:spLocks noGrp="1"/>
          </p:cNvSpPr>
          <p:nvPr>
            <p:ph type="body" sz="quarter" idx="14" hasCustomPrompt="1"/>
            <p:custDataLst>
              <p:tags r:id="rId2"/>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8" name="Bildplatzhalter 7"/>
          <p:cNvSpPr>
            <a:spLocks noGrp="1"/>
          </p:cNvSpPr>
          <p:nvPr>
            <p:ph type="pic" sz="quarter" idx="15"/>
          </p:nvPr>
        </p:nvSpPr>
        <p:spPr>
          <a:xfrm>
            <a:off x="0" y="1414799"/>
            <a:ext cx="4514400" cy="4751051"/>
          </a:xfrm>
        </p:spPr>
        <p:txBody>
          <a:bodyPr tIns="1800000"/>
          <a:lstStyle>
            <a:lvl1pPr algn="ctr">
              <a:defRPr/>
            </a:lvl1pPr>
          </a:lstStyle>
          <a:p>
            <a:endParaRPr lang="fr-FR"/>
          </a:p>
        </p:txBody>
      </p:sp>
    </p:spTree>
    <p:extLst>
      <p:ext uri="{BB962C8B-B14F-4D97-AF65-F5344CB8AC3E}">
        <p14:creationId xmlns:p14="http://schemas.microsoft.com/office/powerpoint/2010/main" val="150215478"/>
      </p:ext>
    </p:extLst>
  </p:cSld>
  <p:clrMapOvr>
    <a:masterClrMapping/>
  </p:clrMapOvr>
  <p:transition spd="slow"/>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12874"/>
            <a:ext cx="3887914"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12874"/>
            <a:ext cx="7539355" cy="4752976"/>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ustDataLst>
      <p:custData r:id="rId1"/>
    </p:custData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366034953"/>
      </p:ext>
    </p:extLst>
  </p:cSld>
  <p:clrMapOvr>
    <a:masterClrMapping/>
  </p:clrMapOvr>
  <p:transition spd="slow"/>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endParaRPr lang="fr-FR"/>
          </a:p>
        </p:txBody>
      </p:sp>
    </p:spTree>
    <p:extLst>
      <p:ext uri="{BB962C8B-B14F-4D97-AF65-F5344CB8AC3E}">
        <p14:creationId xmlns:p14="http://schemas.microsoft.com/office/powerpoint/2010/main" val="331440804"/>
      </p:ext>
    </p:extLst>
  </p:cSld>
  <p:clrMapOvr>
    <a:masterClrMapping/>
  </p:clrMapOvr>
  <p:transition spd="slow"/>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4" name="Bildplatzhalter 3"/>
          <p:cNvSpPr>
            <a:spLocks noGrp="1"/>
          </p:cNvSpPr>
          <p:nvPr>
            <p:ph type="pic" sz="quarter" idx="10"/>
          </p:nvPr>
        </p:nvSpPr>
        <p:spPr>
          <a:xfrm>
            <a:off x="0" y="1414800"/>
            <a:ext cx="12196800" cy="5443200"/>
          </a:xfrm>
        </p:spPr>
        <p:txBody>
          <a:bodyPr tIns="1800000"/>
          <a:lstStyle>
            <a:lvl1pPr algn="ctr">
              <a:defRPr/>
            </a:lvl1pPr>
          </a:lstStyle>
          <a:p>
            <a:endParaRPr lang="fr-FR"/>
          </a:p>
        </p:txBody>
      </p:sp>
    </p:spTree>
    <p:extLst>
      <p:ext uri="{BB962C8B-B14F-4D97-AF65-F5344CB8AC3E}">
        <p14:creationId xmlns:p14="http://schemas.microsoft.com/office/powerpoint/2010/main" val="293159480"/>
      </p:ext>
    </p:extLst>
  </p:cSld>
  <p:clrMapOvr>
    <a:masterClrMapping/>
  </p:clrMapOvr>
  <p:transition spd="slow"/>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6768000"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1607085948"/>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3" name="cdtContent Placeholder 2 Id3"/>
          <p:cNvSpPr>
            <a:spLocks noGrp="1"/>
          </p:cNvSpPr>
          <p:nvPr>
            <p:ph sz="half" idx="1"/>
            <p:custDataLst>
              <p:tags r:id="rId1"/>
            </p:custDataLst>
          </p:nvPr>
        </p:nvSpPr>
        <p:spPr>
          <a:xfrm>
            <a:off x="627063" y="1412874"/>
            <a:ext cx="5472112" cy="475297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Bildplatzhalter 4"/>
          <p:cNvSpPr>
            <a:spLocks noGrp="1"/>
          </p:cNvSpPr>
          <p:nvPr>
            <p:ph type="pic" sz="quarter" idx="10"/>
          </p:nvPr>
        </p:nvSpPr>
        <p:spPr>
          <a:xfrm>
            <a:off x="6243637" y="1412875"/>
            <a:ext cx="5472000" cy="2303463"/>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60801"/>
            <a:ext cx="5472000" cy="2305049"/>
          </a:xfrm>
        </p:spPr>
        <p:txBody>
          <a:bodyPr tIns="648000"/>
          <a:lstStyle>
            <a:lvl1pPr algn="ctr">
              <a:defRPr/>
            </a:lvl1pPr>
          </a:lstStyle>
          <a:p>
            <a:endParaRPr lang="fr-FR" dirty="0"/>
          </a:p>
        </p:txBody>
      </p:sp>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734765545"/>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fr-FR" dirty="0"/>
          </a:p>
        </p:txBody>
      </p:sp>
      <p:sp>
        <p:nvSpPr>
          <p:cNvPr id="4" name="Bildplatzhalter 3"/>
          <p:cNvSpPr>
            <a:spLocks noGrp="1"/>
          </p:cNvSpPr>
          <p:nvPr>
            <p:ph type="pic" sz="quarter" idx="10"/>
          </p:nvPr>
        </p:nvSpPr>
        <p:spPr>
          <a:xfrm>
            <a:off x="0" y="1412876"/>
            <a:ext cx="12196800" cy="4752974"/>
          </a:xfrm>
        </p:spPr>
        <p:txBody>
          <a:bodyPr tIns="1800000"/>
          <a:lstStyle>
            <a:lvl1pPr algn="ctr">
              <a:defRPr/>
            </a:lvl1pPr>
          </a:lstStyle>
          <a:p>
            <a:r>
              <a:rPr lang="en-US" smtClean="0"/>
              <a:t>Click icon to add picture</a:t>
            </a:r>
            <a:endParaRPr lang="fr-FR"/>
          </a:p>
        </p:txBody>
      </p:sp>
    </p:spTree>
    <p:extLst>
      <p:ext uri="{BB962C8B-B14F-4D97-AF65-F5344CB8AC3E}">
        <p14:creationId xmlns:p14="http://schemas.microsoft.com/office/powerpoint/2010/main" val="3314408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360045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12873"/>
            <a:ext cx="3600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transition spd="slow"/>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12877"/>
            <a:ext cx="5472112" cy="23034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12875"/>
            <a:ext cx="5472112" cy="2303464"/>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60801"/>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2557672274"/>
      </p:ext>
    </p:extLst>
  </p:cSld>
  <p:clrMapOvr>
    <a:masterClrMapping/>
  </p:clrMapOvr>
  <p:transition spd="slow"/>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4"/>
            <a:ext cx="8208962" cy="4752976"/>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3 Id5"/>
          <p:cNvSpPr>
            <a:spLocks noGrp="1"/>
          </p:cNvSpPr>
          <p:nvPr>
            <p:ph type="body" sz="quarter" idx="13" hasCustomPrompt="1"/>
            <p:custDataLst>
              <p:tags r:id="rId4"/>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6768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3" hasCustomPrompt="1"/>
            <p:custDataLst>
              <p:tags r:id="rId4"/>
            </p:custDataLst>
          </p:nvPr>
        </p:nvSpPr>
        <p:spPr>
          <a:xfrm>
            <a:off x="10419751" y="1412874"/>
            <a:ext cx="1295999" cy="4752976"/>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5" y="1412873"/>
            <a:ext cx="403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3"/>
            <a:ext cx="2592000"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3362400" y="1412873"/>
            <a:ext cx="2736775"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43638" y="1412873"/>
            <a:ext cx="2592387" cy="4752977"/>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cdtTextplatzhalter 13 Id7"/>
          <p:cNvSpPr>
            <a:spLocks noGrp="1"/>
          </p:cNvSpPr>
          <p:nvPr>
            <p:ph type="body" sz="quarter" idx="15" hasCustomPrompt="1"/>
            <p:custDataLst>
              <p:tags r:id="rId6"/>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1"/>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Textplatzhalter 13 Id6"/>
          <p:cNvSpPr>
            <a:spLocks noGrp="1"/>
          </p:cNvSpPr>
          <p:nvPr>
            <p:ph type="body" sz="quarter" idx="14" hasCustomPrompt="1"/>
            <p:custDataLst>
              <p:tags r:id="rId5"/>
            </p:custDataLst>
          </p:nvPr>
        </p:nvSpPr>
        <p:spPr>
          <a:xfrm>
            <a:off x="10419751" y="1412874"/>
            <a:ext cx="1295999" cy="4752978"/>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7"/>
            <a:ext cx="4032000" cy="2303462"/>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804024" y="1412875"/>
            <a:ext cx="4032000"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627063"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cdtContent Placeholder 14 Id15"/>
          <p:cNvSpPr>
            <a:spLocks noGrp="1"/>
          </p:cNvSpPr>
          <p:nvPr>
            <p:ph sz="quarter" idx="15"/>
            <p:custDataLst>
              <p:tags r:id="rId6"/>
            </p:custDataLst>
          </p:nvPr>
        </p:nvSpPr>
        <p:spPr>
          <a:xfrm>
            <a:off x="4804025" y="3860800"/>
            <a:ext cx="4032000"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dtTextplatzhalter 13 Id10"/>
          <p:cNvSpPr>
            <a:spLocks noGrp="1"/>
          </p:cNvSpPr>
          <p:nvPr>
            <p:ph type="body" sz="quarter" idx="16" hasCustomPrompt="1"/>
            <p:custDataLst>
              <p:tags r:id="rId7"/>
            </p:custDataLst>
          </p:nvPr>
        </p:nvSpPr>
        <p:spPr>
          <a:xfrm>
            <a:off x="10419751" y="1412873"/>
            <a:ext cx="1295999" cy="475297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o edit the navigation text</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dirty="0"/>
          </a:p>
        </p:txBody>
      </p:sp>
    </p:spTree>
    <p:custDataLst>
      <p:custData r:id="rId1"/>
    </p:custData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fr-FR" dirty="0"/>
          </a:p>
        </p:txBody>
      </p:sp>
      <p:sp>
        <p:nvSpPr>
          <p:cNvPr id="4" name="Bildplatzhalter 3"/>
          <p:cNvSpPr>
            <a:spLocks noGrp="1"/>
          </p:cNvSpPr>
          <p:nvPr>
            <p:ph type="pic" sz="quarter" idx="10"/>
          </p:nvPr>
        </p:nvSpPr>
        <p:spPr>
          <a:xfrm>
            <a:off x="0" y="1414800"/>
            <a:ext cx="12196800" cy="5443200"/>
          </a:xfrm>
        </p:spPr>
        <p:txBody>
          <a:bodyPr tIns="1800000"/>
          <a:lstStyle>
            <a:lvl1pPr algn="ctr">
              <a:defRPr/>
            </a:lvl1pPr>
          </a:lstStyle>
          <a:p>
            <a:r>
              <a:rPr lang="en-US" smtClean="0"/>
              <a:t>Click icon to add picture</a:t>
            </a:r>
            <a:endParaRPr lang="fr-FR"/>
          </a:p>
        </p:txBody>
      </p:sp>
    </p:spTree>
    <p:extLst>
      <p:ext uri="{BB962C8B-B14F-4D97-AF65-F5344CB8AC3E}">
        <p14:creationId xmlns:p14="http://schemas.microsoft.com/office/powerpoint/2010/main" val="2931594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fr-FR"/>
          </a:p>
        </p:txBody>
      </p:sp>
      <p:sp>
        <p:nvSpPr>
          <p:cNvPr id="3" name="cdtRectangle 2 Id5"/>
          <p:cNvSpPr/>
          <p:nvPr userDrawn="1">
            <p:custDataLst>
              <p:tags r:id="rId1"/>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smtClean="0">
              <a:solidFill>
                <a:srgbClr val="000000"/>
              </a:solidFill>
            </a:endParaRPr>
          </a:p>
        </p:txBody>
      </p:sp>
      <p:sp>
        <p:nvSpPr>
          <p:cNvPr id="4" name="cdtText Placeholder 12 Id13"/>
          <p:cNvSpPr>
            <a:spLocks noGrp="1"/>
          </p:cNvSpPr>
          <p:nvPr>
            <p:ph type="body" sz="quarter" idx="14" hasCustomPrompt="1"/>
            <p:custDataLst>
              <p:tags r:id="rId2"/>
            </p:custDataLst>
          </p:nvPr>
        </p:nvSpPr>
        <p:spPr bwMode="auto">
          <a:xfrm>
            <a:off x="4658996" y="1412873"/>
            <a:ext cx="7539354" cy="475297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pic>
        <p:nvPicPr>
          <p:cNvPr id="7" name="Grafik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0400" y="324000"/>
            <a:ext cx="1584000" cy="670123"/>
          </a:xfrm>
          <a:prstGeom prst="rect">
            <a:avLst/>
          </a:prstGeom>
        </p:spPr>
      </p:pic>
      <p:sp>
        <p:nvSpPr>
          <p:cNvPr id="8" name="Bildplatzhalter 7"/>
          <p:cNvSpPr>
            <a:spLocks noGrp="1"/>
          </p:cNvSpPr>
          <p:nvPr>
            <p:ph type="pic" sz="quarter" idx="15"/>
          </p:nvPr>
        </p:nvSpPr>
        <p:spPr>
          <a:xfrm>
            <a:off x="0" y="1412875"/>
            <a:ext cx="4514400" cy="4752975"/>
          </a:xfrm>
        </p:spPr>
        <p:txBody>
          <a:bodyPr tIns="1800000"/>
          <a:lstStyle>
            <a:lvl1pPr algn="ctr">
              <a:defRPr/>
            </a:lvl1pPr>
          </a:lstStyle>
          <a:p>
            <a:endParaRPr lang="fr-FR"/>
          </a:p>
        </p:txBody>
      </p:sp>
    </p:spTree>
    <p:extLst>
      <p:ext uri="{BB962C8B-B14F-4D97-AF65-F5344CB8AC3E}">
        <p14:creationId xmlns:p14="http://schemas.microsoft.com/office/powerpoint/2010/main" val="790332991"/>
      </p:ext>
    </p:extLst>
  </p:cSld>
  <p:clrMapOvr>
    <a:masterClrMapping/>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917" y="6520261"/>
            <a:ext cx="2846282" cy="365125"/>
          </a:xfrm>
          <a:prstGeom prst="rect">
            <a:avLst/>
          </a:prstGeom>
        </p:spPr>
        <p:txBody>
          <a:bodyPr/>
          <a:lstStyle/>
          <a:p>
            <a:fld id="{19E5BF72-8B3D-4D48-BDD1-4A3B4150BC56}" type="datetimeFigureOut">
              <a:rPr lang="en-GB" smtClean="0">
                <a:solidFill>
                  <a:srgbClr val="ADBECB"/>
                </a:solidFill>
              </a:rPr>
              <a:pPr/>
              <a:t>14/03/2018</a:t>
            </a:fld>
            <a:endParaRPr lang="en-GB" dirty="0">
              <a:solidFill>
                <a:srgbClr val="ADBECB"/>
              </a:solidFill>
            </a:endParaRPr>
          </a:p>
        </p:txBody>
      </p:sp>
      <p:sp>
        <p:nvSpPr>
          <p:cNvPr id="3" name="Footer Placeholder 2"/>
          <p:cNvSpPr>
            <a:spLocks noGrp="1"/>
          </p:cNvSpPr>
          <p:nvPr>
            <p:ph type="ftr" sz="quarter" idx="11"/>
          </p:nvPr>
        </p:nvSpPr>
        <p:spPr>
          <a:xfrm>
            <a:off x="4167770" y="6520261"/>
            <a:ext cx="3862811" cy="365125"/>
          </a:xfrm>
          <a:prstGeom prst="rect">
            <a:avLst/>
          </a:prstGeom>
        </p:spPr>
        <p:txBody>
          <a:bodyPr/>
          <a:lstStyle/>
          <a:p>
            <a:endParaRPr lang="en-GB" dirty="0">
              <a:solidFill>
                <a:srgbClr val="ADBECB"/>
              </a:solidFill>
            </a:endParaRPr>
          </a:p>
        </p:txBody>
      </p:sp>
      <p:sp>
        <p:nvSpPr>
          <p:cNvPr id="4" name="Slide Number Placeholder 3"/>
          <p:cNvSpPr>
            <a:spLocks noGrp="1"/>
          </p:cNvSpPr>
          <p:nvPr>
            <p:ph type="sldNum" sz="quarter" idx="12"/>
          </p:nvPr>
        </p:nvSpPr>
        <p:spPr>
          <a:xfrm>
            <a:off x="8742151" y="6356352"/>
            <a:ext cx="2846282" cy="365125"/>
          </a:xfrm>
          <a:prstGeom prst="rect">
            <a:avLst/>
          </a:prstGeom>
        </p:spPr>
        <p:txBody>
          <a:bodyPr/>
          <a:lstStyle/>
          <a:p>
            <a:fld id="{B7FD0771-7876-43D3-98AB-F631FE05561A}" type="slidenum">
              <a:rPr lang="en-GB" smtClean="0">
                <a:solidFill>
                  <a:srgbClr val="ADBECB"/>
                </a:solidFill>
              </a:rPr>
              <a:pPr/>
              <a:t>‹#›</a:t>
            </a:fld>
            <a:endParaRPr lang="en-GB" dirty="0">
              <a:solidFill>
                <a:srgbClr val="ADBECB"/>
              </a:solidFill>
            </a:endParaRPr>
          </a:p>
        </p:txBody>
      </p:sp>
    </p:spTree>
    <p:extLst>
      <p:ext uri="{BB962C8B-B14F-4D97-AF65-F5344CB8AC3E}">
        <p14:creationId xmlns:p14="http://schemas.microsoft.com/office/powerpoint/2010/main" val="498696052"/>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big bar down)" type="title">
  <p:cSld name="Title (big bar down)">
    <p:spTree>
      <p:nvGrpSpPr>
        <p:cNvPr id="1" name=""/>
        <p:cNvGrpSpPr/>
        <p:nvPr/>
      </p:nvGrpSpPr>
      <p:grpSpPr>
        <a:xfrm>
          <a:off x="0" y="0"/>
          <a:ext cx="0" cy="0"/>
          <a:chOff x="0" y="0"/>
          <a:chExt cx="0" cy="0"/>
        </a:xfrm>
      </p:grpSpPr>
      <p:pic>
        <p:nvPicPr>
          <p:cNvPr id="1026" name="Picture 2" descr="C:\Users\racheal\AppData\Local\Microsoft\Windows\Temporary Internet Files\Content.Outlook\HXUS6SLM\Siemens_girls_PPT (2).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2118" y="0"/>
            <a:ext cx="12198350" cy="4273932"/>
          </a:xfrm>
          <a:prstGeom prst="rect">
            <a:avLst/>
          </a:prstGeom>
          <a:noFill/>
          <a:extLst>
            <a:ext uri="{909E8E84-426E-40DD-AFC4-6F175D3DCCD1}">
              <a14:hiddenFill xmlns:a14="http://schemas.microsoft.com/office/drawing/2010/main">
                <a:solidFill>
                  <a:srgbClr val="FFFFFF"/>
                </a:solidFill>
              </a14:hiddenFill>
            </a:ext>
          </a:extLst>
        </p:spPr>
      </p:pic>
      <p:sp>
        <p:nvSpPr>
          <p:cNvPr id="57350" name="cdtRectangle 115 Id57350"/>
          <p:cNvSpPr>
            <a:spLocks noGrp="1" noChangeArrowheads="1"/>
          </p:cNvSpPr>
          <p:nvPr>
            <p:ph type="ctrTitle"/>
            <p:custDataLst>
              <p:tags r:id="rId2"/>
            </p:custDataLst>
          </p:nvPr>
        </p:nvSpPr>
        <p:spPr bwMode="gray">
          <a:xfrm>
            <a:off x="334608" y="4289771"/>
            <a:ext cx="11863742" cy="870014"/>
          </a:xfrm>
          <a:solidFill>
            <a:srgbClr val="AF235F"/>
          </a:solidFill>
        </p:spPr>
        <p:txBody>
          <a:bodyPr wrap="square" lIns="270000" tIns="144000" rIns="396000" bIns="108000" anchor="t">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custDataLst>
              <p:tags r:id="rId3"/>
            </p:custDataLst>
          </p:nvPr>
        </p:nvSpPr>
        <p:spPr bwMode="gray">
          <a:xfrm>
            <a:off x="334608" y="3854484"/>
            <a:ext cx="11863742" cy="393082"/>
          </a:xfrm>
          <a:solidFill>
            <a:srgbClr val="233746">
              <a:alpha val="65000"/>
            </a:srgbClr>
          </a:solidFill>
        </p:spPr>
        <p:txBody>
          <a:bodyPr wrap="square" lIns="270000" tIns="18000" rIns="396000" bIns="36000" anchor="b">
            <a:no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smtClean="0">
                <a:solidFill>
                  <a:schemeClr val="bg1"/>
                </a:solidFill>
                <a:latin typeface="Arial" pitchFamily="34" charset="0"/>
              </a:defRPr>
            </a:lvl1pPr>
          </a:lstStyle>
          <a:p>
            <a:r>
              <a:rPr lang="en-US" dirty="0" err="1" smtClean="0"/>
              <a:t>Formatvorlage</a:t>
            </a:r>
            <a:r>
              <a:rPr lang="en-US" dirty="0" smtClean="0"/>
              <a:t> des </a:t>
            </a:r>
            <a:r>
              <a:rPr lang="en-US" dirty="0" err="1" smtClean="0"/>
              <a:t>Untertitelmasters</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pic>
        <p:nvPicPr>
          <p:cNvPr id="11" name="cdtPicture 10 Id11" descr="SIE_Logo_Layer_Petrol_RGB_A3_76mm.wmf"/>
          <p:cNvPicPr>
            <a:picLocks noChangeAspect="1"/>
          </p:cNvPicPr>
          <p:nvPr userDrawn="1">
            <p:custDataLst>
              <p:tags r:id="rId4"/>
            </p:custDataLst>
          </p:nvPr>
        </p:nvPicPr>
        <p:blipFill>
          <a:blip r:embed="rId10" cstate="print"/>
          <a:stretch>
            <a:fillRect/>
          </a:stretch>
        </p:blipFill>
        <p:spPr>
          <a:xfrm>
            <a:off x="720041" y="0"/>
            <a:ext cx="2305200" cy="967833"/>
          </a:xfrm>
          <a:prstGeom prst="rect">
            <a:avLst/>
          </a:prstGeom>
        </p:spPr>
      </p:pic>
      <p:sp>
        <p:nvSpPr>
          <p:cNvPr id="10" name="cdtText Box 133 Id10"/>
          <p:cNvSpPr txBox="1">
            <a:spLocks noChangeArrowheads="1"/>
          </p:cNvSpPr>
          <p:nvPr userDrawn="1">
            <p:custDataLst>
              <p:tags r:id="rId5"/>
            </p:custDataLst>
          </p:nvPr>
        </p:nvSpPr>
        <p:spPr bwMode="auto">
          <a:xfrm>
            <a:off x="0" y="6165850"/>
            <a:ext cx="1219835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AF235F"/>
                </a:solidFill>
              </a:rPr>
              <a:t>Restricted © Siemens AG 2016 All rights reserved.</a:t>
            </a:r>
            <a:endParaRPr lang="en-US" sz="1000" b="1" dirty="0">
              <a:solidFill>
                <a:srgbClr val="AF235F"/>
              </a:solidFill>
            </a:endParaRPr>
          </a:p>
        </p:txBody>
      </p:sp>
      <p:sp>
        <p:nvSpPr>
          <p:cNvPr id="2" name="cdtText Box 133 Id2"/>
          <p:cNvSpPr txBox="1">
            <a:spLocks noChangeArrowheads="1"/>
          </p:cNvSpPr>
          <p:nvPr userDrawn="1">
            <p:custDataLst>
              <p:tags r:id="rId6"/>
            </p:custDataLst>
          </p:nvPr>
        </p:nvSpPr>
        <p:spPr bwMode="auto">
          <a:xfrm>
            <a:off x="8212709" y="6165850"/>
            <a:ext cx="3985641" cy="431800"/>
          </a:xfrm>
          <a:prstGeom prst="rect">
            <a:avLst/>
          </a:prstGeom>
          <a:noFill/>
          <a:ln w="9525">
            <a:noFill/>
            <a:miter lim="800000"/>
            <a:headEnd/>
            <a:tailEnd/>
          </a:ln>
          <a:effectLst/>
        </p:spPr>
        <p:txBody>
          <a:bodyPr lIns="0" tIns="144000" rIns="396000" bIns="0" anchor="ctr"/>
          <a:lstStyle/>
          <a:p>
            <a:pPr algn="r"/>
            <a:r>
              <a:rPr lang="en-US" sz="1000" b="1" dirty="0" smtClean="0">
                <a:solidFill>
                  <a:srgbClr val="000000"/>
                </a:solidFill>
              </a:rPr>
              <a:t>siemens.co.uk/education</a:t>
            </a:r>
            <a:endParaRPr lang="en-US" sz="1000" b="1" dirty="0">
              <a:solidFill>
                <a:srgbClr val="000000"/>
              </a:solidFill>
            </a:endParaRPr>
          </a:p>
        </p:txBody>
      </p:sp>
      <p:sp>
        <p:nvSpPr>
          <p:cNvPr id="15" name="cdtText Box 101 Id15"/>
          <p:cNvSpPr txBox="1">
            <a:spLocks noChangeArrowheads="1"/>
          </p:cNvSpPr>
          <p:nvPr userDrawn="1">
            <p:custDataLst>
              <p:tags r:id="rId7"/>
            </p:custDataLst>
          </p:nvPr>
        </p:nvSpPr>
        <p:spPr bwMode="auto">
          <a:xfrm>
            <a:off x="6099175" y="0"/>
            <a:ext cx="211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Tree>
    <p:custDataLst>
      <p:custData r:id="rId1"/>
    </p:custDataLst>
    <p:extLst>
      <p:ext uri="{BB962C8B-B14F-4D97-AF65-F5344CB8AC3E}">
        <p14:creationId xmlns:p14="http://schemas.microsoft.com/office/powerpoint/2010/main" val="1990885901"/>
      </p:ext>
    </p:extLst>
  </p:cSld>
  <p:clrMapOvr>
    <a:masterClrMapping/>
  </p:clrMapOvr>
  <p:transition spd="slow"/>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4"/>
            <a:ext cx="8208962" cy="4752976"/>
          </a:xfrm>
        </p:spPr>
        <p:txBody>
          <a:bodyPr/>
          <a:lstStyle>
            <a:lvl1pPr>
              <a:buFont typeface="Arial" pitchFamily="34" charset="0"/>
              <a:buNone/>
              <a:defRPr/>
            </a:lvl1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1"/>
            </p:custDataLst>
          </p:nvPr>
        </p:nvSpPr>
        <p:spPr>
          <a:xfrm>
            <a:off x="0" y="0"/>
            <a:ext cx="12198350" cy="1268413"/>
          </a:xfrm>
        </p:spPr>
        <p:txBody>
          <a:bodyPr/>
          <a:lstStyle/>
          <a:p>
            <a:r>
              <a:rPr lang="en-US" noProof="0" dirty="0" smtClean="0"/>
              <a:t>Click the style sheet to edit the title</a:t>
            </a:r>
            <a:endParaRPr lang="en-US" dirty="0"/>
          </a:p>
        </p:txBody>
      </p:sp>
      <p:sp>
        <p:nvSpPr>
          <p:cNvPr id="3" name="cdtContent Placeholder 2 Id3"/>
          <p:cNvSpPr>
            <a:spLocks noGrp="1"/>
          </p:cNvSpPr>
          <p:nvPr>
            <p:ph idx="1" hasCustomPrompt="1"/>
            <p:custDataLst>
              <p:tags r:id="rId2"/>
            </p:custDataLst>
          </p:nvPr>
        </p:nvSpPr>
        <p:spPr>
          <a:xfrm>
            <a:off x="627063" y="1412874"/>
            <a:ext cx="6768000" cy="4752976"/>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tags" Target="../tags/tag23.xml"/><Relationship Id="rId50" Type="http://schemas.openxmlformats.org/officeDocument/2006/relationships/tags" Target="../tags/tag26.xml"/><Relationship Id="rId55" Type="http://schemas.openxmlformats.org/officeDocument/2006/relationships/tags" Target="../tags/tag3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tags" Target="../tags/tag22.xml"/><Relationship Id="rId59"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41" Type="http://schemas.openxmlformats.org/officeDocument/2006/relationships/tags" Target="../tags/tag17.xml"/><Relationship Id="rId54" Type="http://schemas.openxmlformats.org/officeDocument/2006/relationships/tags" Target="../tags/tag3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3" Type="http://schemas.openxmlformats.org/officeDocument/2006/relationships/tags" Target="../tags/tag29.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49" Type="http://schemas.openxmlformats.org/officeDocument/2006/relationships/tags" Target="../tags/tag25.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52" Type="http://schemas.openxmlformats.org/officeDocument/2006/relationships/tags" Target="../tags/tag2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48" Type="http://schemas.openxmlformats.org/officeDocument/2006/relationships/tags" Target="../tags/tag24.xml"/><Relationship Id="rId56" Type="http://schemas.openxmlformats.org/officeDocument/2006/relationships/tags" Target="../tags/tag32.xml"/><Relationship Id="rId8" Type="http://schemas.openxmlformats.org/officeDocument/2006/relationships/slideLayout" Target="../slideLayouts/slideLayout8.xml"/><Relationship Id="rId51" Type="http://schemas.openxmlformats.org/officeDocument/2006/relationships/tags" Target="../tags/tag27.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93.xml"/><Relationship Id="rId39" Type="http://schemas.openxmlformats.org/officeDocument/2006/relationships/tags" Target="../tags/tag106.xml"/><Relationship Id="rId21" Type="http://schemas.openxmlformats.org/officeDocument/2006/relationships/slideLayout" Target="../slideLayouts/slideLayout44.xml"/><Relationship Id="rId34" Type="http://schemas.openxmlformats.org/officeDocument/2006/relationships/tags" Target="../tags/tag101.xml"/><Relationship Id="rId42" Type="http://schemas.openxmlformats.org/officeDocument/2006/relationships/tags" Target="../tags/tag109.xml"/><Relationship Id="rId47" Type="http://schemas.openxmlformats.org/officeDocument/2006/relationships/tags" Target="../tags/tag114.xml"/><Relationship Id="rId50" Type="http://schemas.openxmlformats.org/officeDocument/2006/relationships/tags" Target="../tags/tag117.xml"/><Relationship Id="rId55" Type="http://schemas.openxmlformats.org/officeDocument/2006/relationships/image" Target="../media/image4.w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2.xml"/><Relationship Id="rId33" Type="http://schemas.openxmlformats.org/officeDocument/2006/relationships/tags" Target="../tags/tag100.xml"/><Relationship Id="rId38" Type="http://schemas.openxmlformats.org/officeDocument/2006/relationships/tags" Target="../tags/tag105.xml"/><Relationship Id="rId46" Type="http://schemas.openxmlformats.org/officeDocument/2006/relationships/tags" Target="../tags/tag11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96.xml"/><Relationship Id="rId41" Type="http://schemas.openxmlformats.org/officeDocument/2006/relationships/tags" Target="../tags/tag108.xml"/><Relationship Id="rId54" Type="http://schemas.openxmlformats.org/officeDocument/2006/relationships/tags" Target="../tags/tag12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ags" Target="../tags/tag99.xml"/><Relationship Id="rId37" Type="http://schemas.openxmlformats.org/officeDocument/2006/relationships/tags" Target="../tags/tag104.xml"/><Relationship Id="rId40" Type="http://schemas.openxmlformats.org/officeDocument/2006/relationships/tags" Target="../tags/tag107.xml"/><Relationship Id="rId45" Type="http://schemas.openxmlformats.org/officeDocument/2006/relationships/tags" Target="../tags/tag112.xml"/><Relationship Id="rId53" Type="http://schemas.openxmlformats.org/officeDocument/2006/relationships/tags" Target="../tags/tag120.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95.xml"/><Relationship Id="rId36" Type="http://schemas.openxmlformats.org/officeDocument/2006/relationships/tags" Target="../tags/tag103.xml"/><Relationship Id="rId49" Type="http://schemas.openxmlformats.org/officeDocument/2006/relationships/tags" Target="../tags/tag11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98.xml"/><Relationship Id="rId44" Type="http://schemas.openxmlformats.org/officeDocument/2006/relationships/tags" Target="../tags/tag111.xml"/><Relationship Id="rId52" Type="http://schemas.openxmlformats.org/officeDocument/2006/relationships/tags" Target="../tags/tag119.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tags" Target="../tags/tag110.xml"/><Relationship Id="rId48" Type="http://schemas.openxmlformats.org/officeDocument/2006/relationships/tags" Target="../tags/tag115.xml"/><Relationship Id="rId8" Type="http://schemas.openxmlformats.org/officeDocument/2006/relationships/slideLayout" Target="../slideLayouts/slideLayout31.xml"/><Relationship Id="rId51" Type="http://schemas.openxmlformats.org/officeDocument/2006/relationships/tags" Target="../tags/tag118.xml"/><Relationship Id="rId3"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heme" Target="../theme/theme3.xml"/><Relationship Id="rId39" Type="http://schemas.openxmlformats.org/officeDocument/2006/relationships/tags" Target="../tags/tag193.xml"/><Relationship Id="rId21" Type="http://schemas.openxmlformats.org/officeDocument/2006/relationships/slideLayout" Target="../slideLayouts/slideLayout68.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tags" Target="../tags/tag201.xml"/><Relationship Id="rId50" Type="http://schemas.openxmlformats.org/officeDocument/2006/relationships/tags" Target="../tags/tag204.xml"/><Relationship Id="rId55" Type="http://schemas.openxmlformats.org/officeDocument/2006/relationships/image" Target="../media/image2.w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tags" Target="../tags/tag200.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ags" Target="../tags/tag183.xml"/><Relationship Id="rId41" Type="http://schemas.openxmlformats.org/officeDocument/2006/relationships/tags" Target="../tags/tag195.xml"/><Relationship Id="rId54" Type="http://schemas.openxmlformats.org/officeDocument/2006/relationships/tags" Target="../tags/tag20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tags" Target="../tags/tag199.xml"/><Relationship Id="rId53" Type="http://schemas.openxmlformats.org/officeDocument/2006/relationships/tags" Target="../tags/tag207.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tags" Target="../tags/tag182.xml"/><Relationship Id="rId36" Type="http://schemas.openxmlformats.org/officeDocument/2006/relationships/tags" Target="../tags/tag190.xml"/><Relationship Id="rId49" Type="http://schemas.openxmlformats.org/officeDocument/2006/relationships/tags" Target="../tags/tag20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tags" Target="../tags/tag185.xml"/><Relationship Id="rId44" Type="http://schemas.openxmlformats.org/officeDocument/2006/relationships/tags" Target="../tags/tag198.xml"/><Relationship Id="rId52" Type="http://schemas.openxmlformats.org/officeDocument/2006/relationships/tags" Target="../tags/tag20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48" Type="http://schemas.openxmlformats.org/officeDocument/2006/relationships/tags" Target="../tags/tag202.xml"/><Relationship Id="rId8" Type="http://schemas.openxmlformats.org/officeDocument/2006/relationships/slideLayout" Target="../slideLayouts/slideLayout55.xml"/><Relationship Id="rId51" Type="http://schemas.openxmlformats.org/officeDocument/2006/relationships/tags" Target="../tags/tag205.xml"/><Relationship Id="rId3"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7" imgW="360" imgH="360" progId="">
                  <p:embed/>
                </p:oleObj>
              </mc:Choice>
              <mc:Fallback>
                <p:oleObj name="think-cell Slide" r:id="rId57" imgW="360" imgH="360" progId="">
                  <p:embed/>
                  <p:pic>
                    <p:nvPicPr>
                      <p:cNvPr id="0" name="Picture 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Rechteck 2"/>
          <p:cNvSpPr/>
          <p:nvPr userDrawn="1"/>
        </p:nvSpPr>
        <p:spPr bwMode="auto">
          <a:xfrm>
            <a:off x="0" y="1412875"/>
            <a:ext cx="12198350" cy="4752975"/>
          </a:xfrm>
          <a:prstGeom prst="rect">
            <a:avLst/>
          </a:prstGeom>
          <a:solidFill>
            <a:srgbClr val="F7F7F5"/>
          </a:solidFill>
          <a:ln w="9525">
            <a:noFill/>
            <a:miter lim="800000"/>
            <a:headEnd/>
            <a:tailEnd/>
          </a:ln>
          <a:effectLst/>
          <a:extLst/>
        </p:spPr>
        <p:txBody>
          <a:bodyPr wrap="square" lIns="108000" tIns="54000" rIns="108000" bIns="54000" numCol="1" spcCol="72000" rtlCol="0" anchor="ctr">
            <a:noAutofit/>
          </a:bodyPr>
          <a:lstStyle/>
          <a:p>
            <a:pPr algn="ctr">
              <a:spcBef>
                <a:spcPct val="0"/>
              </a:spcBef>
              <a:buFont typeface="Wingdings" charset="0"/>
              <a:buNone/>
            </a:pPr>
            <a:endParaRPr lang="en-GB" sz="1800" b="1" dirty="0" err="1" smtClean="0">
              <a:solidFill>
                <a:schemeClr val="tx1"/>
              </a:solidFill>
            </a:endParaRPr>
          </a:p>
        </p:txBody>
      </p:sp>
      <p:sp>
        <p:nvSpPr>
          <p:cNvPr id="15" name="cdtRectangle 12 Id15"/>
          <p:cNvSpPr>
            <a:spLocks noChangeArrowheads="1"/>
          </p:cNvSpPr>
          <p:nvPr>
            <p:custDataLst>
              <p:tags r:id="rId27"/>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GB"/>
          </a:p>
        </p:txBody>
      </p:sp>
      <p:sp>
        <p:nvSpPr>
          <p:cNvPr id="3078" name="cdtRectangle 115 Id3078"/>
          <p:cNvSpPr>
            <a:spLocks noGrp="1" noChangeArrowheads="1"/>
          </p:cNvSpPr>
          <p:nvPr>
            <p:ph type="title"/>
            <p:custDataLst>
              <p:tags r:id="rId2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GB" noProof="0" smtClean="0"/>
              <a:t>Click the style sheet to edit the title</a:t>
            </a:r>
            <a:endParaRPr lang="en-GB" dirty="0" smtClean="0"/>
          </a:p>
        </p:txBody>
      </p:sp>
      <p:sp>
        <p:nvSpPr>
          <p:cNvPr id="3079" name="cdtRectangle 116 Id3079"/>
          <p:cNvSpPr>
            <a:spLocks noGrp="1" noChangeArrowheads="1"/>
          </p:cNvSpPr>
          <p:nvPr>
            <p:ph type="body" idx="1"/>
            <p:custDataLst>
              <p:tags r:id="rId29"/>
            </p:custDataLst>
          </p:nvPr>
        </p:nvSpPr>
        <p:spPr bwMode="auto">
          <a:xfrm>
            <a:off x="627063" y="1412873"/>
            <a:ext cx="8208962"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noProof="0" smtClean="0"/>
              <a:t>Click the style sheet to edit the copy</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smtClean="0"/>
          </a:p>
        </p:txBody>
      </p:sp>
      <p:cxnSp>
        <p:nvCxnSpPr>
          <p:cNvPr id="3072" name="cdtMasterTags_CL1 Id3072"/>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4" name="Picture 3"/>
          <p:cNvPicPr>
            <a:picLocks noChangeAspect="1" noChangeArrowheads="1"/>
          </p:cNvPicPr>
          <p:nvPr/>
        </p:nvPicPr>
        <p:blipFill>
          <a:blip r:embed="rId59" cstate="email"/>
          <a:srcRect/>
          <a:stretch>
            <a:fillRect/>
          </a:stretch>
        </p:blipFill>
        <p:spPr bwMode="auto">
          <a:xfrm>
            <a:off x="10130916" y="324000"/>
            <a:ext cx="1584834" cy="670830"/>
          </a:xfrm>
          <a:prstGeom prst="rect">
            <a:avLst/>
          </a:prstGeom>
          <a:noFill/>
          <a:ln w="9525">
            <a:noFill/>
            <a:miter lim="800000"/>
            <a:headEnd/>
            <a:tailEnd/>
          </a:ln>
          <a:effectLst/>
        </p:spPr>
      </p:pic>
      <p:grpSp>
        <p:nvGrpSpPr>
          <p:cNvPr id="2" name="Gruppieren 1"/>
          <p:cNvGrpSpPr/>
          <p:nvPr/>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53"/>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GB" sz="1000" b="1" smtClean="0">
                <a:solidFill>
                  <a:srgbClr val="879BAA"/>
                </a:solidFill>
              </a:rPr>
              <a:t>Unrestricted © Siemens plc 2016</a:t>
            </a:r>
            <a:endParaRPr lang="en-GB" sz="1000" b="1" dirty="0">
              <a:solidFill>
                <a:srgbClr val="879BAA"/>
              </a:solidFill>
            </a:endParaRPr>
          </a:p>
        </p:txBody>
      </p:sp>
      <p:sp>
        <p:nvSpPr>
          <p:cNvPr id="64" name="cdtTextBox 12 Id17"/>
          <p:cNvSpPr txBox="1"/>
          <p:nvPr>
            <p:custDataLst>
              <p:tags r:id="rId54"/>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GB" sz="1000" noProof="0" dirty="0" smtClean="0">
                <a:solidFill>
                  <a:srgbClr val="000000"/>
                </a:solidFill>
              </a:rPr>
              <a:t>April 2016</a:t>
            </a:r>
          </a:p>
        </p:txBody>
      </p:sp>
      <p:sp>
        <p:nvSpPr>
          <p:cNvPr id="65" name="cdtTextBox 11 Id18"/>
          <p:cNvSpPr txBox="1"/>
          <p:nvPr>
            <p:custDataLst>
              <p:tags r:id="rId5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GB" sz="1000" noProof="0" smtClean="0">
                <a:solidFill>
                  <a:srgbClr val="000000"/>
                </a:solidFill>
              </a:rPr>
              <a:t>Page </a:t>
            </a:r>
            <a:fld id="{91E7552C-A157-4A4F-8E99-698C0325FC94}" type="slidenum">
              <a:rPr lang="en-GB" sz="1000" noProof="0" smtClean="0">
                <a:solidFill>
                  <a:srgbClr val="000000"/>
                </a:solidFill>
              </a:rPr>
              <a:pPr>
                <a:lnSpc>
                  <a:spcPct val="110000"/>
                </a:lnSpc>
                <a:spcBef>
                  <a:spcPts val="0"/>
                </a:spcBef>
              </a:pPr>
              <a:t>‹#›</a:t>
            </a:fld>
            <a:endParaRPr lang="en-GB" sz="1000" noProof="0" dirty="0" smtClean="0">
              <a:solidFill>
                <a:srgbClr val="000000"/>
              </a:solidFill>
            </a:endParaRPr>
          </a:p>
        </p:txBody>
      </p:sp>
      <p:sp>
        <p:nvSpPr>
          <p:cNvPr id="66" name="cdtTextBox 13 Id19"/>
          <p:cNvSpPr txBox="1"/>
          <p:nvPr>
            <p:custDataLst>
              <p:tags r:id="rId56"/>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GB" sz="1000" noProof="0" dirty="0" smtClean="0">
                <a:solidFill>
                  <a:srgbClr val="000000"/>
                </a:solidFill>
              </a:rPr>
              <a:t>GB BD</a:t>
            </a:r>
          </a:p>
        </p:txBody>
      </p:sp>
    </p:spTree>
  </p:cSld>
  <p:clrMap bg1="lt1" tx1="dk1" bg2="lt2" tx2="dk2" accent1="accent1" accent2="accent2" accent3="accent3" accent4="accent4" accent5="accent5" accent6="accent6" hlink="hlink" folHlink="folHlink"/>
  <p:sldLayoutIdLst>
    <p:sldLayoutId id="2147483700" r:id="rId1"/>
    <p:sldLayoutId id="2147483702" r:id="rId2"/>
    <p:sldLayoutId id="2147483703" r:id="rId3"/>
    <p:sldLayoutId id="2147483679" r:id="rId4"/>
    <p:sldLayoutId id="2147483695" r:id="rId5"/>
    <p:sldLayoutId id="2147483705" r:id="rId6"/>
    <p:sldLayoutId id="2147483706" r:id="rId7"/>
    <p:sldLayoutId id="2147483670" r:id="rId8"/>
    <p:sldLayoutId id="2147483692" r:id="rId9"/>
    <p:sldLayoutId id="2147483696" r:id="rId10"/>
    <p:sldLayoutId id="2147483707" r:id="rId11"/>
    <p:sldLayoutId id="2147483683" r:id="rId12"/>
    <p:sldLayoutId id="2147483681" r:id="rId13"/>
    <p:sldLayoutId id="2147483697" r:id="rId14"/>
    <p:sldLayoutId id="2147483691" r:id="rId15"/>
    <p:sldLayoutId id="2147483693" r:id="rId16"/>
    <p:sldLayoutId id="2147483684" r:id="rId17"/>
    <p:sldLayoutId id="2147483685" r:id="rId18"/>
    <p:sldLayoutId id="2147483694" r:id="rId19"/>
    <p:sldLayoutId id="2147483686" r:id="rId20"/>
    <p:sldLayoutId id="2147483688" r:id="rId21"/>
    <p:sldLayoutId id="2147483704" r:id="rId22"/>
    <p:sldLayoutId id="2147483733" r:id="rId23"/>
  </p:sldLayoutIdLst>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p:custDataLst>
              <p:tags r:id="rId26"/>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dirty="0">
              <a:solidFill>
                <a:srgbClr val="ADBECB"/>
              </a:solidFill>
            </a:endParaRPr>
          </a:p>
        </p:txBody>
      </p:sp>
      <p:sp>
        <p:nvSpPr>
          <p:cNvPr id="3078" name="cdtRectangle 115 Id3078"/>
          <p:cNvSpPr>
            <a:spLocks noGrp="1" noChangeArrowheads="1"/>
          </p:cNvSpPr>
          <p:nvPr>
            <p:ph type="title"/>
            <p:custDataLst>
              <p:tags r:id="rId27"/>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28"/>
            </p:custDataLst>
          </p:nvPr>
        </p:nvSpPr>
        <p:spPr bwMode="auto">
          <a:xfrm>
            <a:off x="627063" y="1412873"/>
            <a:ext cx="8208962"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 name="Gruppieren 1"/>
          <p:cNvGrpSpPr/>
          <p:nvPr/>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52"/>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879BAA"/>
                </a:solidFill>
              </a:rPr>
              <a:t>© </a:t>
            </a:r>
            <a:r>
              <a:rPr lang="de-DE" sz="1000" b="1" dirty="0">
                <a:solidFill>
                  <a:srgbClr val="879BAA"/>
                </a:solidFill>
              </a:rPr>
              <a:t>Siemens </a:t>
            </a:r>
            <a:r>
              <a:rPr lang="de-DE" sz="1000" b="1" dirty="0" smtClean="0">
                <a:solidFill>
                  <a:srgbClr val="879BAA"/>
                </a:solidFill>
              </a:rPr>
              <a:t>plc 2016</a:t>
            </a:r>
            <a:endParaRPr lang="de-DE" sz="1000" b="1" dirty="0">
              <a:solidFill>
                <a:srgbClr val="879BAA"/>
              </a:solidFill>
            </a:endParaRPr>
          </a:p>
        </p:txBody>
      </p:sp>
      <p:sp>
        <p:nvSpPr>
          <p:cNvPr id="64" name="cdtTextBox 12 Id17"/>
          <p:cNvSpPr txBox="1"/>
          <p:nvPr>
            <p:custDataLst>
              <p:tags r:id="rId53"/>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dirty="0" smtClean="0">
                <a:solidFill>
                  <a:srgbClr val="000000"/>
                </a:solidFill>
              </a:rPr>
              <a:t>September 2017</a:t>
            </a:r>
          </a:p>
        </p:txBody>
      </p:sp>
      <p:sp>
        <p:nvSpPr>
          <p:cNvPr id="65" name="cdtTextBox 11 Id18"/>
          <p:cNvSpPr txBox="1"/>
          <p:nvPr>
            <p:custDataLst>
              <p:tags r:id="rId54"/>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dirty="0" smtClean="0">
                <a:solidFill>
                  <a:srgbClr val="000000"/>
                </a:solidFill>
              </a:rPr>
              <a:t>Page </a:t>
            </a:r>
            <a:fld id="{91E7552C-A157-4A4F-8E99-698C0325FC94}" type="slidenum">
              <a:rPr lang="de-DE" sz="1000" smtClean="0">
                <a:solidFill>
                  <a:srgbClr val="000000"/>
                </a:solidFill>
              </a:rPr>
              <a:pPr>
                <a:lnSpc>
                  <a:spcPct val="110000"/>
                </a:lnSpc>
                <a:spcBef>
                  <a:spcPts val="0"/>
                </a:spcBef>
              </a:pPr>
              <a:t>‹#›</a:t>
            </a:fld>
            <a:endParaRPr lang="de-DE" sz="1000" dirty="0" smtClean="0">
              <a:solidFill>
                <a:srgbClr val="000000"/>
              </a:solidFill>
            </a:endParaRPr>
          </a:p>
        </p:txBody>
      </p:sp>
      <p:pic>
        <p:nvPicPr>
          <p:cNvPr id="66" name="Grafik 7"/>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10130916" y="324000"/>
            <a:ext cx="1584834" cy="670476"/>
          </a:xfrm>
          <a:prstGeom prst="rect">
            <a:avLst/>
          </a:prstGeom>
        </p:spPr>
      </p:pic>
      <p:sp>
        <p:nvSpPr>
          <p:cNvPr id="67" name="TextBox 66"/>
          <p:cNvSpPr txBox="1"/>
          <p:nvPr/>
        </p:nvSpPr>
        <p:spPr>
          <a:xfrm>
            <a:off x="4448175" y="6654800"/>
            <a:ext cx="3302000" cy="203200"/>
          </a:xfrm>
          <a:prstGeom prst="rect">
            <a:avLst/>
          </a:prstGeom>
          <a:noFill/>
        </p:spPr>
        <p:txBody>
          <a:bodyPr wrap="none" lIns="0" tIns="0" rIns="0" bIns="0" rtlCol="0">
            <a:noAutofit/>
          </a:bodyPr>
          <a:lstStyle/>
          <a:p>
            <a:pPr>
              <a:lnSpc>
                <a:spcPct val="110000"/>
              </a:lnSpc>
              <a:spcBef>
                <a:spcPts val="0"/>
              </a:spcBef>
            </a:pPr>
            <a:r>
              <a:rPr lang="en-GB" sz="1200" dirty="0" smtClean="0">
                <a:solidFill>
                  <a:srgbClr val="000000"/>
                </a:solidFill>
              </a:rPr>
              <a:t>Toby Peyton-Jones, HR Director, Siemens Plc </a:t>
            </a:r>
            <a:endParaRPr lang="en-US" sz="12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Lst>
  <p:transition spd="slow"/>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userDrawn="1">
            <p:custDataLst>
              <p:tags r:id="rId27"/>
            </p:custDataLst>
          </p:nvPr>
        </p:nvSpPr>
        <p:spPr bwMode="gray">
          <a:xfrm>
            <a:off x="0" y="0"/>
            <a:ext cx="12198350" cy="1268413"/>
          </a:xfrm>
          <a:prstGeom prst="rect">
            <a:avLst/>
          </a:prstGeom>
          <a:solidFill>
            <a:schemeClr val="accent2"/>
          </a:solidFill>
          <a:ln w="9525">
            <a:noFill/>
            <a:miter lim="800000"/>
            <a:headEnd/>
            <a:tailEnd/>
          </a:ln>
          <a:effectLst/>
        </p:spPr>
        <p:txBody>
          <a:bodyPr wrap="none" anchor="ctr">
            <a:noAutofit/>
          </a:bodyPr>
          <a:lstStyle/>
          <a:p>
            <a:endParaRPr lang="en-US">
              <a:solidFill>
                <a:srgbClr val="ADBECB"/>
              </a:solidFill>
            </a:endParaRPr>
          </a:p>
        </p:txBody>
      </p:sp>
      <p:sp>
        <p:nvSpPr>
          <p:cNvPr id="3078" name="cdtRectangle 115 Id3078"/>
          <p:cNvSpPr>
            <a:spLocks noGrp="1" noChangeArrowheads="1"/>
          </p:cNvSpPr>
          <p:nvPr>
            <p:ph type="title"/>
            <p:custDataLst>
              <p:tags r:id="rId2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3079" name="cdtRectangle 116 Id3079"/>
          <p:cNvSpPr>
            <a:spLocks noGrp="1" noChangeArrowheads="1"/>
          </p:cNvSpPr>
          <p:nvPr>
            <p:ph type="body" idx="1"/>
            <p:custDataLst>
              <p:tags r:id="rId29"/>
            </p:custDataLst>
          </p:nvPr>
        </p:nvSpPr>
        <p:spPr bwMode="auto">
          <a:xfrm>
            <a:off x="627063" y="1412873"/>
            <a:ext cx="8208962" cy="475297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3072" name="cdtMasterTags_CL1 Id3072"/>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4" name="Picture 3"/>
          <p:cNvPicPr>
            <a:picLocks noChangeAspect="1" noChangeArrowheads="1"/>
          </p:cNvPicPr>
          <p:nvPr userDrawn="1"/>
        </p:nvPicPr>
        <p:blipFill>
          <a:blip r:embed="rId55" cstate="print"/>
          <a:srcRect/>
          <a:stretch>
            <a:fillRect/>
          </a:stretch>
        </p:blipFill>
        <p:spPr bwMode="auto">
          <a:xfrm>
            <a:off x="10130916" y="324000"/>
            <a:ext cx="1584834" cy="670830"/>
          </a:xfrm>
          <a:prstGeom prst="rect">
            <a:avLst/>
          </a:prstGeom>
          <a:noFill/>
          <a:ln w="9525">
            <a:noFill/>
            <a:miter lim="800000"/>
            <a:headEnd/>
            <a:tailEnd/>
          </a:ln>
          <a:effectLst/>
        </p:spPr>
      </p:pic>
      <p:grpSp>
        <p:nvGrpSpPr>
          <p:cNvPr id="2" name="Gruppieren 1"/>
          <p:cNvGrpSpPr/>
          <p:nvPr userDrawn="1"/>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userDrawn="1">
            <p:custDataLst>
              <p:tags r:id="rId53"/>
            </p:custDataLst>
          </p:nvPr>
        </p:nvSpPr>
        <p:spPr bwMode="auto">
          <a:xfrm>
            <a:off x="-42162" y="6166800"/>
            <a:ext cx="12198350" cy="431800"/>
          </a:xfrm>
          <a:prstGeom prst="rect">
            <a:avLst/>
          </a:prstGeom>
          <a:noFill/>
          <a:ln w="9525">
            <a:noFill/>
            <a:miter lim="800000"/>
            <a:headEnd/>
            <a:tailEnd/>
          </a:ln>
          <a:effectLst/>
        </p:spPr>
        <p:txBody>
          <a:bodyPr lIns="626400" tIns="144000" rIns="3211200" bIns="0" anchor="ctr"/>
          <a:lstStyle/>
          <a:p>
            <a:r>
              <a:rPr lang="de-DE" sz="1000" b="1" dirty="0" smtClean="0">
                <a:solidFill>
                  <a:srgbClr val="879BAA"/>
                </a:solidFill>
              </a:rPr>
              <a:t>Restricted © </a:t>
            </a:r>
            <a:r>
              <a:rPr lang="de-DE" sz="1000" b="1" dirty="0">
                <a:solidFill>
                  <a:srgbClr val="879BAA"/>
                </a:solidFill>
              </a:rPr>
              <a:t>Siemens AG </a:t>
            </a:r>
            <a:r>
              <a:rPr lang="de-DE" sz="1000" b="1" dirty="0" smtClean="0">
                <a:solidFill>
                  <a:srgbClr val="879BAA"/>
                </a:solidFill>
              </a:rPr>
              <a:t>2017</a:t>
            </a:r>
            <a:endParaRPr lang="de-DE" sz="1000" b="1" dirty="0">
              <a:solidFill>
                <a:srgbClr val="879BAA"/>
              </a:solidFill>
            </a:endParaRPr>
          </a:p>
        </p:txBody>
      </p:sp>
      <p:sp>
        <p:nvSpPr>
          <p:cNvPr id="64" name="cdtTextBox 12 Id17"/>
          <p:cNvSpPr txBox="1"/>
          <p:nvPr userDrawn="1">
            <p:custDataLst>
              <p:tags r:id="rId54"/>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de-DE" sz="1000"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Lst>
  <p:transition spd="slow"/>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274.xml"/></Relationships>
</file>

<file path=ppt/slides/_rels/slide1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1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1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1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3" Type="http://schemas.openxmlformats.org/officeDocument/2006/relationships/tags" Target="../tags/tag287.xml"/><Relationship Id="rId18" Type="http://schemas.openxmlformats.org/officeDocument/2006/relationships/tags" Target="../tags/tag292.xml"/><Relationship Id="rId26" Type="http://schemas.openxmlformats.org/officeDocument/2006/relationships/tags" Target="../tags/tag300.xml"/><Relationship Id="rId39" Type="http://schemas.openxmlformats.org/officeDocument/2006/relationships/tags" Target="../tags/tag313.xml"/><Relationship Id="rId21" Type="http://schemas.openxmlformats.org/officeDocument/2006/relationships/tags" Target="../tags/tag295.xml"/><Relationship Id="rId34" Type="http://schemas.openxmlformats.org/officeDocument/2006/relationships/tags" Target="../tags/tag308.xml"/><Relationship Id="rId42" Type="http://schemas.openxmlformats.org/officeDocument/2006/relationships/tags" Target="../tags/tag316.xml"/><Relationship Id="rId47" Type="http://schemas.openxmlformats.org/officeDocument/2006/relationships/tags" Target="../tags/tag321.xml"/><Relationship Id="rId50" Type="http://schemas.openxmlformats.org/officeDocument/2006/relationships/tags" Target="../tags/tag324.xml"/><Relationship Id="rId55" Type="http://schemas.openxmlformats.org/officeDocument/2006/relationships/tags" Target="../tags/tag329.xml"/><Relationship Id="rId63" Type="http://schemas.openxmlformats.org/officeDocument/2006/relationships/tags" Target="../tags/tag337.xml"/><Relationship Id="rId68" Type="http://schemas.openxmlformats.org/officeDocument/2006/relationships/slideLayout" Target="../slideLayouts/slideLayout8.xml"/><Relationship Id="rId76" Type="http://schemas.openxmlformats.org/officeDocument/2006/relationships/image" Target="../media/image96.emf"/><Relationship Id="rId84" Type="http://schemas.openxmlformats.org/officeDocument/2006/relationships/image" Target="../media/image105.jpeg"/><Relationship Id="rId7" Type="http://schemas.openxmlformats.org/officeDocument/2006/relationships/tags" Target="../tags/tag281.xml"/><Relationship Id="rId71" Type="http://schemas.openxmlformats.org/officeDocument/2006/relationships/image" Target="../media/image98.jpeg"/><Relationship Id="rId2" Type="http://schemas.openxmlformats.org/officeDocument/2006/relationships/tags" Target="../tags/tag276.xml"/><Relationship Id="rId16" Type="http://schemas.openxmlformats.org/officeDocument/2006/relationships/tags" Target="../tags/tag290.xml"/><Relationship Id="rId29" Type="http://schemas.openxmlformats.org/officeDocument/2006/relationships/tags" Target="../tags/tag303.xml"/><Relationship Id="rId11" Type="http://schemas.openxmlformats.org/officeDocument/2006/relationships/tags" Target="../tags/tag285.xml"/><Relationship Id="rId24" Type="http://schemas.openxmlformats.org/officeDocument/2006/relationships/tags" Target="../tags/tag298.xml"/><Relationship Id="rId32" Type="http://schemas.openxmlformats.org/officeDocument/2006/relationships/tags" Target="../tags/tag306.xml"/><Relationship Id="rId37" Type="http://schemas.openxmlformats.org/officeDocument/2006/relationships/tags" Target="../tags/tag311.xml"/><Relationship Id="rId40" Type="http://schemas.openxmlformats.org/officeDocument/2006/relationships/tags" Target="../tags/tag314.xml"/><Relationship Id="rId45" Type="http://schemas.openxmlformats.org/officeDocument/2006/relationships/tags" Target="../tags/tag319.xml"/><Relationship Id="rId53" Type="http://schemas.openxmlformats.org/officeDocument/2006/relationships/tags" Target="../tags/tag327.xml"/><Relationship Id="rId58" Type="http://schemas.openxmlformats.org/officeDocument/2006/relationships/tags" Target="../tags/tag332.xml"/><Relationship Id="rId66" Type="http://schemas.openxmlformats.org/officeDocument/2006/relationships/tags" Target="../tags/tag340.xml"/><Relationship Id="rId74" Type="http://schemas.openxmlformats.org/officeDocument/2006/relationships/image" Target="../media/image101.jpeg"/><Relationship Id="rId79" Type="http://schemas.openxmlformats.org/officeDocument/2006/relationships/image" Target="../media/image97.emf"/><Relationship Id="rId87" Type="http://schemas.openxmlformats.org/officeDocument/2006/relationships/image" Target="../media/image107.jpeg"/><Relationship Id="rId5" Type="http://schemas.openxmlformats.org/officeDocument/2006/relationships/tags" Target="../tags/tag279.xml"/><Relationship Id="rId61" Type="http://schemas.openxmlformats.org/officeDocument/2006/relationships/tags" Target="../tags/tag335.xml"/><Relationship Id="rId82" Type="http://schemas.openxmlformats.org/officeDocument/2006/relationships/image" Target="../media/image104.png"/><Relationship Id="rId19" Type="http://schemas.openxmlformats.org/officeDocument/2006/relationships/tags" Target="../tags/tag293.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tags" Target="../tags/tag296.xml"/><Relationship Id="rId27" Type="http://schemas.openxmlformats.org/officeDocument/2006/relationships/tags" Target="../tags/tag301.xml"/><Relationship Id="rId30" Type="http://schemas.openxmlformats.org/officeDocument/2006/relationships/tags" Target="../tags/tag304.xml"/><Relationship Id="rId35" Type="http://schemas.openxmlformats.org/officeDocument/2006/relationships/tags" Target="../tags/tag309.xml"/><Relationship Id="rId43" Type="http://schemas.openxmlformats.org/officeDocument/2006/relationships/tags" Target="../tags/tag317.xml"/><Relationship Id="rId48" Type="http://schemas.openxmlformats.org/officeDocument/2006/relationships/tags" Target="../tags/tag322.xml"/><Relationship Id="rId56" Type="http://schemas.openxmlformats.org/officeDocument/2006/relationships/tags" Target="../tags/tag330.xml"/><Relationship Id="rId64" Type="http://schemas.openxmlformats.org/officeDocument/2006/relationships/tags" Target="../tags/tag338.xml"/><Relationship Id="rId69" Type="http://schemas.openxmlformats.org/officeDocument/2006/relationships/notesSlide" Target="../notesSlides/notesSlide15.xml"/><Relationship Id="rId77" Type="http://schemas.openxmlformats.org/officeDocument/2006/relationships/oleObject" Target="../embeddings/oleObject6.bin"/><Relationship Id="rId8" Type="http://schemas.openxmlformats.org/officeDocument/2006/relationships/tags" Target="../tags/tag282.xml"/><Relationship Id="rId51" Type="http://schemas.openxmlformats.org/officeDocument/2006/relationships/tags" Target="../tags/tag325.xml"/><Relationship Id="rId72" Type="http://schemas.openxmlformats.org/officeDocument/2006/relationships/image" Target="../media/image99.jpeg"/><Relationship Id="rId80" Type="http://schemas.openxmlformats.org/officeDocument/2006/relationships/image" Target="../media/image102.png"/><Relationship Id="rId85" Type="http://schemas.openxmlformats.org/officeDocument/2006/relationships/image" Target="../media/image106.jpeg"/><Relationship Id="rId3" Type="http://schemas.openxmlformats.org/officeDocument/2006/relationships/tags" Target="../tags/tag277.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tags" Target="../tags/tag312.xml"/><Relationship Id="rId46" Type="http://schemas.openxmlformats.org/officeDocument/2006/relationships/tags" Target="../tags/tag320.xml"/><Relationship Id="rId59" Type="http://schemas.openxmlformats.org/officeDocument/2006/relationships/tags" Target="../tags/tag333.xml"/><Relationship Id="rId67" Type="http://schemas.openxmlformats.org/officeDocument/2006/relationships/tags" Target="../tags/tag341.xml"/><Relationship Id="rId20" Type="http://schemas.openxmlformats.org/officeDocument/2006/relationships/tags" Target="../tags/tag294.xml"/><Relationship Id="rId41" Type="http://schemas.openxmlformats.org/officeDocument/2006/relationships/tags" Target="../tags/tag315.xml"/><Relationship Id="rId54" Type="http://schemas.openxmlformats.org/officeDocument/2006/relationships/tags" Target="../tags/tag328.xml"/><Relationship Id="rId62" Type="http://schemas.openxmlformats.org/officeDocument/2006/relationships/tags" Target="../tags/tag336.xml"/><Relationship Id="rId70" Type="http://schemas.openxmlformats.org/officeDocument/2006/relationships/oleObject" Target="../embeddings/oleObject4.bin"/><Relationship Id="rId75" Type="http://schemas.openxmlformats.org/officeDocument/2006/relationships/oleObject" Target="../embeddings/oleObject5.bin"/><Relationship Id="rId83" Type="http://schemas.openxmlformats.org/officeDocument/2006/relationships/image" Target="../media/image93.jpeg"/><Relationship Id="rId1" Type="http://schemas.openxmlformats.org/officeDocument/2006/relationships/vmlDrawing" Target="../drawings/vmlDrawing4.vml"/><Relationship Id="rId6" Type="http://schemas.openxmlformats.org/officeDocument/2006/relationships/tags" Target="../tags/tag280.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49" Type="http://schemas.openxmlformats.org/officeDocument/2006/relationships/tags" Target="../tags/tag323.xml"/><Relationship Id="rId57" Type="http://schemas.openxmlformats.org/officeDocument/2006/relationships/tags" Target="../tags/tag331.xml"/><Relationship Id="rId10" Type="http://schemas.openxmlformats.org/officeDocument/2006/relationships/tags" Target="../tags/tag284.xml"/><Relationship Id="rId31" Type="http://schemas.openxmlformats.org/officeDocument/2006/relationships/tags" Target="../tags/tag305.xml"/><Relationship Id="rId44" Type="http://schemas.openxmlformats.org/officeDocument/2006/relationships/tags" Target="../tags/tag318.xml"/><Relationship Id="rId52" Type="http://schemas.openxmlformats.org/officeDocument/2006/relationships/tags" Target="../tags/tag326.xml"/><Relationship Id="rId60" Type="http://schemas.openxmlformats.org/officeDocument/2006/relationships/tags" Target="../tags/tag334.xml"/><Relationship Id="rId65" Type="http://schemas.openxmlformats.org/officeDocument/2006/relationships/tags" Target="../tags/tag339.xml"/><Relationship Id="rId73" Type="http://schemas.openxmlformats.org/officeDocument/2006/relationships/image" Target="../media/image100.jpeg"/><Relationship Id="rId78" Type="http://schemas.openxmlformats.org/officeDocument/2006/relationships/oleObject" Target="../embeddings/oleObject7.bin"/><Relationship Id="rId81" Type="http://schemas.openxmlformats.org/officeDocument/2006/relationships/image" Target="../media/image103.png"/><Relationship Id="rId86" Type="http://schemas.openxmlformats.org/officeDocument/2006/relationships/hyperlink" Target="https://www.google.de/url?url=https://www.esmap.org/node/29&amp;rct=j&amp;frm=1&amp;q=&amp;esrc=s&amp;sa=U&amp;ei=hDWPU7n2A-vZygORnoHoBg&amp;ved=0CCYQ9QEwAg&amp;usg=AFQjCNGwJ-8kStu1EskvcB6-QPBcwJTlRw"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92.jpeg"/><Relationship Id="rId7"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10.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s>
</file>

<file path=ppt/slides/_rels/slide1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92.jpeg"/><Relationship Id="rId7"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110.png"/><Relationship Id="rId5" Type="http://schemas.openxmlformats.org/officeDocument/2006/relationships/image" Target="../media/image109.png"/><Relationship Id="rId10" Type="http://schemas.openxmlformats.org/officeDocument/2006/relationships/image" Target="../media/image114.png"/><Relationship Id="rId4" Type="http://schemas.openxmlformats.org/officeDocument/2006/relationships/image" Target="../media/image108.png"/><Relationship Id="rId9" Type="http://schemas.openxmlformats.org/officeDocument/2006/relationships/image" Target="../media/image113.png"/></Relationships>
</file>

<file path=ppt/slides/_rels/slide1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1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_rels/slide2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www.siemens.co.uk/education/en/digitalbadges.htm"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122.jpeg"/></Relationships>
</file>

<file path=ppt/slides/_rels/slide23.xml.rels><?xml version="1.0" encoding="UTF-8" standalone="yes"?>
<Relationships xmlns="http://schemas.openxmlformats.org/package/2006/relationships"><Relationship Id="rId3" Type="http://schemas.openxmlformats.org/officeDocument/2006/relationships/image" Target="../media/image92.jpeg"/><Relationship Id="rId7"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2.xml"/><Relationship Id="rId1" Type="http://schemas.openxmlformats.org/officeDocument/2006/relationships/tags" Target="../tags/tag342.xml"/></Relationships>
</file>

<file path=ppt/slides/_rels/slide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5.xml"/><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tags" Target="../tags/tag275.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79.emf"/><Relationship Id="rId5" Type="http://schemas.openxmlformats.org/officeDocument/2006/relationships/oleObject" Target="../embeddings/oleObject3.bin"/><Relationship Id="rId10" Type="http://schemas.openxmlformats.org/officeDocument/2006/relationships/image" Target="../media/image78.emf"/><Relationship Id="rId4" Type="http://schemas.openxmlformats.org/officeDocument/2006/relationships/notesSlide" Target="../notesSlides/notesSlide3.xml"/><Relationship Id="rId9"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81.emf"/><Relationship Id="rId7" Type="http://schemas.openxmlformats.org/officeDocument/2006/relationships/hyperlink" Target="http://www.siemens.co.uk/pool/about_us/publications/siemens_uk_z-card_infographic.pdf"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hyperlink" Target="http://www.siemens.co.uk/pool/about_us/publications/siemens_uk_business_to_society_report.pdf" TargetMode="External"/><Relationship Id="rId5" Type="http://schemas.openxmlformats.org/officeDocument/2006/relationships/image" Target="../media/image83.emf"/><Relationship Id="rId4" Type="http://schemas.openxmlformats.org/officeDocument/2006/relationships/image" Target="../media/image82.emf"/></Relationships>
</file>

<file path=ppt/slides/_rels/slide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66.wmf"/></Relationships>
</file>

<file path=ppt/slides/_rels/slide9.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66.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2" y="3212976"/>
            <a:ext cx="11088737" cy="3017422"/>
          </a:xfrm>
        </p:spPr>
        <p:txBody>
          <a:bodyPr/>
          <a:lstStyle/>
          <a:p>
            <a:pPr algn="ctr"/>
            <a:r>
              <a:rPr lang="en-GB" sz="2000" dirty="0" smtClean="0"/>
              <a:t/>
            </a:r>
            <a:br>
              <a:rPr lang="en-GB" sz="2000" dirty="0" smtClean="0"/>
            </a:br>
            <a:r>
              <a:rPr lang="en-GB" sz="2800" dirty="0" smtClean="0"/>
              <a:t>Working in collaboration, with OCR, to achieve a sustainable workforce with the skills for our future</a:t>
            </a:r>
            <a:br>
              <a:rPr lang="en-GB" sz="2800" dirty="0" smtClean="0"/>
            </a:br>
            <a:r>
              <a:rPr lang="en-GB" sz="2800" dirty="0" smtClean="0"/>
              <a:t/>
            </a:r>
            <a:br>
              <a:rPr lang="en-GB" sz="2800" dirty="0" smtClean="0"/>
            </a:br>
            <a:r>
              <a:rPr lang="en-GB" sz="2400" dirty="0" smtClean="0"/>
              <a:t>Brenda Yearsley:  Siemens Global Social Innovation Team </a:t>
            </a:r>
            <a:br>
              <a:rPr lang="en-GB" sz="2400" dirty="0" smtClean="0"/>
            </a:br>
            <a:r>
              <a:rPr lang="en-GB" sz="2400" dirty="0" smtClean="0"/>
              <a:t>   UK School and Education Manager  </a:t>
            </a:r>
            <a:br>
              <a:rPr lang="en-GB" sz="2400" dirty="0" smtClean="0"/>
            </a:br>
            <a:endParaRPr lang="en-US" sz="2400" noProof="0" dirty="0"/>
          </a:p>
        </p:txBody>
      </p:sp>
      <p:sp>
        <p:nvSpPr>
          <p:cNvPr id="13" name="Textplatzhalter 12"/>
          <p:cNvSpPr>
            <a:spLocks noGrp="1"/>
          </p:cNvSpPr>
          <p:nvPr>
            <p:ph type="body" sz="quarter" idx="12"/>
          </p:nvPr>
        </p:nvSpPr>
        <p:spPr/>
        <p:txBody>
          <a:bodyPr/>
          <a:lstStyle/>
          <a:p>
            <a:r>
              <a:rPr lang="en-US" noProof="0" dirty="0" err="1" smtClean="0"/>
              <a:t>siemens.c</a:t>
            </a:r>
            <a:r>
              <a:rPr lang="en-US" smtClean="0"/>
              <a:t>o.uk</a:t>
            </a:r>
            <a:endParaRPr lang="en-US" noProof="0" dirty="0"/>
          </a:p>
        </p:txBody>
      </p:sp>
      <p:sp>
        <p:nvSpPr>
          <p:cNvPr id="14" name="Textplatzhalter 13"/>
          <p:cNvSpPr>
            <a:spLocks noGrp="1"/>
          </p:cNvSpPr>
          <p:nvPr>
            <p:ph type="body" sz="quarter" idx="13"/>
          </p:nvPr>
        </p:nvSpPr>
        <p:spPr/>
        <p:txBody>
          <a:bodyPr/>
          <a:lstStyle/>
          <a:p>
            <a:r>
              <a:rPr lang="en-US" noProof="0" smtClean="0"/>
              <a:t>© Siemens </a:t>
            </a:r>
            <a:r>
              <a:rPr lang="en-US" smtClean="0"/>
              <a:t>plc</a:t>
            </a:r>
            <a:r>
              <a:rPr lang="en-US" noProof="0" smtClean="0"/>
              <a:t> 2016</a:t>
            </a:r>
            <a:endParaRPr lang="en-US" noProof="0" dirty="0"/>
          </a:p>
        </p:txBody>
      </p:sp>
    </p:spTree>
    <p:custDataLst>
      <p:tags r:id="rId1"/>
    </p:custDataLst>
    <p:extLst>
      <p:ext uri="{BB962C8B-B14F-4D97-AF65-F5344CB8AC3E}">
        <p14:creationId xmlns:p14="http://schemas.microsoft.com/office/powerpoint/2010/main" val="2875017957"/>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49155" name="Picture 3" descr="S:\Marketing Communications\WOW Images\14.jpg"/>
          <p:cNvPicPr>
            <a:picLocks noChangeAspect="1" noChangeArrowheads="1"/>
          </p:cNvPicPr>
          <p:nvPr/>
        </p:nvPicPr>
        <p:blipFill>
          <a:blip r:embed="rId3" cstate="email"/>
          <a:srcRect/>
          <a:stretch>
            <a:fillRect/>
          </a:stretch>
        </p:blipFill>
        <p:spPr bwMode="auto">
          <a:xfrm>
            <a:off x="-1" y="0"/>
            <a:ext cx="12192001" cy="6858000"/>
          </a:xfrm>
          <a:prstGeom prst="rect">
            <a:avLst/>
          </a:prstGeom>
          <a:noFill/>
        </p:spPr>
      </p:pic>
      <p:pic>
        <p:nvPicPr>
          <p:cNvPr id="4"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7170" name="Picture 2" descr="S:\Marketing Communications\WOW Images\19269_dpi150.jpg"/>
          <p:cNvPicPr>
            <a:picLocks noChangeAspect="1" noChangeArrowheads="1"/>
          </p:cNvPicPr>
          <p:nvPr/>
        </p:nvPicPr>
        <p:blipFill>
          <a:blip r:embed="rId3" cstate="email"/>
          <a:srcRect/>
          <a:stretch>
            <a:fillRect/>
          </a:stretch>
        </p:blipFill>
        <p:spPr bwMode="auto">
          <a:xfrm>
            <a:off x="0" y="-1"/>
            <a:ext cx="12198350" cy="6858001"/>
          </a:xfrm>
          <a:prstGeom prst="rect">
            <a:avLst/>
          </a:prstGeom>
          <a:noFill/>
        </p:spPr>
      </p:pic>
      <p:pic>
        <p:nvPicPr>
          <p:cNvPr id="4"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4098" name="Picture 2" descr="S:\Marketing Communications\WOW Images\_MG_4439.jpg"/>
          <p:cNvPicPr>
            <a:picLocks noChangeAspect="1" noChangeArrowheads="1"/>
          </p:cNvPicPr>
          <p:nvPr/>
        </p:nvPicPr>
        <p:blipFill>
          <a:blip r:embed="rId3" cstate="email"/>
          <a:srcRect/>
          <a:stretch>
            <a:fillRect/>
          </a:stretch>
        </p:blipFill>
        <p:spPr bwMode="auto">
          <a:xfrm>
            <a:off x="0" y="0"/>
            <a:ext cx="12198350" cy="6858000"/>
          </a:xfrm>
          <a:prstGeom prst="rect">
            <a:avLst/>
          </a:prstGeom>
          <a:noFill/>
        </p:spPr>
      </p:pic>
      <p:pic>
        <p:nvPicPr>
          <p:cNvPr id="4"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wo paradigm shifts which are reaching a tipping point for the world of work  </a:t>
            </a:r>
            <a:endParaRPr lang="en-US" dirty="0"/>
          </a:p>
        </p:txBody>
      </p:sp>
      <p:sp>
        <p:nvSpPr>
          <p:cNvPr id="3" name="Content Placeholder 2"/>
          <p:cNvSpPr>
            <a:spLocks noGrp="1"/>
          </p:cNvSpPr>
          <p:nvPr>
            <p:ph idx="1"/>
          </p:nvPr>
        </p:nvSpPr>
        <p:spPr/>
        <p:txBody>
          <a:bodyPr/>
          <a:lstStyle/>
          <a:p>
            <a:endParaRPr lang="en-US" dirty="0"/>
          </a:p>
        </p:txBody>
      </p:sp>
      <p:pic>
        <p:nvPicPr>
          <p:cNvPr id="4" name="Picture 2" descr="C:\Users\FEEDBA~1\AppData\Local\Temp\vmware-feedbackuser\VMwareDnD\fe064ed0\Digitalization_Day_Background_blue_dark_hexadezimal_code_kor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75" y="1268413"/>
            <a:ext cx="12196800" cy="489743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blog.werigi.com/wp-content/uploads/VirtualFactories_011.jpg"/>
          <p:cNvPicPr>
            <a:picLocks noChangeAspect="1" noChangeArrowheads="1"/>
          </p:cNvPicPr>
          <p:nvPr/>
        </p:nvPicPr>
        <p:blipFill>
          <a:blip r:embed="rId4" cstate="print"/>
          <a:srcRect/>
          <a:stretch>
            <a:fillRect/>
          </a:stretch>
        </p:blipFill>
        <p:spPr bwMode="auto">
          <a:xfrm>
            <a:off x="4036423" y="2076529"/>
            <a:ext cx="3735977" cy="3152372"/>
          </a:xfrm>
          <a:prstGeom prst="rect">
            <a:avLst/>
          </a:prstGeom>
          <a:noFill/>
        </p:spPr>
      </p:pic>
      <p:pic>
        <p:nvPicPr>
          <p:cNvPr id="8" name="Picture 7" descr="smart traffic networking.jpg"/>
          <p:cNvPicPr>
            <a:picLocks noChangeAspect="1"/>
          </p:cNvPicPr>
          <p:nvPr/>
        </p:nvPicPr>
        <p:blipFill>
          <a:blip r:embed="rId5" cstate="print"/>
          <a:stretch>
            <a:fillRect/>
          </a:stretch>
        </p:blipFill>
        <p:spPr>
          <a:xfrm>
            <a:off x="8034168" y="2142309"/>
            <a:ext cx="3683215" cy="3086592"/>
          </a:xfrm>
          <a:prstGeom prst="rect">
            <a:avLst/>
          </a:prstGeom>
        </p:spPr>
      </p:pic>
      <p:pic>
        <p:nvPicPr>
          <p:cNvPr id="9" name="Picture 12" descr="Rücktitel"/>
          <p:cNvPicPr>
            <a:picLocks noChangeAspect="1" noChangeArrowheads="1"/>
          </p:cNvPicPr>
          <p:nvPr/>
        </p:nvPicPr>
        <p:blipFill>
          <a:blip r:embed="rId6" cstate="print"/>
          <a:srcRect/>
          <a:stretch>
            <a:fillRect/>
          </a:stretch>
        </p:blipFill>
        <p:spPr bwMode="auto">
          <a:xfrm>
            <a:off x="261258" y="2076529"/>
            <a:ext cx="3500846" cy="3152372"/>
          </a:xfrm>
          <a:prstGeom prst="rect">
            <a:avLst/>
          </a:prstGeom>
          <a:noFill/>
          <a:ln w="9525">
            <a:noFill/>
            <a:miter lim="800000"/>
            <a:headEnd/>
            <a:tailEnd/>
          </a:ln>
        </p:spPr>
      </p:pic>
      <p:sp>
        <p:nvSpPr>
          <p:cNvPr id="11" name="TextBox 10"/>
          <p:cNvSpPr txBox="1"/>
          <p:nvPr/>
        </p:nvSpPr>
        <p:spPr>
          <a:xfrm>
            <a:off x="261258" y="1412874"/>
            <a:ext cx="11456124" cy="492102"/>
          </a:xfrm>
          <a:prstGeom prst="rect">
            <a:avLst/>
          </a:prstGeom>
          <a:noFill/>
        </p:spPr>
        <p:txBody>
          <a:bodyPr wrap="square" lIns="0" tIns="0" rIns="0" bIns="0" rtlCol="0">
            <a:noAutofit/>
          </a:bodyPr>
          <a:lstStyle/>
          <a:p>
            <a:pPr>
              <a:lnSpc>
                <a:spcPct val="110000"/>
              </a:lnSpc>
              <a:spcBef>
                <a:spcPts val="0"/>
              </a:spcBef>
            </a:pPr>
            <a:r>
              <a:rPr lang="en-GB" sz="2400" dirty="0" smtClean="0">
                <a:solidFill>
                  <a:schemeClr val="bg1"/>
                </a:solidFill>
                <a:latin typeface="Siemens Sans Roman" charset="0"/>
                <a:ea typeface="Siemens Sans Roman" charset="0"/>
                <a:cs typeface="Siemens Sans Roman" charset="0"/>
              </a:rPr>
              <a:t>From physical to virtual   &gt;&gt;&gt;&gt;&gt;&gt;&gt;&gt;&gt;&gt;</a:t>
            </a:r>
          </a:p>
        </p:txBody>
      </p:sp>
      <p:sp>
        <p:nvSpPr>
          <p:cNvPr id="12" name="TextBox 11"/>
          <p:cNvSpPr txBox="1"/>
          <p:nvPr/>
        </p:nvSpPr>
        <p:spPr>
          <a:xfrm>
            <a:off x="6467204" y="5343201"/>
            <a:ext cx="5953396" cy="492102"/>
          </a:xfrm>
          <a:prstGeom prst="rect">
            <a:avLst/>
          </a:prstGeom>
          <a:noFill/>
        </p:spPr>
        <p:txBody>
          <a:bodyPr wrap="square" lIns="0" tIns="0" rIns="0" bIns="0" rtlCol="0">
            <a:noAutofit/>
          </a:bodyPr>
          <a:lstStyle/>
          <a:p>
            <a:pPr>
              <a:lnSpc>
                <a:spcPct val="110000"/>
              </a:lnSpc>
              <a:spcBef>
                <a:spcPts val="0"/>
              </a:spcBef>
            </a:pPr>
            <a:r>
              <a:rPr lang="en-GB" sz="2400" dirty="0" smtClean="0">
                <a:solidFill>
                  <a:schemeClr val="bg1"/>
                </a:solidFill>
                <a:latin typeface="Siemens Sans Roman" charset="0"/>
                <a:ea typeface="Siemens Sans Roman" charset="0"/>
                <a:cs typeface="Siemens Sans Roman" charset="0"/>
              </a:rPr>
              <a:t>.&gt;&gt;&gt;&gt;&gt;From managed to autonomous</a:t>
            </a:r>
          </a:p>
        </p:txBody>
      </p:sp>
      <p:sp>
        <p:nvSpPr>
          <p:cNvPr id="13" name="TextBox 12"/>
          <p:cNvSpPr txBox="1"/>
          <p:nvPr/>
        </p:nvSpPr>
        <p:spPr>
          <a:xfrm>
            <a:off x="261258" y="5343201"/>
            <a:ext cx="5929992" cy="492102"/>
          </a:xfrm>
          <a:prstGeom prst="rect">
            <a:avLst/>
          </a:prstGeom>
          <a:noFill/>
        </p:spPr>
        <p:txBody>
          <a:bodyPr wrap="square" lIns="0" tIns="0" rIns="0" bIns="0" rtlCol="0">
            <a:noAutofit/>
          </a:bodyPr>
          <a:lstStyle/>
          <a:p>
            <a:pPr>
              <a:lnSpc>
                <a:spcPct val="110000"/>
              </a:lnSpc>
              <a:spcBef>
                <a:spcPts val="0"/>
              </a:spcBef>
            </a:pPr>
            <a:r>
              <a:rPr lang="en-GB" sz="2400" dirty="0" smtClean="0">
                <a:solidFill>
                  <a:schemeClr val="bg1"/>
                </a:solidFill>
                <a:latin typeface="Siemens Sans Roman" charset="0"/>
                <a:ea typeface="Siemens Sans Roman" charset="0"/>
                <a:cs typeface="Siemens Sans Roman" charset="0"/>
              </a:rPr>
              <a:t>Big Data </a:t>
            </a:r>
          </a:p>
        </p:txBody>
      </p:sp>
      <p:sp>
        <p:nvSpPr>
          <p:cNvPr id="15" name="TextBox 14"/>
          <p:cNvSpPr txBox="1"/>
          <p:nvPr/>
        </p:nvSpPr>
        <p:spPr>
          <a:xfrm>
            <a:off x="10091568" y="1412874"/>
            <a:ext cx="5929992" cy="492102"/>
          </a:xfrm>
          <a:prstGeom prst="rect">
            <a:avLst/>
          </a:prstGeom>
          <a:noFill/>
        </p:spPr>
        <p:txBody>
          <a:bodyPr wrap="square" lIns="0" tIns="0" rIns="0" bIns="0" rtlCol="0">
            <a:noAutofit/>
          </a:bodyPr>
          <a:lstStyle/>
          <a:p>
            <a:pPr>
              <a:lnSpc>
                <a:spcPct val="110000"/>
              </a:lnSpc>
              <a:spcBef>
                <a:spcPts val="0"/>
              </a:spcBef>
            </a:pPr>
            <a:r>
              <a:rPr lang="en-GB" sz="2400" dirty="0" smtClean="0">
                <a:solidFill>
                  <a:schemeClr val="bg1"/>
                </a:solidFill>
                <a:latin typeface="Siemens Sans Roman" charset="0"/>
                <a:ea typeface="Siemens Sans Roman" charset="0"/>
                <a:cs typeface="Siemens Sans Roman" charset="0"/>
              </a:rPr>
              <a:t>Learning </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noFill/>
        </p:spPr>
        <p:txBody>
          <a:bodyPr/>
          <a:lstStyle/>
          <a:p>
            <a:r>
              <a:rPr lang="en-US" dirty="0" smtClean="0"/>
              <a:t>What are the survival factors in a world like this ?</a:t>
            </a:r>
          </a:p>
        </p:txBody>
      </p:sp>
      <p:sp>
        <p:nvSpPr>
          <p:cNvPr id="3" name="Rechteck 2"/>
          <p:cNvSpPr/>
          <p:nvPr/>
        </p:nvSpPr>
        <p:spPr bwMode="auto">
          <a:xfrm>
            <a:off x="0" y="1260320"/>
            <a:ext cx="12198350" cy="4749323"/>
          </a:xfrm>
          <a:prstGeom prst="rect">
            <a:avLst/>
          </a:prstGeom>
          <a:solidFill>
            <a:srgbClr val="D7D7CD"/>
          </a:solidFill>
          <a:ln>
            <a:noFill/>
          </a:ln>
          <a:effectLst/>
          <a:extLst/>
        </p:spPr>
        <p:txBody>
          <a:bodyPr wrap="square" lIns="611923" tIns="143982" rIns="503937" bIns="143982" numCol="1" spcCol="71990" rtlCol="0" anchor="t">
            <a:noAutofit/>
          </a:bodyPr>
          <a:lstStyle/>
          <a:p>
            <a:pPr>
              <a:lnSpc>
                <a:spcPct val="110000"/>
              </a:lnSpc>
              <a:spcBef>
                <a:spcPts val="0"/>
              </a:spcBef>
              <a:spcAft>
                <a:spcPts val="1799"/>
              </a:spcAft>
            </a:pPr>
            <a:endParaRPr lang="en-US" sz="2000" b="1" dirty="0">
              <a:solidFill>
                <a:schemeClr val="accent6"/>
              </a:solidFill>
              <a:latin typeface="+mj-lt"/>
              <a:cs typeface="Arial"/>
            </a:endParaRPr>
          </a:p>
        </p:txBody>
      </p:sp>
      <p:grpSp>
        <p:nvGrpSpPr>
          <p:cNvPr id="5" name="Gruppieren 121"/>
          <p:cNvGrpSpPr/>
          <p:nvPr/>
        </p:nvGrpSpPr>
        <p:grpSpPr>
          <a:xfrm>
            <a:off x="627062" y="1845436"/>
            <a:ext cx="1917021" cy="3004840"/>
            <a:chOff x="627062" y="1845436"/>
            <a:chExt cx="1917020" cy="3004840"/>
          </a:xfrm>
        </p:grpSpPr>
        <p:sp>
          <p:nvSpPr>
            <p:cNvPr id="4" name="Rechteck 3"/>
            <p:cNvSpPr/>
            <p:nvPr/>
          </p:nvSpPr>
          <p:spPr>
            <a:xfrm>
              <a:off x="989340" y="1845436"/>
              <a:ext cx="1224693" cy="276999"/>
            </a:xfrm>
            <a:prstGeom prst="rect">
              <a:avLst/>
            </a:prstGeom>
            <a:noFill/>
          </p:spPr>
          <p:txBody>
            <a:bodyPr wrap="none" lIns="0" tIns="0" rIns="0" bIns="0" anchor="t">
              <a:spAutoFit/>
            </a:bodyPr>
            <a:lstStyle/>
            <a:p>
              <a:pPr algn="ctr" defTabSz="914286" fontAlgn="auto">
                <a:spcBef>
                  <a:spcPts val="0"/>
                </a:spcBef>
                <a:spcAft>
                  <a:spcPts val="0"/>
                </a:spcAft>
                <a:defRPr/>
              </a:pPr>
              <a:r>
                <a:rPr lang="en-US" b="1" kern="0" dirty="0" smtClean="0">
                  <a:solidFill>
                    <a:schemeClr val="accent5"/>
                  </a:solidFill>
                  <a:latin typeface="+mn-lt"/>
                </a:rPr>
                <a:t>Networked</a:t>
              </a:r>
              <a:endParaRPr lang="en-US" b="1" kern="0" dirty="0">
                <a:solidFill>
                  <a:schemeClr val="accent5"/>
                </a:solidFill>
                <a:latin typeface="+mn-lt"/>
              </a:endParaRPr>
            </a:p>
          </p:txBody>
        </p:sp>
        <p:grpSp>
          <p:nvGrpSpPr>
            <p:cNvPr id="6" name="Gruppieren 4"/>
            <p:cNvGrpSpPr/>
            <p:nvPr/>
          </p:nvGrpSpPr>
          <p:grpSpPr>
            <a:xfrm>
              <a:off x="627062" y="2967135"/>
              <a:ext cx="1917020" cy="1883141"/>
              <a:chOff x="7658784" y="2328182"/>
              <a:chExt cx="2586734" cy="2541018"/>
            </a:xfrm>
          </p:grpSpPr>
          <p:grpSp>
            <p:nvGrpSpPr>
              <p:cNvPr id="44" name="Gruppieren 5"/>
              <p:cNvGrpSpPr/>
              <p:nvPr/>
            </p:nvGrpSpPr>
            <p:grpSpPr>
              <a:xfrm>
                <a:off x="7831630" y="2504790"/>
                <a:ext cx="2236864" cy="2192201"/>
                <a:chOff x="7831630" y="2504790"/>
                <a:chExt cx="2236864" cy="2192201"/>
              </a:xfrm>
            </p:grpSpPr>
            <p:cxnSp>
              <p:nvCxnSpPr>
                <p:cNvPr id="15" name="AutoShape 23"/>
                <p:cNvCxnSpPr>
                  <a:cxnSpLocks noChangeAspect="1" noChangeShapeType="1"/>
                </p:cNvCxnSpPr>
                <p:nvPr/>
              </p:nvCxnSpPr>
              <p:spPr bwMode="auto">
                <a:xfrm>
                  <a:off x="7831630" y="3174505"/>
                  <a:ext cx="2236861" cy="848306"/>
                </a:xfrm>
                <a:prstGeom prst="straightConnector1">
                  <a:avLst/>
                </a:prstGeom>
                <a:noFill/>
                <a:ln w="12700">
                  <a:solidFill>
                    <a:schemeClr val="accent5"/>
                  </a:solidFill>
                  <a:round/>
                  <a:headEnd/>
                  <a:tailEnd/>
                </a:ln>
              </p:spPr>
            </p:cxnSp>
            <p:cxnSp>
              <p:nvCxnSpPr>
                <p:cNvPr id="16" name="AutoShape 24"/>
                <p:cNvCxnSpPr>
                  <a:cxnSpLocks noChangeAspect="1" noChangeShapeType="1"/>
                </p:cNvCxnSpPr>
                <p:nvPr/>
              </p:nvCxnSpPr>
              <p:spPr bwMode="auto">
                <a:xfrm>
                  <a:off x="7831630" y="3174505"/>
                  <a:ext cx="2236861" cy="0"/>
                </a:xfrm>
                <a:prstGeom prst="straightConnector1">
                  <a:avLst/>
                </a:prstGeom>
                <a:noFill/>
                <a:ln w="12700">
                  <a:solidFill>
                    <a:schemeClr val="accent5"/>
                  </a:solidFill>
                  <a:round/>
                  <a:headEnd/>
                  <a:tailEnd/>
                </a:ln>
              </p:spPr>
            </p:cxnSp>
            <p:cxnSp>
              <p:nvCxnSpPr>
                <p:cNvPr id="17" name="AutoShape 25"/>
                <p:cNvCxnSpPr>
                  <a:cxnSpLocks noChangeAspect="1" noChangeShapeType="1"/>
                </p:cNvCxnSpPr>
                <p:nvPr/>
              </p:nvCxnSpPr>
              <p:spPr bwMode="auto">
                <a:xfrm flipV="1">
                  <a:off x="7831630" y="2504790"/>
                  <a:ext cx="1598397" cy="669715"/>
                </a:xfrm>
                <a:prstGeom prst="straightConnector1">
                  <a:avLst/>
                </a:prstGeom>
                <a:noFill/>
                <a:ln w="12700">
                  <a:solidFill>
                    <a:schemeClr val="accent5"/>
                  </a:solidFill>
                  <a:round/>
                  <a:headEnd/>
                  <a:tailEnd/>
                </a:ln>
              </p:spPr>
            </p:cxnSp>
            <p:cxnSp>
              <p:nvCxnSpPr>
                <p:cNvPr id="18" name="AutoShape 26"/>
                <p:cNvCxnSpPr>
                  <a:cxnSpLocks noChangeAspect="1" noChangeShapeType="1"/>
                </p:cNvCxnSpPr>
                <p:nvPr/>
              </p:nvCxnSpPr>
              <p:spPr bwMode="auto">
                <a:xfrm flipV="1">
                  <a:off x="7831630" y="2504790"/>
                  <a:ext cx="625070" cy="669715"/>
                </a:xfrm>
                <a:prstGeom prst="straightConnector1">
                  <a:avLst/>
                </a:prstGeom>
                <a:noFill/>
                <a:ln w="12700">
                  <a:solidFill>
                    <a:schemeClr val="accent5"/>
                  </a:solidFill>
                  <a:round/>
                  <a:headEnd/>
                  <a:tailEnd/>
                </a:ln>
              </p:spPr>
            </p:cxnSp>
            <p:cxnSp>
              <p:nvCxnSpPr>
                <p:cNvPr id="19" name="AutoShape 27"/>
                <p:cNvCxnSpPr>
                  <a:cxnSpLocks noChangeAspect="1" noChangeShapeType="1"/>
                </p:cNvCxnSpPr>
                <p:nvPr/>
              </p:nvCxnSpPr>
              <p:spPr bwMode="auto">
                <a:xfrm>
                  <a:off x="7831630" y="3174505"/>
                  <a:ext cx="1598397" cy="1522486"/>
                </a:xfrm>
                <a:prstGeom prst="straightConnector1">
                  <a:avLst/>
                </a:prstGeom>
                <a:noFill/>
                <a:ln w="12700">
                  <a:solidFill>
                    <a:schemeClr val="accent5"/>
                  </a:solidFill>
                  <a:round/>
                  <a:headEnd/>
                  <a:tailEnd/>
                </a:ln>
              </p:spPr>
            </p:cxnSp>
            <p:cxnSp>
              <p:nvCxnSpPr>
                <p:cNvPr id="20" name="AutoShape 28"/>
                <p:cNvCxnSpPr>
                  <a:cxnSpLocks noChangeAspect="1" noChangeShapeType="1"/>
                </p:cNvCxnSpPr>
                <p:nvPr/>
              </p:nvCxnSpPr>
              <p:spPr bwMode="auto">
                <a:xfrm>
                  <a:off x="7836095" y="3174505"/>
                  <a:ext cx="620607" cy="1522486"/>
                </a:xfrm>
                <a:prstGeom prst="straightConnector1">
                  <a:avLst/>
                </a:prstGeom>
                <a:noFill/>
                <a:ln w="12700">
                  <a:solidFill>
                    <a:schemeClr val="accent5"/>
                  </a:solidFill>
                  <a:round/>
                  <a:headEnd/>
                  <a:tailEnd/>
                </a:ln>
              </p:spPr>
            </p:cxnSp>
            <p:cxnSp>
              <p:nvCxnSpPr>
                <p:cNvPr id="21" name="AutoShape 29"/>
                <p:cNvCxnSpPr>
                  <a:cxnSpLocks noChangeAspect="1" noChangeShapeType="1"/>
                </p:cNvCxnSpPr>
                <p:nvPr/>
              </p:nvCxnSpPr>
              <p:spPr bwMode="auto">
                <a:xfrm>
                  <a:off x="7831630" y="3174505"/>
                  <a:ext cx="4465" cy="848306"/>
                </a:xfrm>
                <a:prstGeom prst="straightConnector1">
                  <a:avLst/>
                </a:prstGeom>
                <a:noFill/>
                <a:ln w="12700">
                  <a:solidFill>
                    <a:schemeClr val="accent5"/>
                  </a:solidFill>
                  <a:round/>
                  <a:headEnd/>
                  <a:tailEnd/>
                </a:ln>
              </p:spPr>
            </p:cxnSp>
            <p:cxnSp>
              <p:nvCxnSpPr>
                <p:cNvPr id="22" name="AutoShape 30"/>
                <p:cNvCxnSpPr>
                  <a:cxnSpLocks noChangeAspect="1" noChangeShapeType="1"/>
                </p:cNvCxnSpPr>
                <p:nvPr/>
              </p:nvCxnSpPr>
              <p:spPr bwMode="auto">
                <a:xfrm flipH="1">
                  <a:off x="8456700" y="2504790"/>
                  <a:ext cx="973324" cy="0"/>
                </a:xfrm>
                <a:prstGeom prst="straightConnector1">
                  <a:avLst/>
                </a:prstGeom>
                <a:noFill/>
                <a:ln w="12700">
                  <a:solidFill>
                    <a:schemeClr val="accent5"/>
                  </a:solidFill>
                  <a:round/>
                  <a:headEnd/>
                  <a:tailEnd/>
                </a:ln>
              </p:spPr>
            </p:cxnSp>
            <p:cxnSp>
              <p:nvCxnSpPr>
                <p:cNvPr id="23" name="AutoShape 31"/>
                <p:cNvCxnSpPr>
                  <a:cxnSpLocks noChangeAspect="1" noChangeShapeType="1"/>
                </p:cNvCxnSpPr>
                <p:nvPr/>
              </p:nvCxnSpPr>
              <p:spPr bwMode="auto">
                <a:xfrm flipH="1" flipV="1">
                  <a:off x="8456700" y="2504790"/>
                  <a:ext cx="1611791" cy="669715"/>
                </a:xfrm>
                <a:prstGeom prst="straightConnector1">
                  <a:avLst/>
                </a:prstGeom>
                <a:noFill/>
                <a:ln w="12700">
                  <a:solidFill>
                    <a:schemeClr val="accent5"/>
                  </a:solidFill>
                  <a:round/>
                  <a:headEnd/>
                  <a:tailEnd/>
                </a:ln>
              </p:spPr>
            </p:cxnSp>
            <p:cxnSp>
              <p:nvCxnSpPr>
                <p:cNvPr id="24" name="AutoShape 32"/>
                <p:cNvCxnSpPr>
                  <a:cxnSpLocks noChangeAspect="1" noChangeShapeType="1"/>
                </p:cNvCxnSpPr>
                <p:nvPr/>
              </p:nvCxnSpPr>
              <p:spPr bwMode="auto">
                <a:xfrm flipH="1" flipV="1">
                  <a:off x="8456700" y="2504790"/>
                  <a:ext cx="1611791" cy="1518021"/>
                </a:xfrm>
                <a:prstGeom prst="straightConnector1">
                  <a:avLst/>
                </a:prstGeom>
                <a:noFill/>
                <a:ln w="12700">
                  <a:solidFill>
                    <a:schemeClr val="accent5"/>
                  </a:solidFill>
                  <a:round/>
                  <a:headEnd/>
                  <a:tailEnd/>
                </a:ln>
              </p:spPr>
            </p:cxnSp>
            <p:cxnSp>
              <p:nvCxnSpPr>
                <p:cNvPr id="25" name="AutoShape 33"/>
                <p:cNvCxnSpPr>
                  <a:cxnSpLocks noChangeAspect="1" noChangeShapeType="1"/>
                </p:cNvCxnSpPr>
                <p:nvPr/>
              </p:nvCxnSpPr>
              <p:spPr bwMode="auto">
                <a:xfrm flipH="1" flipV="1">
                  <a:off x="8456700" y="2504790"/>
                  <a:ext cx="973324" cy="2192201"/>
                </a:xfrm>
                <a:prstGeom prst="straightConnector1">
                  <a:avLst/>
                </a:prstGeom>
                <a:noFill/>
                <a:ln w="12700">
                  <a:solidFill>
                    <a:schemeClr val="accent5"/>
                  </a:solidFill>
                  <a:round/>
                  <a:headEnd/>
                  <a:tailEnd/>
                </a:ln>
              </p:spPr>
            </p:cxnSp>
            <p:cxnSp>
              <p:nvCxnSpPr>
                <p:cNvPr id="26" name="AutoShape 34"/>
                <p:cNvCxnSpPr>
                  <a:cxnSpLocks noChangeAspect="1" noChangeShapeType="1"/>
                </p:cNvCxnSpPr>
                <p:nvPr/>
              </p:nvCxnSpPr>
              <p:spPr bwMode="auto">
                <a:xfrm flipV="1">
                  <a:off x="8456700" y="2504790"/>
                  <a:ext cx="0" cy="2192201"/>
                </a:xfrm>
                <a:prstGeom prst="straightConnector1">
                  <a:avLst/>
                </a:prstGeom>
                <a:noFill/>
                <a:ln w="12700">
                  <a:solidFill>
                    <a:schemeClr val="accent5"/>
                  </a:solidFill>
                  <a:round/>
                  <a:headEnd/>
                  <a:tailEnd/>
                </a:ln>
              </p:spPr>
            </p:cxnSp>
            <p:cxnSp>
              <p:nvCxnSpPr>
                <p:cNvPr id="27" name="AutoShape 35"/>
                <p:cNvCxnSpPr>
                  <a:cxnSpLocks noChangeAspect="1" noChangeShapeType="1"/>
                </p:cNvCxnSpPr>
                <p:nvPr/>
              </p:nvCxnSpPr>
              <p:spPr bwMode="auto">
                <a:xfrm flipV="1">
                  <a:off x="7836095" y="2504790"/>
                  <a:ext cx="620607" cy="1518021"/>
                </a:xfrm>
                <a:prstGeom prst="straightConnector1">
                  <a:avLst/>
                </a:prstGeom>
                <a:noFill/>
                <a:ln w="12700">
                  <a:solidFill>
                    <a:schemeClr val="accent5"/>
                  </a:solidFill>
                  <a:round/>
                  <a:headEnd/>
                  <a:tailEnd/>
                </a:ln>
              </p:spPr>
            </p:cxnSp>
            <p:cxnSp>
              <p:nvCxnSpPr>
                <p:cNvPr id="28" name="AutoShape 36"/>
                <p:cNvCxnSpPr>
                  <a:cxnSpLocks noChangeAspect="1" noChangeShapeType="1"/>
                </p:cNvCxnSpPr>
                <p:nvPr/>
              </p:nvCxnSpPr>
              <p:spPr bwMode="auto">
                <a:xfrm flipH="1" flipV="1">
                  <a:off x="9430027" y="2504790"/>
                  <a:ext cx="638467" cy="669715"/>
                </a:xfrm>
                <a:prstGeom prst="straightConnector1">
                  <a:avLst/>
                </a:prstGeom>
                <a:noFill/>
                <a:ln w="12700">
                  <a:solidFill>
                    <a:schemeClr val="accent5"/>
                  </a:solidFill>
                  <a:round/>
                  <a:headEnd/>
                  <a:tailEnd/>
                </a:ln>
              </p:spPr>
            </p:cxnSp>
            <p:cxnSp>
              <p:nvCxnSpPr>
                <p:cNvPr id="29" name="AutoShape 37"/>
                <p:cNvCxnSpPr>
                  <a:cxnSpLocks noChangeAspect="1" noChangeShapeType="1"/>
                </p:cNvCxnSpPr>
                <p:nvPr/>
              </p:nvCxnSpPr>
              <p:spPr bwMode="auto">
                <a:xfrm flipH="1" flipV="1">
                  <a:off x="9430027" y="2504790"/>
                  <a:ext cx="638467" cy="1518021"/>
                </a:xfrm>
                <a:prstGeom prst="straightConnector1">
                  <a:avLst/>
                </a:prstGeom>
                <a:noFill/>
                <a:ln w="12700">
                  <a:solidFill>
                    <a:schemeClr val="accent5"/>
                  </a:solidFill>
                  <a:round/>
                  <a:headEnd/>
                  <a:tailEnd/>
                </a:ln>
              </p:spPr>
            </p:cxnSp>
            <p:cxnSp>
              <p:nvCxnSpPr>
                <p:cNvPr id="30" name="AutoShape 38"/>
                <p:cNvCxnSpPr>
                  <a:cxnSpLocks noChangeAspect="1" noChangeShapeType="1"/>
                </p:cNvCxnSpPr>
                <p:nvPr/>
              </p:nvCxnSpPr>
              <p:spPr bwMode="auto">
                <a:xfrm flipV="1">
                  <a:off x="9430027" y="2504790"/>
                  <a:ext cx="0" cy="2192201"/>
                </a:xfrm>
                <a:prstGeom prst="straightConnector1">
                  <a:avLst/>
                </a:prstGeom>
                <a:noFill/>
                <a:ln w="12700">
                  <a:solidFill>
                    <a:schemeClr val="accent5"/>
                  </a:solidFill>
                  <a:round/>
                  <a:headEnd/>
                  <a:tailEnd/>
                </a:ln>
              </p:spPr>
            </p:cxnSp>
            <p:cxnSp>
              <p:nvCxnSpPr>
                <p:cNvPr id="31" name="AutoShape 39"/>
                <p:cNvCxnSpPr>
                  <a:cxnSpLocks noChangeAspect="1" noChangeShapeType="1"/>
                </p:cNvCxnSpPr>
                <p:nvPr/>
              </p:nvCxnSpPr>
              <p:spPr bwMode="auto">
                <a:xfrm flipV="1">
                  <a:off x="8456700" y="2504790"/>
                  <a:ext cx="973324" cy="2192201"/>
                </a:xfrm>
                <a:prstGeom prst="straightConnector1">
                  <a:avLst/>
                </a:prstGeom>
                <a:noFill/>
                <a:ln w="12700">
                  <a:solidFill>
                    <a:schemeClr val="accent5"/>
                  </a:solidFill>
                  <a:round/>
                  <a:headEnd/>
                  <a:tailEnd/>
                </a:ln>
              </p:spPr>
            </p:cxnSp>
            <p:cxnSp>
              <p:nvCxnSpPr>
                <p:cNvPr id="32" name="AutoShape 40"/>
                <p:cNvCxnSpPr>
                  <a:cxnSpLocks noChangeAspect="1" noChangeShapeType="1"/>
                </p:cNvCxnSpPr>
                <p:nvPr/>
              </p:nvCxnSpPr>
              <p:spPr bwMode="auto">
                <a:xfrm flipV="1">
                  <a:off x="7836095" y="2504790"/>
                  <a:ext cx="1593931" cy="1518021"/>
                </a:xfrm>
                <a:prstGeom prst="straightConnector1">
                  <a:avLst/>
                </a:prstGeom>
                <a:noFill/>
                <a:ln w="12700">
                  <a:solidFill>
                    <a:schemeClr val="accent5"/>
                  </a:solidFill>
                  <a:round/>
                  <a:headEnd/>
                  <a:tailEnd/>
                </a:ln>
              </p:spPr>
            </p:cxnSp>
            <p:cxnSp>
              <p:nvCxnSpPr>
                <p:cNvPr id="33" name="AutoShape 41"/>
                <p:cNvCxnSpPr>
                  <a:cxnSpLocks noChangeAspect="1" noChangeShapeType="1"/>
                </p:cNvCxnSpPr>
                <p:nvPr/>
              </p:nvCxnSpPr>
              <p:spPr bwMode="auto">
                <a:xfrm flipV="1">
                  <a:off x="10068491" y="3174505"/>
                  <a:ext cx="0" cy="848306"/>
                </a:xfrm>
                <a:prstGeom prst="straightConnector1">
                  <a:avLst/>
                </a:prstGeom>
                <a:noFill/>
                <a:ln w="12700">
                  <a:solidFill>
                    <a:schemeClr val="accent5"/>
                  </a:solidFill>
                  <a:round/>
                  <a:headEnd/>
                  <a:tailEnd/>
                </a:ln>
              </p:spPr>
            </p:cxnSp>
            <p:cxnSp>
              <p:nvCxnSpPr>
                <p:cNvPr id="34" name="AutoShape 42"/>
                <p:cNvCxnSpPr>
                  <a:cxnSpLocks noChangeAspect="1" noChangeShapeType="1"/>
                </p:cNvCxnSpPr>
                <p:nvPr/>
              </p:nvCxnSpPr>
              <p:spPr bwMode="auto">
                <a:xfrm flipV="1">
                  <a:off x="9430027" y="3174505"/>
                  <a:ext cx="638467" cy="1522486"/>
                </a:xfrm>
                <a:prstGeom prst="straightConnector1">
                  <a:avLst/>
                </a:prstGeom>
                <a:noFill/>
                <a:ln w="12700">
                  <a:solidFill>
                    <a:schemeClr val="accent5"/>
                  </a:solidFill>
                  <a:round/>
                  <a:headEnd/>
                  <a:tailEnd/>
                </a:ln>
              </p:spPr>
            </p:cxnSp>
            <p:cxnSp>
              <p:nvCxnSpPr>
                <p:cNvPr id="35" name="AutoShape 43"/>
                <p:cNvCxnSpPr>
                  <a:cxnSpLocks noChangeAspect="1" noChangeShapeType="1"/>
                </p:cNvCxnSpPr>
                <p:nvPr/>
              </p:nvCxnSpPr>
              <p:spPr bwMode="auto">
                <a:xfrm flipV="1">
                  <a:off x="8456700" y="3174505"/>
                  <a:ext cx="1611791" cy="1522486"/>
                </a:xfrm>
                <a:prstGeom prst="straightConnector1">
                  <a:avLst/>
                </a:prstGeom>
                <a:noFill/>
                <a:ln w="12700">
                  <a:solidFill>
                    <a:schemeClr val="accent5"/>
                  </a:solidFill>
                  <a:round/>
                  <a:headEnd/>
                  <a:tailEnd/>
                </a:ln>
              </p:spPr>
            </p:cxnSp>
            <p:cxnSp>
              <p:nvCxnSpPr>
                <p:cNvPr id="36" name="AutoShape 44"/>
                <p:cNvCxnSpPr>
                  <a:cxnSpLocks noChangeAspect="1" noChangeShapeType="1"/>
                </p:cNvCxnSpPr>
                <p:nvPr/>
              </p:nvCxnSpPr>
              <p:spPr bwMode="auto">
                <a:xfrm flipV="1">
                  <a:off x="7836095" y="3174505"/>
                  <a:ext cx="2232398" cy="848306"/>
                </a:xfrm>
                <a:prstGeom prst="straightConnector1">
                  <a:avLst/>
                </a:prstGeom>
                <a:noFill/>
                <a:ln w="12700">
                  <a:solidFill>
                    <a:schemeClr val="accent5"/>
                  </a:solidFill>
                  <a:round/>
                  <a:headEnd/>
                  <a:tailEnd/>
                </a:ln>
              </p:spPr>
            </p:cxnSp>
            <p:cxnSp>
              <p:nvCxnSpPr>
                <p:cNvPr id="37" name="AutoShape 45"/>
                <p:cNvCxnSpPr>
                  <a:cxnSpLocks noChangeAspect="1" noChangeShapeType="1"/>
                </p:cNvCxnSpPr>
                <p:nvPr/>
              </p:nvCxnSpPr>
              <p:spPr bwMode="auto">
                <a:xfrm flipV="1">
                  <a:off x="9430027" y="4022811"/>
                  <a:ext cx="638467" cy="674180"/>
                </a:xfrm>
                <a:prstGeom prst="straightConnector1">
                  <a:avLst/>
                </a:prstGeom>
                <a:noFill/>
                <a:ln w="12700">
                  <a:solidFill>
                    <a:schemeClr val="accent5"/>
                  </a:solidFill>
                  <a:round/>
                  <a:headEnd/>
                  <a:tailEnd/>
                </a:ln>
              </p:spPr>
            </p:cxnSp>
            <p:cxnSp>
              <p:nvCxnSpPr>
                <p:cNvPr id="38" name="AutoShape 46"/>
                <p:cNvCxnSpPr>
                  <a:cxnSpLocks noChangeAspect="1" noChangeShapeType="1"/>
                </p:cNvCxnSpPr>
                <p:nvPr/>
              </p:nvCxnSpPr>
              <p:spPr bwMode="auto">
                <a:xfrm flipV="1">
                  <a:off x="8456700" y="4022811"/>
                  <a:ext cx="1611791" cy="674180"/>
                </a:xfrm>
                <a:prstGeom prst="straightConnector1">
                  <a:avLst/>
                </a:prstGeom>
                <a:noFill/>
                <a:ln w="12700">
                  <a:solidFill>
                    <a:schemeClr val="accent5"/>
                  </a:solidFill>
                  <a:round/>
                  <a:headEnd/>
                  <a:tailEnd/>
                </a:ln>
              </p:spPr>
            </p:cxnSp>
            <p:cxnSp>
              <p:nvCxnSpPr>
                <p:cNvPr id="39" name="AutoShape 47"/>
                <p:cNvCxnSpPr>
                  <a:cxnSpLocks noChangeAspect="1" noChangeShapeType="1"/>
                </p:cNvCxnSpPr>
                <p:nvPr/>
              </p:nvCxnSpPr>
              <p:spPr bwMode="auto">
                <a:xfrm>
                  <a:off x="7836095" y="4022811"/>
                  <a:ext cx="2232398" cy="0"/>
                </a:xfrm>
                <a:prstGeom prst="straightConnector1">
                  <a:avLst/>
                </a:prstGeom>
                <a:noFill/>
                <a:ln w="12700">
                  <a:solidFill>
                    <a:schemeClr val="accent5"/>
                  </a:solidFill>
                  <a:round/>
                  <a:headEnd/>
                  <a:tailEnd/>
                </a:ln>
              </p:spPr>
            </p:cxnSp>
            <p:cxnSp>
              <p:nvCxnSpPr>
                <p:cNvPr id="40" name="AutoShape 48"/>
                <p:cNvCxnSpPr>
                  <a:cxnSpLocks noChangeAspect="1" noChangeShapeType="1"/>
                </p:cNvCxnSpPr>
                <p:nvPr/>
              </p:nvCxnSpPr>
              <p:spPr bwMode="auto">
                <a:xfrm>
                  <a:off x="8456700" y="4696991"/>
                  <a:ext cx="973324" cy="0"/>
                </a:xfrm>
                <a:prstGeom prst="straightConnector1">
                  <a:avLst/>
                </a:prstGeom>
                <a:noFill/>
                <a:ln w="12700">
                  <a:solidFill>
                    <a:schemeClr val="accent5"/>
                  </a:solidFill>
                  <a:round/>
                  <a:headEnd/>
                  <a:tailEnd/>
                </a:ln>
              </p:spPr>
            </p:cxnSp>
            <p:cxnSp>
              <p:nvCxnSpPr>
                <p:cNvPr id="41" name="AutoShape 49"/>
                <p:cNvCxnSpPr>
                  <a:cxnSpLocks noChangeAspect="1" noChangeShapeType="1"/>
                </p:cNvCxnSpPr>
                <p:nvPr/>
              </p:nvCxnSpPr>
              <p:spPr bwMode="auto">
                <a:xfrm>
                  <a:off x="7836095" y="4022811"/>
                  <a:ext cx="1593931" cy="674180"/>
                </a:xfrm>
                <a:prstGeom prst="straightConnector1">
                  <a:avLst/>
                </a:prstGeom>
                <a:noFill/>
                <a:ln w="12700">
                  <a:solidFill>
                    <a:schemeClr val="accent5"/>
                  </a:solidFill>
                  <a:round/>
                  <a:headEnd/>
                  <a:tailEnd/>
                </a:ln>
              </p:spPr>
            </p:cxnSp>
            <p:cxnSp>
              <p:nvCxnSpPr>
                <p:cNvPr id="42" name="AutoShape 50"/>
                <p:cNvCxnSpPr>
                  <a:cxnSpLocks noChangeAspect="1" noChangeShapeType="1"/>
                </p:cNvCxnSpPr>
                <p:nvPr/>
              </p:nvCxnSpPr>
              <p:spPr bwMode="auto">
                <a:xfrm>
                  <a:off x="7836095" y="4022811"/>
                  <a:ext cx="620607" cy="674180"/>
                </a:xfrm>
                <a:prstGeom prst="straightConnector1">
                  <a:avLst/>
                </a:prstGeom>
                <a:noFill/>
                <a:ln w="12700">
                  <a:solidFill>
                    <a:schemeClr val="accent5"/>
                  </a:solidFill>
                  <a:round/>
                  <a:headEnd/>
                  <a:tailEnd/>
                </a:ln>
              </p:spPr>
            </p:cxnSp>
          </p:grpSp>
          <p:sp>
            <p:nvSpPr>
              <p:cNvPr id="7" name="Oval 15"/>
              <p:cNvSpPr>
                <a:spLocks noChangeAspect="1" noChangeArrowheads="1"/>
              </p:cNvSpPr>
              <p:nvPr/>
            </p:nvSpPr>
            <p:spPr bwMode="auto">
              <a:xfrm>
                <a:off x="7658784" y="3000379"/>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8" name="Oval 16"/>
              <p:cNvSpPr>
                <a:spLocks noChangeAspect="1" noChangeArrowheads="1"/>
              </p:cNvSpPr>
              <p:nvPr/>
            </p:nvSpPr>
            <p:spPr bwMode="auto">
              <a:xfrm>
                <a:off x="9897264" y="3000379"/>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9" name="Oval 17"/>
              <p:cNvSpPr>
                <a:spLocks noChangeAspect="1" noChangeArrowheads="1"/>
              </p:cNvSpPr>
              <p:nvPr/>
            </p:nvSpPr>
            <p:spPr bwMode="auto">
              <a:xfrm>
                <a:off x="9255898" y="2328182"/>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10" name="Oval 18"/>
              <p:cNvSpPr>
                <a:spLocks noChangeAspect="1" noChangeArrowheads="1"/>
              </p:cNvSpPr>
              <p:nvPr/>
            </p:nvSpPr>
            <p:spPr bwMode="auto">
              <a:xfrm>
                <a:off x="8282574" y="2328182"/>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11" name="Oval 19"/>
              <p:cNvSpPr>
                <a:spLocks noChangeAspect="1" noChangeArrowheads="1"/>
              </p:cNvSpPr>
              <p:nvPr/>
            </p:nvSpPr>
            <p:spPr bwMode="auto">
              <a:xfrm>
                <a:off x="9897264" y="3848685"/>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12" name="Oval 20"/>
              <p:cNvSpPr>
                <a:spLocks noChangeAspect="1" noChangeArrowheads="1"/>
              </p:cNvSpPr>
              <p:nvPr/>
            </p:nvSpPr>
            <p:spPr bwMode="auto">
              <a:xfrm>
                <a:off x="9255898" y="4520949"/>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13" name="Oval 21"/>
              <p:cNvSpPr>
                <a:spLocks noChangeAspect="1" noChangeArrowheads="1"/>
              </p:cNvSpPr>
              <p:nvPr/>
            </p:nvSpPr>
            <p:spPr bwMode="auto">
              <a:xfrm>
                <a:off x="8282574" y="4520949"/>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sp>
            <p:nvSpPr>
              <p:cNvPr id="14" name="Oval 22"/>
              <p:cNvSpPr>
                <a:spLocks noChangeAspect="1" noChangeArrowheads="1"/>
              </p:cNvSpPr>
              <p:nvPr/>
            </p:nvSpPr>
            <p:spPr bwMode="auto">
              <a:xfrm>
                <a:off x="7663249" y="3848685"/>
                <a:ext cx="348254" cy="348251"/>
              </a:xfrm>
              <a:prstGeom prst="ellipse">
                <a:avLst/>
              </a:prstGeom>
              <a:solidFill>
                <a:schemeClr val="accent5"/>
              </a:solidFill>
              <a:ln w="9525" algn="ctr">
                <a:noFill/>
                <a:round/>
                <a:headEnd/>
                <a:tailEnd/>
              </a:ln>
            </p:spPr>
            <p:txBody>
              <a:bodyPr wrap="none" anchor="ctr"/>
              <a:lstStyle/>
              <a:p>
                <a:pPr defTabSz="914286" fontAlgn="auto">
                  <a:spcBef>
                    <a:spcPts val="0"/>
                  </a:spcBef>
                  <a:spcAft>
                    <a:spcPts val="0"/>
                  </a:spcAft>
                  <a:defRPr/>
                </a:pPr>
                <a:endParaRPr lang="de-DE" sz="1700" kern="0" dirty="0" smtClean="0">
                  <a:solidFill>
                    <a:sysClr val="windowText" lastClr="000000"/>
                  </a:solidFill>
                  <a:latin typeface="+mn-lt"/>
                </a:endParaRPr>
              </a:p>
            </p:txBody>
          </p:sp>
        </p:grpSp>
      </p:grpSp>
      <p:grpSp>
        <p:nvGrpSpPr>
          <p:cNvPr id="90" name="Gruppieren 122"/>
          <p:cNvGrpSpPr/>
          <p:nvPr/>
        </p:nvGrpSpPr>
        <p:grpSpPr>
          <a:xfrm>
            <a:off x="2910635" y="1845436"/>
            <a:ext cx="2071490" cy="2917987"/>
            <a:chOff x="2910634" y="1845436"/>
            <a:chExt cx="2071490" cy="2917986"/>
          </a:xfrm>
        </p:grpSpPr>
        <p:sp>
          <p:nvSpPr>
            <p:cNvPr id="43" name="Rechteck 42"/>
            <p:cNvSpPr/>
            <p:nvPr/>
          </p:nvSpPr>
          <p:spPr>
            <a:xfrm>
              <a:off x="3290135" y="1845436"/>
              <a:ext cx="971420" cy="276999"/>
            </a:xfrm>
            <a:prstGeom prst="rect">
              <a:avLst/>
            </a:prstGeom>
            <a:noFill/>
          </p:spPr>
          <p:txBody>
            <a:bodyPr wrap="none" lIns="0" tIns="0" rIns="0" bIns="0" anchor="t">
              <a:spAutoFit/>
            </a:bodyPr>
            <a:lstStyle/>
            <a:p>
              <a:pPr fontAlgn="auto">
                <a:spcBef>
                  <a:spcPts val="0"/>
                </a:spcBef>
                <a:spcAft>
                  <a:spcPts val="0"/>
                </a:spcAft>
              </a:pPr>
              <a:r>
                <a:rPr lang="en-US" b="1" kern="0" dirty="0">
                  <a:solidFill>
                    <a:schemeClr val="accent5"/>
                  </a:solidFill>
                  <a:latin typeface="+mn-lt"/>
                </a:rPr>
                <a:t>Complex</a:t>
              </a:r>
            </a:p>
          </p:txBody>
        </p:sp>
        <p:grpSp>
          <p:nvGrpSpPr>
            <p:cNvPr id="110" name="Gruppieren 43"/>
            <p:cNvGrpSpPr/>
            <p:nvPr/>
          </p:nvGrpSpPr>
          <p:grpSpPr>
            <a:xfrm>
              <a:off x="2910634" y="3053990"/>
              <a:ext cx="2071490" cy="1709432"/>
              <a:chOff x="7789311" y="2092520"/>
              <a:chExt cx="3167149" cy="2613588"/>
            </a:xfrm>
            <a:solidFill>
              <a:schemeClr val="accent5"/>
            </a:solidFill>
          </p:grpSpPr>
          <p:sp>
            <p:nvSpPr>
              <p:cNvPr id="45" name="Ellipse 44"/>
              <p:cNvSpPr>
                <a:spLocks noChangeAspect="1"/>
              </p:cNvSpPr>
              <p:nvPr/>
            </p:nvSpPr>
            <p:spPr bwMode="auto">
              <a:xfrm>
                <a:off x="8475505" y="2708900"/>
                <a:ext cx="504000" cy="50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46" name="Ellipse 45"/>
              <p:cNvSpPr>
                <a:spLocks noChangeAspect="1"/>
              </p:cNvSpPr>
              <p:nvPr/>
            </p:nvSpPr>
            <p:spPr bwMode="auto">
              <a:xfrm>
                <a:off x="9800263" y="2272077"/>
                <a:ext cx="396000" cy="39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47" name="Ellipse 46"/>
              <p:cNvSpPr>
                <a:spLocks noChangeAspect="1"/>
              </p:cNvSpPr>
              <p:nvPr/>
            </p:nvSpPr>
            <p:spPr bwMode="auto">
              <a:xfrm>
                <a:off x="9607026" y="2767663"/>
                <a:ext cx="396000" cy="39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48" name="Ellipse 47"/>
              <p:cNvSpPr>
                <a:spLocks noChangeAspect="1"/>
              </p:cNvSpPr>
              <p:nvPr/>
            </p:nvSpPr>
            <p:spPr bwMode="auto">
              <a:xfrm>
                <a:off x="9610254" y="3486531"/>
                <a:ext cx="396000" cy="39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49" name="Ellipse 48"/>
              <p:cNvSpPr>
                <a:spLocks noChangeAspect="1"/>
              </p:cNvSpPr>
              <p:nvPr/>
            </p:nvSpPr>
            <p:spPr bwMode="auto">
              <a:xfrm>
                <a:off x="9347107" y="4034223"/>
                <a:ext cx="324000" cy="32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0" name="Ellipse 49"/>
              <p:cNvSpPr>
                <a:spLocks noChangeAspect="1"/>
              </p:cNvSpPr>
              <p:nvPr/>
            </p:nvSpPr>
            <p:spPr bwMode="auto">
              <a:xfrm>
                <a:off x="10491785" y="3098132"/>
                <a:ext cx="324000" cy="32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1" name="Ellipse 50"/>
              <p:cNvSpPr>
                <a:spLocks noChangeAspect="1"/>
              </p:cNvSpPr>
              <p:nvPr/>
            </p:nvSpPr>
            <p:spPr bwMode="auto">
              <a:xfrm>
                <a:off x="9409098" y="3090221"/>
                <a:ext cx="324000" cy="32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2" name="Ellipse 51"/>
              <p:cNvSpPr>
                <a:spLocks noChangeAspect="1"/>
              </p:cNvSpPr>
              <p:nvPr/>
            </p:nvSpPr>
            <p:spPr bwMode="auto">
              <a:xfrm>
                <a:off x="9088332" y="2825374"/>
                <a:ext cx="324000" cy="32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3" name="Ellipse 52"/>
              <p:cNvSpPr>
                <a:spLocks noChangeAspect="1"/>
              </p:cNvSpPr>
              <p:nvPr/>
            </p:nvSpPr>
            <p:spPr bwMode="auto">
              <a:xfrm>
                <a:off x="9122794" y="3395158"/>
                <a:ext cx="252000" cy="252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4" name="Ellipse 53"/>
              <p:cNvSpPr>
                <a:spLocks noChangeAspect="1"/>
              </p:cNvSpPr>
              <p:nvPr/>
            </p:nvSpPr>
            <p:spPr bwMode="auto">
              <a:xfrm>
                <a:off x="9286332" y="3632203"/>
                <a:ext cx="216000" cy="21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5" name="Ellipse 54"/>
              <p:cNvSpPr>
                <a:spLocks noChangeAspect="1"/>
              </p:cNvSpPr>
              <p:nvPr/>
            </p:nvSpPr>
            <p:spPr bwMode="auto">
              <a:xfrm>
                <a:off x="9803491" y="3231952"/>
                <a:ext cx="216000" cy="21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6" name="Ellipse 55"/>
              <p:cNvSpPr>
                <a:spLocks noChangeAspect="1"/>
              </p:cNvSpPr>
              <p:nvPr/>
            </p:nvSpPr>
            <p:spPr bwMode="auto">
              <a:xfrm>
                <a:off x="10019491" y="3479495"/>
                <a:ext cx="216000" cy="21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7" name="Ellipse 56"/>
              <p:cNvSpPr>
                <a:spLocks noChangeAspect="1"/>
              </p:cNvSpPr>
              <p:nvPr/>
            </p:nvSpPr>
            <p:spPr bwMode="auto">
              <a:xfrm>
                <a:off x="10406863" y="3684531"/>
                <a:ext cx="216000" cy="21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8" name="Ellipse 57"/>
              <p:cNvSpPr>
                <a:spLocks noChangeAspect="1"/>
              </p:cNvSpPr>
              <p:nvPr/>
            </p:nvSpPr>
            <p:spPr bwMode="auto">
              <a:xfrm>
                <a:off x="8989600" y="3746158"/>
                <a:ext cx="216000" cy="216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59" name="Ellipse 58"/>
              <p:cNvSpPr>
                <a:spLocks noChangeAspect="1"/>
              </p:cNvSpPr>
              <p:nvPr/>
            </p:nvSpPr>
            <p:spPr bwMode="auto">
              <a:xfrm>
                <a:off x="9243526" y="2569210"/>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0" name="Ellipse 59"/>
              <p:cNvSpPr>
                <a:spLocks noChangeAspect="1"/>
              </p:cNvSpPr>
              <p:nvPr/>
            </p:nvSpPr>
            <p:spPr bwMode="auto">
              <a:xfrm>
                <a:off x="9371070" y="2214366"/>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1" name="Ellipse 60"/>
              <p:cNvSpPr>
                <a:spLocks noChangeAspect="1"/>
              </p:cNvSpPr>
              <p:nvPr/>
            </p:nvSpPr>
            <p:spPr bwMode="auto">
              <a:xfrm>
                <a:off x="8993794" y="2373020"/>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2" name="Ellipse 61"/>
              <p:cNvSpPr>
                <a:spLocks noChangeAspect="1"/>
              </p:cNvSpPr>
              <p:nvPr/>
            </p:nvSpPr>
            <p:spPr bwMode="auto">
              <a:xfrm>
                <a:off x="9656744" y="2393314"/>
                <a:ext cx="180000" cy="180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3" name="Ellipse 62"/>
              <p:cNvSpPr>
                <a:spLocks noChangeAspect="1"/>
              </p:cNvSpPr>
              <p:nvPr/>
            </p:nvSpPr>
            <p:spPr bwMode="auto">
              <a:xfrm>
                <a:off x="9827306" y="2092520"/>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4" name="Ellipse 63"/>
              <p:cNvSpPr>
                <a:spLocks noChangeAspect="1"/>
              </p:cNvSpPr>
              <p:nvPr/>
            </p:nvSpPr>
            <p:spPr bwMode="auto">
              <a:xfrm>
                <a:off x="10216439" y="2519363"/>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5" name="Ellipse 64"/>
              <p:cNvSpPr>
                <a:spLocks noChangeAspect="1"/>
              </p:cNvSpPr>
              <p:nvPr/>
            </p:nvSpPr>
            <p:spPr bwMode="auto">
              <a:xfrm>
                <a:off x="10203589" y="3102895"/>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6" name="Ellipse 65"/>
              <p:cNvSpPr>
                <a:spLocks noChangeAspect="1"/>
              </p:cNvSpPr>
              <p:nvPr/>
            </p:nvSpPr>
            <p:spPr bwMode="auto">
              <a:xfrm>
                <a:off x="10812460" y="3546732"/>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7" name="Ellipse 66"/>
              <p:cNvSpPr>
                <a:spLocks noChangeAspect="1"/>
              </p:cNvSpPr>
              <p:nvPr/>
            </p:nvSpPr>
            <p:spPr bwMode="auto">
              <a:xfrm>
                <a:off x="10533915" y="4060980"/>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8" name="Ellipse 67"/>
              <p:cNvSpPr>
                <a:spLocks noChangeAspect="1"/>
              </p:cNvSpPr>
              <p:nvPr/>
            </p:nvSpPr>
            <p:spPr bwMode="auto">
              <a:xfrm>
                <a:off x="10114737" y="4152032"/>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69" name="Ellipse 68"/>
              <p:cNvSpPr>
                <a:spLocks noChangeAspect="1"/>
              </p:cNvSpPr>
              <p:nvPr/>
            </p:nvSpPr>
            <p:spPr bwMode="auto">
              <a:xfrm>
                <a:off x="9702358" y="4051454"/>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0" name="Ellipse 69"/>
              <p:cNvSpPr>
                <a:spLocks noChangeAspect="1"/>
              </p:cNvSpPr>
              <p:nvPr/>
            </p:nvSpPr>
            <p:spPr bwMode="auto">
              <a:xfrm>
                <a:off x="9292382" y="3833737"/>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1" name="Ellipse 70"/>
              <p:cNvSpPr>
                <a:spLocks noChangeAspect="1"/>
              </p:cNvSpPr>
              <p:nvPr/>
            </p:nvSpPr>
            <p:spPr bwMode="auto">
              <a:xfrm>
                <a:off x="9476415" y="3404136"/>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2" name="Ellipse 71"/>
              <p:cNvSpPr>
                <a:spLocks noChangeAspect="1"/>
              </p:cNvSpPr>
              <p:nvPr/>
            </p:nvSpPr>
            <p:spPr bwMode="auto">
              <a:xfrm>
                <a:off x="9236016" y="3261327"/>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3" name="Ellipse 72"/>
              <p:cNvSpPr>
                <a:spLocks noChangeAspect="1"/>
              </p:cNvSpPr>
              <p:nvPr/>
            </p:nvSpPr>
            <p:spPr bwMode="auto">
              <a:xfrm>
                <a:off x="8475505" y="3113018"/>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4" name="Ellipse 73"/>
              <p:cNvSpPr>
                <a:spLocks noChangeAspect="1"/>
              </p:cNvSpPr>
              <p:nvPr/>
            </p:nvSpPr>
            <p:spPr bwMode="auto">
              <a:xfrm>
                <a:off x="8553747" y="2668126"/>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5" name="Ellipse 74"/>
              <p:cNvSpPr>
                <a:spLocks noChangeAspect="1"/>
              </p:cNvSpPr>
              <p:nvPr/>
            </p:nvSpPr>
            <p:spPr bwMode="auto">
              <a:xfrm>
                <a:off x="8912268" y="2740126"/>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6" name="Ellipse 75"/>
              <p:cNvSpPr>
                <a:spLocks noChangeAspect="1"/>
              </p:cNvSpPr>
              <p:nvPr/>
            </p:nvSpPr>
            <p:spPr bwMode="auto">
              <a:xfrm>
                <a:off x="8803025" y="3253345"/>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7" name="Ellipse 76"/>
              <p:cNvSpPr>
                <a:spLocks noChangeAspect="1"/>
              </p:cNvSpPr>
              <p:nvPr/>
            </p:nvSpPr>
            <p:spPr bwMode="auto">
              <a:xfrm>
                <a:off x="8139270" y="2935080"/>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8" name="Ellipse 77"/>
              <p:cNvSpPr>
                <a:spLocks noChangeAspect="1"/>
              </p:cNvSpPr>
              <p:nvPr/>
            </p:nvSpPr>
            <p:spPr bwMode="auto">
              <a:xfrm>
                <a:off x="7789311" y="3606387"/>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79" name="Ellipse 78"/>
              <p:cNvSpPr>
                <a:spLocks noChangeAspect="1"/>
              </p:cNvSpPr>
              <p:nvPr/>
            </p:nvSpPr>
            <p:spPr bwMode="auto">
              <a:xfrm>
                <a:off x="8456355" y="3531625"/>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0" name="Ellipse 79"/>
              <p:cNvSpPr>
                <a:spLocks noChangeAspect="1"/>
              </p:cNvSpPr>
              <p:nvPr/>
            </p:nvSpPr>
            <p:spPr bwMode="auto">
              <a:xfrm>
                <a:off x="8397460" y="4064975"/>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1" name="Ellipse 80"/>
              <p:cNvSpPr>
                <a:spLocks noChangeAspect="1"/>
              </p:cNvSpPr>
              <p:nvPr/>
            </p:nvSpPr>
            <p:spPr bwMode="auto">
              <a:xfrm>
                <a:off x="8793499" y="3628106"/>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2" name="Ellipse 81"/>
              <p:cNvSpPr>
                <a:spLocks noChangeAspect="1"/>
              </p:cNvSpPr>
              <p:nvPr/>
            </p:nvSpPr>
            <p:spPr bwMode="auto">
              <a:xfrm>
                <a:off x="8625684" y="4019934"/>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3" name="Ellipse 82"/>
              <p:cNvSpPr>
                <a:spLocks noChangeAspect="1"/>
              </p:cNvSpPr>
              <p:nvPr/>
            </p:nvSpPr>
            <p:spPr bwMode="auto">
              <a:xfrm>
                <a:off x="8826840" y="3833041"/>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4" name="Ellipse 83"/>
              <p:cNvSpPr>
                <a:spLocks noChangeAspect="1"/>
              </p:cNvSpPr>
              <p:nvPr/>
            </p:nvSpPr>
            <p:spPr bwMode="auto">
              <a:xfrm>
                <a:off x="8932736" y="4152032"/>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5" name="Ellipse 84"/>
              <p:cNvSpPr>
                <a:spLocks noChangeAspect="1"/>
              </p:cNvSpPr>
              <p:nvPr/>
            </p:nvSpPr>
            <p:spPr bwMode="auto">
              <a:xfrm>
                <a:off x="9261981" y="4562108"/>
                <a:ext cx="144000" cy="144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6" name="Ellipse 85"/>
              <p:cNvSpPr>
                <a:spLocks noChangeAspect="1"/>
              </p:cNvSpPr>
              <p:nvPr/>
            </p:nvSpPr>
            <p:spPr bwMode="auto">
              <a:xfrm>
                <a:off x="8158322" y="3700258"/>
                <a:ext cx="108000" cy="108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7" name="Ellipse 86"/>
              <p:cNvSpPr>
                <a:spLocks noChangeAspect="1"/>
              </p:cNvSpPr>
              <p:nvPr/>
            </p:nvSpPr>
            <p:spPr bwMode="auto">
              <a:xfrm>
                <a:off x="10195780" y="2825363"/>
                <a:ext cx="108000" cy="108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88" name="Ellipse 87"/>
              <p:cNvSpPr>
                <a:spLocks noChangeAspect="1"/>
              </p:cNvSpPr>
              <p:nvPr/>
            </p:nvSpPr>
            <p:spPr bwMode="auto">
              <a:xfrm>
                <a:off x="10108439" y="3812343"/>
                <a:ext cx="108000" cy="108000"/>
              </a:xfrm>
              <a:prstGeom prst="ellipse">
                <a:avLst/>
              </a:prstGeom>
              <a:grp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grpSp>
      </p:grpSp>
      <p:grpSp>
        <p:nvGrpSpPr>
          <p:cNvPr id="115" name="Gruppieren 123"/>
          <p:cNvGrpSpPr/>
          <p:nvPr/>
        </p:nvGrpSpPr>
        <p:grpSpPr>
          <a:xfrm>
            <a:off x="5342240" y="1845437"/>
            <a:ext cx="2209030" cy="2282908"/>
            <a:chOff x="5342239" y="1845436"/>
            <a:chExt cx="2209030" cy="2282908"/>
          </a:xfrm>
        </p:grpSpPr>
        <p:sp>
          <p:nvSpPr>
            <p:cNvPr id="89" name="Rechteck 88"/>
            <p:cNvSpPr/>
            <p:nvPr/>
          </p:nvSpPr>
          <p:spPr>
            <a:xfrm>
              <a:off x="5898775" y="1845436"/>
              <a:ext cx="852798" cy="276999"/>
            </a:xfrm>
            <a:prstGeom prst="rect">
              <a:avLst/>
            </a:prstGeom>
            <a:noFill/>
          </p:spPr>
          <p:txBody>
            <a:bodyPr wrap="none" lIns="0" tIns="0" rIns="0" bIns="0" anchor="t">
              <a:spAutoFit/>
            </a:bodyPr>
            <a:lstStyle/>
            <a:p>
              <a:pPr fontAlgn="auto">
                <a:spcBef>
                  <a:spcPts val="0"/>
                </a:spcBef>
                <a:spcAft>
                  <a:spcPts val="0"/>
                </a:spcAft>
              </a:pPr>
              <a:r>
                <a:rPr lang="en-US" b="1" kern="0" dirty="0">
                  <a:solidFill>
                    <a:schemeClr val="accent5"/>
                  </a:solidFill>
                  <a:latin typeface="+mn-lt"/>
                </a:rPr>
                <a:t>Volatile</a:t>
              </a:r>
            </a:p>
          </p:txBody>
        </p:sp>
        <p:grpSp>
          <p:nvGrpSpPr>
            <p:cNvPr id="119" name="Gruppieren 89"/>
            <p:cNvGrpSpPr/>
            <p:nvPr/>
          </p:nvGrpSpPr>
          <p:grpSpPr>
            <a:xfrm>
              <a:off x="5342239" y="3689067"/>
              <a:ext cx="2209030" cy="439277"/>
              <a:chOff x="4985725" y="3986854"/>
              <a:chExt cx="3108281" cy="618096"/>
            </a:xfrm>
          </p:grpSpPr>
          <p:sp>
            <p:nvSpPr>
              <p:cNvPr id="91" name="Ellipse 90"/>
              <p:cNvSpPr/>
              <p:nvPr/>
            </p:nvSpPr>
            <p:spPr bwMode="auto">
              <a:xfrm>
                <a:off x="4985725" y="4149100"/>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2" name="Ellipse 91"/>
              <p:cNvSpPr/>
              <p:nvPr/>
            </p:nvSpPr>
            <p:spPr bwMode="auto">
              <a:xfrm>
                <a:off x="5186869" y="4096553"/>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3" name="Ellipse 92"/>
              <p:cNvSpPr/>
              <p:nvPr/>
            </p:nvSpPr>
            <p:spPr bwMode="auto">
              <a:xfrm>
                <a:off x="5414790" y="4116967"/>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4" name="Ellipse 93"/>
              <p:cNvSpPr/>
              <p:nvPr/>
            </p:nvSpPr>
            <p:spPr bwMode="auto">
              <a:xfrm>
                <a:off x="5539762" y="4276619"/>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5" name="Ellipse 94"/>
              <p:cNvSpPr/>
              <p:nvPr/>
            </p:nvSpPr>
            <p:spPr bwMode="auto">
              <a:xfrm>
                <a:off x="5725777" y="4223502"/>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6" name="Ellipse 95"/>
              <p:cNvSpPr/>
              <p:nvPr/>
            </p:nvSpPr>
            <p:spPr bwMode="auto">
              <a:xfrm>
                <a:off x="5906955" y="4114586"/>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7" name="Ellipse 96"/>
              <p:cNvSpPr/>
              <p:nvPr/>
            </p:nvSpPr>
            <p:spPr bwMode="auto">
              <a:xfrm>
                <a:off x="6089651" y="4168903"/>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8" name="Ellipse 97"/>
              <p:cNvSpPr/>
              <p:nvPr/>
            </p:nvSpPr>
            <p:spPr bwMode="auto">
              <a:xfrm>
                <a:off x="6269386" y="4184101"/>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99" name="Ellipse 98"/>
              <p:cNvSpPr/>
              <p:nvPr/>
            </p:nvSpPr>
            <p:spPr bwMode="auto">
              <a:xfrm>
                <a:off x="6449701" y="4113220"/>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0" name="Ellipse 99"/>
              <p:cNvSpPr/>
              <p:nvPr/>
            </p:nvSpPr>
            <p:spPr bwMode="auto">
              <a:xfrm>
                <a:off x="6632397" y="4021153"/>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1" name="Ellipse 100"/>
              <p:cNvSpPr/>
              <p:nvPr/>
            </p:nvSpPr>
            <p:spPr bwMode="auto">
              <a:xfrm>
                <a:off x="6808535" y="3986854"/>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2" name="Ellipse 101"/>
              <p:cNvSpPr/>
              <p:nvPr/>
            </p:nvSpPr>
            <p:spPr bwMode="auto">
              <a:xfrm>
                <a:off x="6989486" y="4040042"/>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3" name="Ellipse 102"/>
              <p:cNvSpPr/>
              <p:nvPr/>
            </p:nvSpPr>
            <p:spPr bwMode="auto">
              <a:xfrm>
                <a:off x="7169801" y="4187601"/>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4" name="Ellipse 103"/>
              <p:cNvSpPr/>
              <p:nvPr/>
            </p:nvSpPr>
            <p:spPr bwMode="auto">
              <a:xfrm>
                <a:off x="7258478" y="4350380"/>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5" name="Ellipse 104"/>
              <p:cNvSpPr/>
              <p:nvPr/>
            </p:nvSpPr>
            <p:spPr bwMode="auto">
              <a:xfrm>
                <a:off x="7389189" y="4460950"/>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6" name="Ellipse 105"/>
              <p:cNvSpPr/>
              <p:nvPr/>
            </p:nvSpPr>
            <p:spPr bwMode="auto">
              <a:xfrm>
                <a:off x="7495824" y="4315245"/>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7" name="Ellipse 106"/>
              <p:cNvSpPr/>
              <p:nvPr/>
            </p:nvSpPr>
            <p:spPr bwMode="auto">
              <a:xfrm>
                <a:off x="7606623" y="4185220"/>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8" name="Ellipse 107"/>
              <p:cNvSpPr/>
              <p:nvPr/>
            </p:nvSpPr>
            <p:spPr bwMode="auto">
              <a:xfrm>
                <a:off x="7771144" y="4239432"/>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sp>
            <p:nvSpPr>
              <p:cNvPr id="109" name="Ellipse 108"/>
              <p:cNvSpPr/>
              <p:nvPr/>
            </p:nvSpPr>
            <p:spPr bwMode="auto">
              <a:xfrm>
                <a:off x="7950006" y="4168553"/>
                <a:ext cx="144000" cy="144000"/>
              </a:xfrm>
              <a:prstGeom prst="ellipse">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00" b="1" dirty="0" smtClean="0">
                  <a:solidFill>
                    <a:schemeClr val="tx1"/>
                  </a:solidFill>
                  <a:latin typeface="+mn-lt"/>
                </a:endParaRPr>
              </a:p>
            </p:txBody>
          </p:sp>
        </p:grpSp>
      </p:grpSp>
      <p:grpSp>
        <p:nvGrpSpPr>
          <p:cNvPr id="120" name="Gruppieren 124"/>
          <p:cNvGrpSpPr/>
          <p:nvPr/>
        </p:nvGrpSpPr>
        <p:grpSpPr>
          <a:xfrm>
            <a:off x="7700160" y="1845436"/>
            <a:ext cx="2209030" cy="3167784"/>
            <a:chOff x="7700160" y="1845436"/>
            <a:chExt cx="2209030" cy="3167784"/>
          </a:xfrm>
        </p:grpSpPr>
        <p:grpSp>
          <p:nvGrpSpPr>
            <p:cNvPr id="121" name="Gruppieren 109"/>
            <p:cNvGrpSpPr/>
            <p:nvPr/>
          </p:nvGrpSpPr>
          <p:grpSpPr>
            <a:xfrm>
              <a:off x="7700160" y="2804190"/>
              <a:ext cx="2209030" cy="2209030"/>
              <a:chOff x="6459225" y="1735096"/>
              <a:chExt cx="4104570" cy="4104570"/>
            </a:xfrm>
          </p:grpSpPr>
          <p:sp>
            <p:nvSpPr>
              <p:cNvPr id="111" name="Oval 4"/>
              <p:cNvSpPr>
                <a:spLocks noChangeAspect="1" noChangeArrowheads="1"/>
              </p:cNvSpPr>
              <p:nvPr/>
            </p:nvSpPr>
            <p:spPr bwMode="auto">
              <a:xfrm>
                <a:off x="6459225" y="1735096"/>
                <a:ext cx="4104570" cy="4104570"/>
              </a:xfrm>
              <a:prstGeom prst="ellipse">
                <a:avLst/>
              </a:prstGeom>
              <a:gradFill rotWithShape="1">
                <a:gsLst>
                  <a:gs pos="0">
                    <a:srgbClr val="004664"/>
                  </a:gs>
                  <a:gs pos="100000">
                    <a:schemeClr val="accent5">
                      <a:alpha val="0"/>
                    </a:schemeClr>
                  </a:gs>
                </a:gsLst>
                <a:path path="shape">
                  <a:fillToRect l="50000" t="50000" r="50000" b="50000"/>
                </a:path>
              </a:gradFill>
              <a:ln w="9525" algn="ctr">
                <a:noFill/>
                <a:round/>
                <a:headEnd/>
                <a:tailEnd/>
              </a:ln>
            </p:spPr>
            <p:txBody>
              <a:bodyPr wrap="none" anchor="ctr"/>
              <a:lstStyle/>
              <a:p>
                <a:pPr algn="ctr" defTabSz="914286" fontAlgn="auto">
                  <a:spcBef>
                    <a:spcPts val="0"/>
                  </a:spcBef>
                  <a:spcAft>
                    <a:spcPts val="0"/>
                  </a:spcAft>
                  <a:defRPr/>
                </a:pPr>
                <a:endParaRPr lang="de-DE" sz="900" kern="0" dirty="0" smtClean="0">
                  <a:solidFill>
                    <a:sysClr val="windowText" lastClr="000000"/>
                  </a:solidFill>
                </a:endParaRPr>
              </a:p>
            </p:txBody>
          </p:sp>
          <p:sp>
            <p:nvSpPr>
              <p:cNvPr id="112" name="Text Box 6"/>
              <p:cNvSpPr txBox="1">
                <a:spLocks noChangeAspect="1" noChangeArrowheads="1"/>
              </p:cNvSpPr>
              <p:nvPr/>
            </p:nvSpPr>
            <p:spPr bwMode="auto">
              <a:xfrm>
                <a:off x="8103153" y="3072528"/>
                <a:ext cx="816711" cy="1429688"/>
              </a:xfrm>
              <a:prstGeom prst="rect">
                <a:avLst/>
              </a:prstGeom>
              <a:noFill/>
              <a:ln w="9525" algn="ctr">
                <a:noFill/>
                <a:miter lim="800000"/>
                <a:headEnd/>
                <a:tailEnd/>
              </a:ln>
            </p:spPr>
            <p:txBody>
              <a:bodyPr wrap="none" anchor="ctr">
                <a:spAutoFit/>
              </a:bodyPr>
              <a:lstStyle/>
              <a:p>
                <a:pPr algn="ctr" defTabSz="914286" fontAlgn="auto">
                  <a:spcBef>
                    <a:spcPts val="0"/>
                  </a:spcBef>
                  <a:spcAft>
                    <a:spcPts val="0"/>
                  </a:spcAft>
                  <a:defRPr/>
                </a:pPr>
                <a:r>
                  <a:rPr lang="en-US" sz="4400" b="1" kern="0" dirty="0" smtClean="0">
                    <a:solidFill>
                      <a:srgbClr val="D7D7CD"/>
                    </a:solidFill>
                    <a:latin typeface="Siemens Slab" pitchFamily="2" charset="0"/>
                  </a:rPr>
                  <a:t>?</a:t>
                </a:r>
              </a:p>
            </p:txBody>
          </p:sp>
        </p:grpSp>
        <p:sp>
          <p:nvSpPr>
            <p:cNvPr id="113" name="Rechteck 112"/>
            <p:cNvSpPr/>
            <p:nvPr/>
          </p:nvSpPr>
          <p:spPr>
            <a:xfrm>
              <a:off x="8071460" y="1845436"/>
              <a:ext cx="1093248" cy="276999"/>
            </a:xfrm>
            <a:prstGeom prst="rect">
              <a:avLst/>
            </a:prstGeom>
            <a:noFill/>
          </p:spPr>
          <p:txBody>
            <a:bodyPr wrap="none" lIns="0" tIns="0" rIns="0" bIns="0" anchor="t">
              <a:spAutoFit/>
            </a:bodyPr>
            <a:lstStyle/>
            <a:p>
              <a:pPr fontAlgn="auto">
                <a:spcBef>
                  <a:spcPts val="0"/>
                </a:spcBef>
                <a:spcAft>
                  <a:spcPts val="0"/>
                </a:spcAft>
              </a:pPr>
              <a:r>
                <a:rPr lang="en-US" b="1" kern="0" dirty="0">
                  <a:solidFill>
                    <a:schemeClr val="accent5"/>
                  </a:solidFill>
                  <a:latin typeface="+mn-lt"/>
                </a:rPr>
                <a:t>Uncertain</a:t>
              </a:r>
            </a:p>
          </p:txBody>
        </p:sp>
      </p:grpSp>
      <p:grpSp>
        <p:nvGrpSpPr>
          <p:cNvPr id="122" name="Gruppieren 125"/>
          <p:cNvGrpSpPr/>
          <p:nvPr/>
        </p:nvGrpSpPr>
        <p:grpSpPr>
          <a:xfrm>
            <a:off x="10133284" y="1845437"/>
            <a:ext cx="1528286" cy="2318828"/>
            <a:chOff x="10133285" y="1845436"/>
            <a:chExt cx="1528286" cy="2318828"/>
          </a:xfrm>
        </p:grpSpPr>
        <p:sp>
          <p:nvSpPr>
            <p:cNvPr id="114" name="Rechteck 113"/>
            <p:cNvSpPr/>
            <p:nvPr/>
          </p:nvSpPr>
          <p:spPr>
            <a:xfrm>
              <a:off x="10589920" y="1845436"/>
              <a:ext cx="474489" cy="276999"/>
            </a:xfrm>
            <a:prstGeom prst="rect">
              <a:avLst/>
            </a:prstGeom>
            <a:noFill/>
          </p:spPr>
          <p:txBody>
            <a:bodyPr wrap="none" lIns="0" tIns="0" rIns="0" bIns="0" anchor="t">
              <a:spAutoFit/>
            </a:bodyPr>
            <a:lstStyle/>
            <a:p>
              <a:pPr fontAlgn="auto">
                <a:spcBef>
                  <a:spcPts val="0"/>
                </a:spcBef>
                <a:spcAft>
                  <a:spcPts val="0"/>
                </a:spcAft>
              </a:pPr>
              <a:r>
                <a:rPr lang="en-US" b="1" kern="0" dirty="0">
                  <a:solidFill>
                    <a:schemeClr val="accent5"/>
                  </a:solidFill>
                  <a:latin typeface="+mn-lt"/>
                </a:rPr>
                <a:t>Fast</a:t>
              </a:r>
            </a:p>
          </p:txBody>
        </p:sp>
        <p:grpSp>
          <p:nvGrpSpPr>
            <p:cNvPr id="123" name="Group 4"/>
            <p:cNvGrpSpPr>
              <a:grpSpLocks noChangeAspect="1"/>
            </p:cNvGrpSpPr>
            <p:nvPr/>
          </p:nvGrpSpPr>
          <p:grpSpPr bwMode="auto">
            <a:xfrm>
              <a:off x="10133285" y="3653146"/>
              <a:ext cx="1528286" cy="511118"/>
              <a:chOff x="0" y="875"/>
              <a:chExt cx="6336" cy="2119"/>
            </a:xfrm>
            <a:solidFill>
              <a:schemeClr val="accent5"/>
            </a:solidFill>
          </p:grpSpPr>
          <p:sp>
            <p:nvSpPr>
              <p:cNvPr id="116" name="Freeform 5"/>
              <p:cNvSpPr>
                <a:spLocks/>
              </p:cNvSpPr>
              <p:nvPr/>
            </p:nvSpPr>
            <p:spPr bwMode="auto">
              <a:xfrm>
                <a:off x="2462" y="875"/>
                <a:ext cx="3874" cy="2119"/>
              </a:xfrm>
              <a:custGeom>
                <a:avLst/>
                <a:gdLst>
                  <a:gd name="T0" fmla="*/ 3874 w 3874"/>
                  <a:gd name="T1" fmla="*/ 1059 h 2119"/>
                  <a:gd name="T2" fmla="*/ 2815 w 3874"/>
                  <a:gd name="T3" fmla="*/ 0 h 2119"/>
                  <a:gd name="T4" fmla="*/ 2815 w 3874"/>
                  <a:gd name="T5" fmla="*/ 405 h 2119"/>
                  <a:gd name="T6" fmla="*/ 1305 w 3874"/>
                  <a:gd name="T7" fmla="*/ 405 h 2119"/>
                  <a:gd name="T8" fmla="*/ 0 w 3874"/>
                  <a:gd name="T9" fmla="*/ 1710 h 2119"/>
                  <a:gd name="T10" fmla="*/ 2815 w 3874"/>
                  <a:gd name="T11" fmla="*/ 1710 h 2119"/>
                  <a:gd name="T12" fmla="*/ 2815 w 3874"/>
                  <a:gd name="T13" fmla="*/ 2119 h 2119"/>
                  <a:gd name="T14" fmla="*/ 3874 w 3874"/>
                  <a:gd name="T15" fmla="*/ 1059 h 2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4" h="2119">
                    <a:moveTo>
                      <a:pt x="3874" y="1059"/>
                    </a:moveTo>
                    <a:lnTo>
                      <a:pt x="2815" y="0"/>
                    </a:lnTo>
                    <a:lnTo>
                      <a:pt x="2815" y="405"/>
                    </a:lnTo>
                    <a:lnTo>
                      <a:pt x="1305" y="405"/>
                    </a:lnTo>
                    <a:lnTo>
                      <a:pt x="0" y="1710"/>
                    </a:lnTo>
                    <a:lnTo>
                      <a:pt x="2815" y="1710"/>
                    </a:lnTo>
                    <a:lnTo>
                      <a:pt x="2815" y="2119"/>
                    </a:lnTo>
                    <a:lnTo>
                      <a:pt x="3874" y="10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6"/>
              <p:cNvSpPr>
                <a:spLocks/>
              </p:cNvSpPr>
              <p:nvPr/>
            </p:nvSpPr>
            <p:spPr bwMode="auto">
              <a:xfrm>
                <a:off x="1237" y="1280"/>
                <a:ext cx="1967" cy="1305"/>
              </a:xfrm>
              <a:custGeom>
                <a:avLst/>
                <a:gdLst>
                  <a:gd name="T0" fmla="*/ 0 w 1967"/>
                  <a:gd name="T1" fmla="*/ 1305 h 1305"/>
                  <a:gd name="T2" fmla="*/ 662 w 1967"/>
                  <a:gd name="T3" fmla="*/ 1305 h 1305"/>
                  <a:gd name="T4" fmla="*/ 1967 w 1967"/>
                  <a:gd name="T5" fmla="*/ 0 h 1305"/>
                  <a:gd name="T6" fmla="*/ 1305 w 1967"/>
                  <a:gd name="T7" fmla="*/ 0 h 1305"/>
                  <a:gd name="T8" fmla="*/ 0 w 1967"/>
                  <a:gd name="T9" fmla="*/ 1305 h 1305"/>
                </a:gdLst>
                <a:ahLst/>
                <a:cxnLst>
                  <a:cxn ang="0">
                    <a:pos x="T0" y="T1"/>
                  </a:cxn>
                  <a:cxn ang="0">
                    <a:pos x="T2" y="T3"/>
                  </a:cxn>
                  <a:cxn ang="0">
                    <a:pos x="T4" y="T5"/>
                  </a:cxn>
                  <a:cxn ang="0">
                    <a:pos x="T6" y="T7"/>
                  </a:cxn>
                  <a:cxn ang="0">
                    <a:pos x="T8" y="T9"/>
                  </a:cxn>
                </a:cxnLst>
                <a:rect l="0" t="0" r="r" b="b"/>
                <a:pathLst>
                  <a:path w="1967" h="1305">
                    <a:moveTo>
                      <a:pt x="0" y="1305"/>
                    </a:moveTo>
                    <a:lnTo>
                      <a:pt x="662" y="1305"/>
                    </a:lnTo>
                    <a:lnTo>
                      <a:pt x="1967" y="0"/>
                    </a:lnTo>
                    <a:lnTo>
                      <a:pt x="1305" y="0"/>
                    </a:lnTo>
                    <a:lnTo>
                      <a:pt x="0" y="1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7"/>
              <p:cNvSpPr>
                <a:spLocks/>
              </p:cNvSpPr>
              <p:nvPr/>
            </p:nvSpPr>
            <p:spPr bwMode="auto">
              <a:xfrm>
                <a:off x="0" y="1280"/>
                <a:ext cx="1978" cy="1305"/>
              </a:xfrm>
              <a:custGeom>
                <a:avLst/>
                <a:gdLst>
                  <a:gd name="T0" fmla="*/ 1304 w 1978"/>
                  <a:gd name="T1" fmla="*/ 0 h 1305"/>
                  <a:gd name="T2" fmla="*/ 0 w 1978"/>
                  <a:gd name="T3" fmla="*/ 1305 h 1305"/>
                  <a:gd name="T4" fmla="*/ 674 w 1978"/>
                  <a:gd name="T5" fmla="*/ 1305 h 1305"/>
                  <a:gd name="T6" fmla="*/ 1978 w 1978"/>
                  <a:gd name="T7" fmla="*/ 0 h 1305"/>
                  <a:gd name="T8" fmla="*/ 1304 w 1978"/>
                  <a:gd name="T9" fmla="*/ 0 h 1305"/>
                </a:gdLst>
                <a:ahLst/>
                <a:cxnLst>
                  <a:cxn ang="0">
                    <a:pos x="T0" y="T1"/>
                  </a:cxn>
                  <a:cxn ang="0">
                    <a:pos x="T2" y="T3"/>
                  </a:cxn>
                  <a:cxn ang="0">
                    <a:pos x="T4" y="T5"/>
                  </a:cxn>
                  <a:cxn ang="0">
                    <a:pos x="T6" y="T7"/>
                  </a:cxn>
                  <a:cxn ang="0">
                    <a:pos x="T8" y="T9"/>
                  </a:cxn>
                </a:cxnLst>
                <a:rect l="0" t="0" r="r" b="b"/>
                <a:pathLst>
                  <a:path w="1978" h="1305">
                    <a:moveTo>
                      <a:pt x="1304" y="0"/>
                    </a:moveTo>
                    <a:lnTo>
                      <a:pt x="0" y="1305"/>
                    </a:lnTo>
                    <a:lnTo>
                      <a:pt x="674" y="1305"/>
                    </a:lnTo>
                    <a:lnTo>
                      <a:pt x="1978" y="0"/>
                    </a:lnTo>
                    <a:lnTo>
                      <a:pt x="1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582111042"/>
      </p:ext>
    </p:extLst>
  </p:cSld>
  <p:clrMapOvr>
    <a:masterClrMapping/>
  </p:clrMapOvr>
  <p:transition advClick="0" advTm="3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p:cNvSpPr/>
          <p:nvPr/>
        </p:nvSpPr>
        <p:spPr bwMode="auto">
          <a:xfrm>
            <a:off x="719702" y="6129656"/>
            <a:ext cx="9798325" cy="536189"/>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GB" sz="1800" b="1" dirty="0" smtClean="0">
                <a:solidFill>
                  <a:schemeClr val="tx1"/>
                </a:solidFill>
              </a:rPr>
              <a:t>  </a:t>
            </a:r>
          </a:p>
        </p:txBody>
      </p:sp>
      <p:sp>
        <p:nvSpPr>
          <p:cNvPr id="92" name="Freeform 17"/>
          <p:cNvSpPr>
            <a:spLocks/>
          </p:cNvSpPr>
          <p:nvPr>
            <p:custDataLst>
              <p:tags r:id="rId2"/>
            </p:custDataLst>
          </p:nvPr>
        </p:nvSpPr>
        <p:spPr bwMode="auto">
          <a:xfrm>
            <a:off x="9391331" y="2430685"/>
            <a:ext cx="2141531" cy="834297"/>
          </a:xfrm>
          <a:custGeom>
            <a:avLst/>
            <a:gdLst>
              <a:gd name="T0" fmla="*/ 6 w 2280"/>
              <a:gd name="T1" fmla="*/ 0 h 2034"/>
              <a:gd name="T2" fmla="*/ 2094 w 2280"/>
              <a:gd name="T3" fmla="*/ 0 h 2034"/>
              <a:gd name="T4" fmla="*/ 2280 w 2280"/>
              <a:gd name="T5" fmla="*/ 1008 h 2034"/>
              <a:gd name="T6" fmla="*/ 2094 w 2280"/>
              <a:gd name="T7" fmla="*/ 2034 h 2034"/>
              <a:gd name="T8" fmla="*/ 0 w 2280"/>
              <a:gd name="T9" fmla="*/ 2034 h 2034"/>
              <a:gd name="T10" fmla="*/ 0 60000 65536"/>
              <a:gd name="T11" fmla="*/ 0 60000 65536"/>
              <a:gd name="T12" fmla="*/ 0 60000 65536"/>
              <a:gd name="T13" fmla="*/ 0 60000 65536"/>
              <a:gd name="T14" fmla="*/ 0 60000 65536"/>
              <a:gd name="T15" fmla="*/ 0 w 2280"/>
              <a:gd name="T16" fmla="*/ 0 h 2034"/>
              <a:gd name="T17" fmla="*/ 2280 w 2280"/>
              <a:gd name="T18" fmla="*/ 2034 h 2034"/>
            </a:gdLst>
            <a:ahLst/>
            <a:cxnLst>
              <a:cxn ang="T10">
                <a:pos x="T0" y="T1"/>
              </a:cxn>
              <a:cxn ang="T11">
                <a:pos x="T2" y="T3"/>
              </a:cxn>
              <a:cxn ang="T12">
                <a:pos x="T4" y="T5"/>
              </a:cxn>
              <a:cxn ang="T13">
                <a:pos x="T6" y="T7"/>
              </a:cxn>
              <a:cxn ang="T14">
                <a:pos x="T8" y="T9"/>
              </a:cxn>
            </a:cxnLst>
            <a:rect l="T15" t="T16" r="T17" b="T18"/>
            <a:pathLst>
              <a:path w="2280" h="2034">
                <a:moveTo>
                  <a:pt x="6" y="0"/>
                </a:moveTo>
                <a:lnTo>
                  <a:pt x="2094" y="0"/>
                </a:lnTo>
                <a:lnTo>
                  <a:pt x="2280" y="1008"/>
                </a:lnTo>
                <a:lnTo>
                  <a:pt x="2094" y="2034"/>
                </a:lnTo>
                <a:lnTo>
                  <a:pt x="0" y="2034"/>
                </a:lnTo>
              </a:path>
            </a:pathLst>
          </a:custGeom>
          <a:solidFill>
            <a:srgbClr val="FFFFFF"/>
          </a:soli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endParaRPr lang="en-GB" sz="1400" dirty="0"/>
          </a:p>
        </p:txBody>
      </p:sp>
      <p:sp>
        <p:nvSpPr>
          <p:cNvPr id="91" name="Freeform 17"/>
          <p:cNvSpPr>
            <a:spLocks/>
          </p:cNvSpPr>
          <p:nvPr>
            <p:custDataLst>
              <p:tags r:id="rId3"/>
            </p:custDataLst>
          </p:nvPr>
        </p:nvSpPr>
        <p:spPr bwMode="auto">
          <a:xfrm>
            <a:off x="7570273" y="2433861"/>
            <a:ext cx="2141531" cy="834297"/>
          </a:xfrm>
          <a:custGeom>
            <a:avLst/>
            <a:gdLst>
              <a:gd name="T0" fmla="*/ 6 w 2280"/>
              <a:gd name="T1" fmla="*/ 0 h 2034"/>
              <a:gd name="T2" fmla="*/ 2094 w 2280"/>
              <a:gd name="T3" fmla="*/ 0 h 2034"/>
              <a:gd name="T4" fmla="*/ 2280 w 2280"/>
              <a:gd name="T5" fmla="*/ 1008 h 2034"/>
              <a:gd name="T6" fmla="*/ 2094 w 2280"/>
              <a:gd name="T7" fmla="*/ 2034 h 2034"/>
              <a:gd name="T8" fmla="*/ 0 w 2280"/>
              <a:gd name="T9" fmla="*/ 2034 h 2034"/>
              <a:gd name="T10" fmla="*/ 0 60000 65536"/>
              <a:gd name="T11" fmla="*/ 0 60000 65536"/>
              <a:gd name="T12" fmla="*/ 0 60000 65536"/>
              <a:gd name="T13" fmla="*/ 0 60000 65536"/>
              <a:gd name="T14" fmla="*/ 0 60000 65536"/>
              <a:gd name="T15" fmla="*/ 0 w 2280"/>
              <a:gd name="T16" fmla="*/ 0 h 2034"/>
              <a:gd name="T17" fmla="*/ 2280 w 2280"/>
              <a:gd name="T18" fmla="*/ 2034 h 2034"/>
            </a:gdLst>
            <a:ahLst/>
            <a:cxnLst>
              <a:cxn ang="T10">
                <a:pos x="T0" y="T1"/>
              </a:cxn>
              <a:cxn ang="T11">
                <a:pos x="T2" y="T3"/>
              </a:cxn>
              <a:cxn ang="T12">
                <a:pos x="T4" y="T5"/>
              </a:cxn>
              <a:cxn ang="T13">
                <a:pos x="T6" y="T7"/>
              </a:cxn>
              <a:cxn ang="T14">
                <a:pos x="T8" y="T9"/>
              </a:cxn>
            </a:cxnLst>
            <a:rect l="T15" t="T16" r="T17" b="T18"/>
            <a:pathLst>
              <a:path w="2280" h="2034">
                <a:moveTo>
                  <a:pt x="6" y="0"/>
                </a:moveTo>
                <a:lnTo>
                  <a:pt x="2094" y="0"/>
                </a:lnTo>
                <a:lnTo>
                  <a:pt x="2280" y="1008"/>
                </a:lnTo>
                <a:lnTo>
                  <a:pt x="2094" y="2034"/>
                </a:lnTo>
                <a:lnTo>
                  <a:pt x="0" y="2034"/>
                </a:lnTo>
              </a:path>
            </a:pathLst>
          </a:custGeom>
          <a:solidFill>
            <a:srgbClr val="FFFFFF"/>
          </a:soli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endParaRPr lang="en-GB" sz="1400" dirty="0"/>
          </a:p>
        </p:txBody>
      </p:sp>
      <p:sp>
        <p:nvSpPr>
          <p:cNvPr id="86" name="Freeform 17"/>
          <p:cNvSpPr>
            <a:spLocks/>
          </p:cNvSpPr>
          <p:nvPr>
            <p:custDataLst>
              <p:tags r:id="rId4"/>
            </p:custDataLst>
          </p:nvPr>
        </p:nvSpPr>
        <p:spPr bwMode="auto">
          <a:xfrm>
            <a:off x="5846185" y="2430685"/>
            <a:ext cx="2141531" cy="834297"/>
          </a:xfrm>
          <a:custGeom>
            <a:avLst/>
            <a:gdLst>
              <a:gd name="T0" fmla="*/ 6 w 2280"/>
              <a:gd name="T1" fmla="*/ 0 h 2034"/>
              <a:gd name="T2" fmla="*/ 2094 w 2280"/>
              <a:gd name="T3" fmla="*/ 0 h 2034"/>
              <a:gd name="T4" fmla="*/ 2280 w 2280"/>
              <a:gd name="T5" fmla="*/ 1008 h 2034"/>
              <a:gd name="T6" fmla="*/ 2094 w 2280"/>
              <a:gd name="T7" fmla="*/ 2034 h 2034"/>
              <a:gd name="T8" fmla="*/ 0 w 2280"/>
              <a:gd name="T9" fmla="*/ 2034 h 2034"/>
              <a:gd name="T10" fmla="*/ 0 60000 65536"/>
              <a:gd name="T11" fmla="*/ 0 60000 65536"/>
              <a:gd name="T12" fmla="*/ 0 60000 65536"/>
              <a:gd name="T13" fmla="*/ 0 60000 65536"/>
              <a:gd name="T14" fmla="*/ 0 60000 65536"/>
              <a:gd name="T15" fmla="*/ 0 w 2280"/>
              <a:gd name="T16" fmla="*/ 0 h 2034"/>
              <a:gd name="T17" fmla="*/ 2280 w 2280"/>
              <a:gd name="T18" fmla="*/ 2034 h 2034"/>
            </a:gdLst>
            <a:ahLst/>
            <a:cxnLst>
              <a:cxn ang="T10">
                <a:pos x="T0" y="T1"/>
              </a:cxn>
              <a:cxn ang="T11">
                <a:pos x="T2" y="T3"/>
              </a:cxn>
              <a:cxn ang="T12">
                <a:pos x="T4" y="T5"/>
              </a:cxn>
              <a:cxn ang="T13">
                <a:pos x="T6" y="T7"/>
              </a:cxn>
              <a:cxn ang="T14">
                <a:pos x="T8" y="T9"/>
              </a:cxn>
            </a:cxnLst>
            <a:rect l="T15" t="T16" r="T17" b="T18"/>
            <a:pathLst>
              <a:path w="2280" h="2034">
                <a:moveTo>
                  <a:pt x="6" y="0"/>
                </a:moveTo>
                <a:lnTo>
                  <a:pt x="2094" y="0"/>
                </a:lnTo>
                <a:lnTo>
                  <a:pt x="2280" y="1008"/>
                </a:lnTo>
                <a:lnTo>
                  <a:pt x="2094" y="2034"/>
                </a:lnTo>
                <a:lnTo>
                  <a:pt x="0" y="2034"/>
                </a:lnTo>
              </a:path>
            </a:pathLst>
          </a:custGeom>
          <a:solidFill>
            <a:srgbClr val="FFFFFF"/>
          </a:soli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endParaRPr lang="en-GB" sz="1400" dirty="0"/>
          </a:p>
        </p:txBody>
      </p:sp>
      <p:sp>
        <p:nvSpPr>
          <p:cNvPr id="89" name="Rectangle 88"/>
          <p:cNvSpPr/>
          <p:nvPr/>
        </p:nvSpPr>
        <p:spPr bwMode="auto">
          <a:xfrm>
            <a:off x="147788" y="1669781"/>
            <a:ext cx="5897934" cy="303928"/>
          </a:xfrm>
          <a:prstGeom prst="rect">
            <a:avLst/>
          </a:prstGeom>
          <a:solidFill>
            <a:srgbClr val="0020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b="1" dirty="0" smtClean="0">
              <a:solidFill>
                <a:schemeClr val="tx1"/>
              </a:solidFill>
            </a:endParaRPr>
          </a:p>
        </p:txBody>
      </p:sp>
      <p:sp>
        <p:nvSpPr>
          <p:cNvPr id="5135" name="Freeform 17"/>
          <p:cNvSpPr>
            <a:spLocks/>
          </p:cNvSpPr>
          <p:nvPr>
            <p:custDataLst>
              <p:tags r:id="rId5"/>
            </p:custDataLst>
          </p:nvPr>
        </p:nvSpPr>
        <p:spPr bwMode="auto">
          <a:xfrm>
            <a:off x="147788" y="2217505"/>
            <a:ext cx="5524142" cy="3819312"/>
          </a:xfrm>
          <a:custGeom>
            <a:avLst/>
            <a:gdLst>
              <a:gd name="T0" fmla="*/ 6 w 2280"/>
              <a:gd name="T1" fmla="*/ 0 h 2034"/>
              <a:gd name="T2" fmla="*/ 2094 w 2280"/>
              <a:gd name="T3" fmla="*/ 0 h 2034"/>
              <a:gd name="T4" fmla="*/ 2280 w 2280"/>
              <a:gd name="T5" fmla="*/ 1008 h 2034"/>
              <a:gd name="T6" fmla="*/ 2094 w 2280"/>
              <a:gd name="T7" fmla="*/ 2034 h 2034"/>
              <a:gd name="T8" fmla="*/ 0 w 2280"/>
              <a:gd name="T9" fmla="*/ 2034 h 2034"/>
              <a:gd name="T10" fmla="*/ 0 60000 65536"/>
              <a:gd name="T11" fmla="*/ 0 60000 65536"/>
              <a:gd name="T12" fmla="*/ 0 60000 65536"/>
              <a:gd name="T13" fmla="*/ 0 60000 65536"/>
              <a:gd name="T14" fmla="*/ 0 60000 65536"/>
              <a:gd name="T15" fmla="*/ 0 w 2280"/>
              <a:gd name="T16" fmla="*/ 0 h 2034"/>
              <a:gd name="T17" fmla="*/ 2280 w 2280"/>
              <a:gd name="T18" fmla="*/ 2034 h 2034"/>
            </a:gdLst>
            <a:ahLst/>
            <a:cxnLst>
              <a:cxn ang="T10">
                <a:pos x="T0" y="T1"/>
              </a:cxn>
              <a:cxn ang="T11">
                <a:pos x="T2" y="T3"/>
              </a:cxn>
              <a:cxn ang="T12">
                <a:pos x="T4" y="T5"/>
              </a:cxn>
              <a:cxn ang="T13">
                <a:pos x="T6" y="T7"/>
              </a:cxn>
              <a:cxn ang="T14">
                <a:pos x="T8" y="T9"/>
              </a:cxn>
            </a:cxnLst>
            <a:rect l="T15" t="T16" r="T17" b="T18"/>
            <a:pathLst>
              <a:path w="2280" h="2034">
                <a:moveTo>
                  <a:pt x="6" y="0"/>
                </a:moveTo>
                <a:lnTo>
                  <a:pt x="2094" y="0"/>
                </a:lnTo>
                <a:lnTo>
                  <a:pt x="2280" y="1008"/>
                </a:lnTo>
                <a:lnTo>
                  <a:pt x="2094" y="2034"/>
                </a:lnTo>
                <a:lnTo>
                  <a:pt x="0" y="2034"/>
                </a:lnTo>
              </a:path>
            </a:pathLst>
          </a:custGeom>
          <a:solidFill>
            <a:srgbClr val="FFFFFF"/>
          </a:solidFill>
          <a:ln w="19050" cap="flat" cmpd="sng">
            <a:solidFill>
              <a:srgbClr val="999999"/>
            </a:solidFill>
            <a:prstDash val="solid"/>
            <a:round/>
            <a:headEnd type="none" w="med" len="med"/>
            <a:tailEnd type="none" w="med" len="med"/>
          </a:ln>
          <a:effectLst>
            <a:innerShdw blurRad="63500" dist="50800" dir="2700000">
              <a:prstClr val="black">
                <a:alpha val="50000"/>
              </a:prstClr>
            </a:innerShdw>
          </a:effectLst>
        </p:spPr>
        <p:txBody>
          <a:bodyPr wrap="none" lIns="0" tIns="0" rIns="0" bIns="0" anchor="ctr"/>
          <a:lstStyle/>
          <a:p>
            <a:endParaRPr lang="en-GB" sz="1400" dirty="0"/>
          </a:p>
        </p:txBody>
      </p:sp>
      <p:sp>
        <p:nvSpPr>
          <p:cNvPr id="88" name="Oval 87"/>
          <p:cNvSpPr/>
          <p:nvPr/>
        </p:nvSpPr>
        <p:spPr bwMode="auto">
          <a:xfrm>
            <a:off x="3141192" y="3382137"/>
            <a:ext cx="2306402" cy="1510411"/>
          </a:xfrm>
          <a:prstGeom prst="ellipse">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50000" t="50000" r="50000" b="50000"/>
            </a:path>
            <a:tileRect/>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b="1" dirty="0" smtClean="0">
              <a:solidFill>
                <a:schemeClr val="tx1"/>
              </a:solidFill>
            </a:endParaRPr>
          </a:p>
        </p:txBody>
      </p:sp>
      <p:graphicFrame>
        <p:nvGraphicFramePr>
          <p:cNvPr id="5122" name="Rectangle 2" hidden="1"/>
          <p:cNvGraphicFramePr>
            <a:graphicFrameLocks/>
          </p:cNvGraphicFramePr>
          <p:nvPr>
            <p:custDataLst>
              <p:tags r:id="rId6"/>
            </p:custDataLst>
          </p:nvPr>
        </p:nvGraphicFramePr>
        <p:xfrm>
          <a:off x="1" y="0"/>
          <a:ext cx="194835" cy="158750"/>
        </p:xfrm>
        <a:graphic>
          <a:graphicData uri="http://schemas.openxmlformats.org/presentationml/2006/ole">
            <mc:AlternateContent xmlns:mc="http://schemas.openxmlformats.org/markup-compatibility/2006">
              <mc:Choice xmlns:v="urn:schemas-microsoft-com:vml" Requires="v">
                <p:oleObj spid="_x0000_s241686" name="think-cell Slide" r:id="rId70" imgW="0" imgH="0" progId="">
                  <p:embed/>
                </p:oleObj>
              </mc:Choice>
              <mc:Fallback>
                <p:oleObj name="think-cell Slide" r:id="rId7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483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3" name="Rectangle 3"/>
          <p:cNvSpPr>
            <a:spLocks noGrp="1" noChangeArrowheads="1"/>
          </p:cNvSpPr>
          <p:nvPr>
            <p:ph type="title"/>
            <p:custDataLst>
              <p:tags r:id="rId7"/>
            </p:custDataLst>
          </p:nvPr>
        </p:nvSpPr>
        <p:spPr>
          <a:xfrm>
            <a:off x="0" y="4"/>
            <a:ext cx="12799428" cy="1268413"/>
          </a:xfrm>
        </p:spPr>
        <p:txBody>
          <a:bodyPr/>
          <a:lstStyle/>
          <a:p>
            <a:pPr eaLnBrk="1" hangingPunct="1"/>
            <a:r>
              <a:rPr lang="en-GB" sz="1800" dirty="0" smtClean="0"/>
              <a:t>Siemens: Rounded, Grounded and Ready for Work?</a:t>
            </a:r>
            <a:br>
              <a:rPr lang="en-GB" sz="1800" dirty="0" smtClean="0"/>
            </a:br>
            <a:r>
              <a:rPr lang="en-US" sz="1800" b="0" dirty="0" smtClean="0"/>
              <a:t>Business and People Strategy is informed by megatrends </a:t>
            </a:r>
          </a:p>
        </p:txBody>
      </p:sp>
      <p:pic>
        <p:nvPicPr>
          <p:cNvPr id="5136" name="Picture 24" descr="RGB_1"/>
          <p:cNvPicPr>
            <a:picLocks noChangeAspect="1" noChangeArrowheads="1"/>
          </p:cNvPicPr>
          <p:nvPr>
            <p:custDataLst>
              <p:tags r:id="rId8"/>
            </p:custDataLst>
          </p:nvPr>
        </p:nvPicPr>
        <p:blipFill>
          <a:blip r:embed="rId71" cstate="print"/>
          <a:srcRect/>
          <a:stretch>
            <a:fillRect/>
          </a:stretch>
        </p:blipFill>
        <p:spPr bwMode="auto">
          <a:xfrm>
            <a:off x="147789" y="2384616"/>
            <a:ext cx="804752" cy="468313"/>
          </a:xfrm>
          <a:prstGeom prst="rect">
            <a:avLst/>
          </a:prstGeom>
          <a:solidFill>
            <a:srgbClr val="FFFFFF"/>
          </a:solidFill>
          <a:ln w="9525">
            <a:noFill/>
            <a:miter lim="800000"/>
            <a:headEnd/>
            <a:tailEnd/>
          </a:ln>
        </p:spPr>
      </p:pic>
      <p:pic>
        <p:nvPicPr>
          <p:cNvPr id="5137" name="Picture 26" descr="RGB_2"/>
          <p:cNvPicPr>
            <a:picLocks noChangeAspect="1" noChangeArrowheads="1"/>
          </p:cNvPicPr>
          <p:nvPr>
            <p:custDataLst>
              <p:tags r:id="rId9"/>
            </p:custDataLst>
          </p:nvPr>
        </p:nvPicPr>
        <p:blipFill>
          <a:blip r:embed="rId72" cstate="print"/>
          <a:srcRect/>
          <a:stretch>
            <a:fillRect/>
          </a:stretch>
        </p:blipFill>
        <p:spPr bwMode="auto">
          <a:xfrm>
            <a:off x="147789" y="3140965"/>
            <a:ext cx="823812" cy="468313"/>
          </a:xfrm>
          <a:prstGeom prst="rect">
            <a:avLst/>
          </a:prstGeom>
          <a:solidFill>
            <a:srgbClr val="FFFFFF"/>
          </a:solidFill>
          <a:ln w="9525">
            <a:noFill/>
            <a:miter lim="800000"/>
            <a:headEnd/>
            <a:tailEnd/>
          </a:ln>
        </p:spPr>
      </p:pic>
      <p:pic>
        <p:nvPicPr>
          <p:cNvPr id="5138" name="Picture 28" descr="Erde 3"/>
          <p:cNvPicPr>
            <a:picLocks noChangeAspect="1" noChangeArrowheads="1"/>
          </p:cNvPicPr>
          <p:nvPr>
            <p:custDataLst>
              <p:tags r:id="rId10"/>
            </p:custDataLst>
          </p:nvPr>
        </p:nvPicPr>
        <p:blipFill>
          <a:blip r:embed="rId73" cstate="print"/>
          <a:srcRect/>
          <a:stretch>
            <a:fillRect/>
          </a:stretch>
        </p:blipFill>
        <p:spPr bwMode="auto">
          <a:xfrm>
            <a:off x="147788" y="3861054"/>
            <a:ext cx="821694" cy="468312"/>
          </a:xfrm>
          <a:prstGeom prst="rect">
            <a:avLst/>
          </a:prstGeom>
          <a:solidFill>
            <a:srgbClr val="FFFFFF"/>
          </a:solidFill>
          <a:ln w="9525">
            <a:noFill/>
            <a:miter lim="800000"/>
            <a:headEnd/>
            <a:tailEnd/>
          </a:ln>
        </p:spPr>
      </p:pic>
      <p:pic>
        <p:nvPicPr>
          <p:cNvPr id="5139" name="Picture 30" descr="RGB_8"/>
          <p:cNvPicPr>
            <a:picLocks noChangeAspect="1" noChangeArrowheads="1"/>
          </p:cNvPicPr>
          <p:nvPr>
            <p:custDataLst>
              <p:tags r:id="rId11"/>
            </p:custDataLst>
          </p:nvPr>
        </p:nvPicPr>
        <p:blipFill>
          <a:blip r:embed="rId74" cstate="print"/>
          <a:srcRect l="10689" t="5861" r="18161" b="-1558"/>
          <a:stretch>
            <a:fillRect/>
          </a:stretch>
        </p:blipFill>
        <p:spPr bwMode="auto">
          <a:xfrm>
            <a:off x="160495" y="4581145"/>
            <a:ext cx="811105" cy="468313"/>
          </a:xfrm>
          <a:prstGeom prst="rect">
            <a:avLst/>
          </a:prstGeom>
          <a:solidFill>
            <a:srgbClr val="FFFFFF"/>
          </a:solidFill>
          <a:ln w="9525">
            <a:noFill/>
            <a:miter lim="800000"/>
            <a:headEnd/>
            <a:tailEnd/>
          </a:ln>
        </p:spPr>
      </p:pic>
      <p:sp>
        <p:nvSpPr>
          <p:cNvPr id="5140" name="Rectangle 25"/>
          <p:cNvSpPr>
            <a:spLocks noChangeArrowheads="1"/>
          </p:cNvSpPr>
          <p:nvPr>
            <p:custDataLst>
              <p:tags r:id="rId12"/>
            </p:custDataLst>
          </p:nvPr>
        </p:nvSpPr>
        <p:spPr bwMode="auto">
          <a:xfrm>
            <a:off x="939833" y="2420874"/>
            <a:ext cx="2090237" cy="426352"/>
          </a:xfrm>
          <a:prstGeom prst="rect">
            <a:avLst/>
          </a:prstGeom>
          <a:gradFill rotWithShape="0">
            <a:gsLst>
              <a:gs pos="0">
                <a:srgbClr val="FFFFFF"/>
              </a:gs>
              <a:gs pos="100000">
                <a:srgbClr val="DDDDDD"/>
              </a:gs>
            </a:gsLst>
            <a:lin ang="0" scaled="1"/>
          </a:gradFill>
          <a:ln w="9525">
            <a:noFill/>
            <a:miter lim="800000"/>
            <a:headEnd/>
            <a:tailEnd/>
          </a:ln>
        </p:spPr>
        <p:txBody>
          <a:bodyPr lIns="72000" tIns="0" rIns="0" bIns="0" anchor="ctr"/>
          <a:lstStyle/>
          <a:p>
            <a:pPr>
              <a:lnSpc>
                <a:spcPct val="90000"/>
              </a:lnSpc>
              <a:buFontTx/>
              <a:buNone/>
            </a:pPr>
            <a:r>
              <a:rPr lang="en-US" sz="1400" b="1" dirty="0">
                <a:solidFill>
                  <a:srgbClr val="000000"/>
                </a:solidFill>
                <a:cs typeface="Arial" charset="0"/>
              </a:rPr>
              <a:t>Demographic change</a:t>
            </a:r>
          </a:p>
        </p:txBody>
      </p:sp>
      <p:sp>
        <p:nvSpPr>
          <p:cNvPr id="5141" name="Rectangle 27"/>
          <p:cNvSpPr>
            <a:spLocks noChangeArrowheads="1"/>
          </p:cNvSpPr>
          <p:nvPr>
            <p:custDataLst>
              <p:tags r:id="rId13"/>
            </p:custDataLst>
          </p:nvPr>
        </p:nvSpPr>
        <p:spPr bwMode="auto">
          <a:xfrm>
            <a:off x="939833" y="3140964"/>
            <a:ext cx="2090237" cy="426352"/>
          </a:xfrm>
          <a:prstGeom prst="rect">
            <a:avLst/>
          </a:prstGeom>
          <a:gradFill rotWithShape="0">
            <a:gsLst>
              <a:gs pos="0">
                <a:srgbClr val="FFFFFF"/>
              </a:gs>
              <a:gs pos="100000">
                <a:srgbClr val="DDDDDD"/>
              </a:gs>
            </a:gsLst>
            <a:lin ang="0" scaled="1"/>
          </a:gradFill>
          <a:ln w="9525">
            <a:noFill/>
            <a:miter lim="800000"/>
            <a:headEnd/>
            <a:tailEnd/>
          </a:ln>
        </p:spPr>
        <p:txBody>
          <a:bodyPr lIns="72000" tIns="0" rIns="0" bIns="0" anchor="ctr"/>
          <a:lstStyle/>
          <a:p>
            <a:pPr>
              <a:buFontTx/>
              <a:buNone/>
            </a:pPr>
            <a:r>
              <a:rPr lang="en-US" sz="1400" b="1" dirty="0">
                <a:solidFill>
                  <a:srgbClr val="000000"/>
                </a:solidFill>
                <a:cs typeface="Arial" charset="0"/>
              </a:rPr>
              <a:t>Urbanization</a:t>
            </a:r>
          </a:p>
        </p:txBody>
      </p:sp>
      <p:sp>
        <p:nvSpPr>
          <p:cNvPr id="5142" name="Rectangle 29"/>
          <p:cNvSpPr>
            <a:spLocks noChangeArrowheads="1"/>
          </p:cNvSpPr>
          <p:nvPr>
            <p:custDataLst>
              <p:tags r:id="rId14"/>
            </p:custDataLst>
          </p:nvPr>
        </p:nvSpPr>
        <p:spPr bwMode="auto">
          <a:xfrm>
            <a:off x="939833" y="3861055"/>
            <a:ext cx="2090237" cy="426351"/>
          </a:xfrm>
          <a:prstGeom prst="rect">
            <a:avLst/>
          </a:prstGeom>
          <a:gradFill rotWithShape="0">
            <a:gsLst>
              <a:gs pos="0">
                <a:srgbClr val="FFFFFF"/>
              </a:gs>
              <a:gs pos="100000">
                <a:srgbClr val="DDDDDD"/>
              </a:gs>
            </a:gsLst>
            <a:lin ang="0" scaled="1"/>
          </a:gradFill>
          <a:ln w="9525">
            <a:noFill/>
            <a:miter lim="800000"/>
            <a:headEnd/>
            <a:tailEnd/>
          </a:ln>
        </p:spPr>
        <p:txBody>
          <a:bodyPr lIns="72000" tIns="0" rIns="0" bIns="0" anchor="ctr"/>
          <a:lstStyle/>
          <a:p>
            <a:pPr>
              <a:buFontTx/>
              <a:buNone/>
            </a:pPr>
            <a:r>
              <a:rPr lang="en-US" sz="1400" b="1" dirty="0">
                <a:solidFill>
                  <a:srgbClr val="000000"/>
                </a:solidFill>
                <a:cs typeface="Arial" charset="0"/>
              </a:rPr>
              <a:t>Climate change</a:t>
            </a:r>
          </a:p>
        </p:txBody>
      </p:sp>
      <p:sp>
        <p:nvSpPr>
          <p:cNvPr id="5143" name="Rectangle 31"/>
          <p:cNvSpPr>
            <a:spLocks noChangeArrowheads="1"/>
          </p:cNvSpPr>
          <p:nvPr>
            <p:custDataLst>
              <p:tags r:id="rId15"/>
            </p:custDataLst>
          </p:nvPr>
        </p:nvSpPr>
        <p:spPr bwMode="auto">
          <a:xfrm>
            <a:off x="939833" y="4581144"/>
            <a:ext cx="2090237" cy="426352"/>
          </a:xfrm>
          <a:prstGeom prst="rect">
            <a:avLst/>
          </a:prstGeom>
          <a:gradFill rotWithShape="0">
            <a:gsLst>
              <a:gs pos="0">
                <a:srgbClr val="FFFFFF"/>
              </a:gs>
              <a:gs pos="100000">
                <a:srgbClr val="DDDDDD"/>
              </a:gs>
            </a:gsLst>
            <a:lin ang="0" scaled="1"/>
          </a:gradFill>
          <a:ln w="9525">
            <a:noFill/>
            <a:miter lim="800000"/>
            <a:headEnd/>
            <a:tailEnd/>
          </a:ln>
        </p:spPr>
        <p:txBody>
          <a:bodyPr lIns="72000" tIns="0" rIns="0" bIns="0" anchor="ctr"/>
          <a:lstStyle/>
          <a:p>
            <a:pPr>
              <a:buFontTx/>
              <a:buNone/>
            </a:pPr>
            <a:r>
              <a:rPr lang="en-US" sz="1400" b="1" dirty="0">
                <a:solidFill>
                  <a:srgbClr val="000000"/>
                </a:solidFill>
                <a:cs typeface="Arial" charset="0"/>
              </a:rPr>
              <a:t>Globalization</a:t>
            </a:r>
          </a:p>
        </p:txBody>
      </p:sp>
      <p:sp>
        <p:nvSpPr>
          <p:cNvPr id="5144" name="Text Box 23"/>
          <p:cNvSpPr txBox="1">
            <a:spLocks noChangeArrowheads="1"/>
          </p:cNvSpPr>
          <p:nvPr>
            <p:custDataLst>
              <p:tags r:id="rId16"/>
            </p:custDataLst>
          </p:nvPr>
        </p:nvSpPr>
        <p:spPr bwMode="auto">
          <a:xfrm>
            <a:off x="-276497" y="1695102"/>
            <a:ext cx="2688506" cy="246221"/>
          </a:xfrm>
          <a:prstGeom prst="rect">
            <a:avLst/>
          </a:prstGeom>
          <a:noFill/>
          <a:ln w="9525">
            <a:noFill/>
            <a:miter lim="800000"/>
            <a:headEnd/>
            <a:tailEnd/>
          </a:ln>
        </p:spPr>
        <p:txBody>
          <a:bodyPr wrap="square" lIns="0" tIns="0" rIns="0" bIns="0">
            <a:spAutoFit/>
          </a:bodyPr>
          <a:lstStyle/>
          <a:p>
            <a:pPr algn="ctr" eaLnBrk="0" hangingPunct="0">
              <a:buSzPct val="115000"/>
              <a:buFont typeface="Symbol" pitchFamily="18" charset="2"/>
              <a:buNone/>
            </a:pPr>
            <a:r>
              <a:rPr lang="en-US" sz="1600" b="1" dirty="0">
                <a:solidFill>
                  <a:schemeClr val="bg1"/>
                </a:solidFill>
                <a:cs typeface="Arial" charset="0"/>
              </a:rPr>
              <a:t>Megatrends</a:t>
            </a:r>
          </a:p>
        </p:txBody>
      </p:sp>
      <p:sp>
        <p:nvSpPr>
          <p:cNvPr id="84" name="Rectangle 83"/>
          <p:cNvSpPr/>
          <p:nvPr/>
        </p:nvSpPr>
        <p:spPr bwMode="auto">
          <a:xfrm>
            <a:off x="5671933" y="1668595"/>
            <a:ext cx="6250167" cy="305114"/>
          </a:xfrm>
          <a:prstGeom prst="rect">
            <a:avLst/>
          </a:prstGeom>
          <a:solidFill>
            <a:srgbClr val="0020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b="1" dirty="0" smtClean="0">
              <a:solidFill>
                <a:schemeClr val="tx1"/>
              </a:solidFill>
            </a:endParaRPr>
          </a:p>
        </p:txBody>
      </p:sp>
      <p:grpSp>
        <p:nvGrpSpPr>
          <p:cNvPr id="2" name="Group 25"/>
          <p:cNvGrpSpPr/>
          <p:nvPr/>
        </p:nvGrpSpPr>
        <p:grpSpPr>
          <a:xfrm>
            <a:off x="5846186" y="3395054"/>
            <a:ext cx="6075912" cy="2841729"/>
            <a:chOff x="2724150" y="2003425"/>
            <a:chExt cx="4979988" cy="3386814"/>
          </a:xfrm>
        </p:grpSpPr>
        <p:graphicFrame>
          <p:nvGraphicFramePr>
            <p:cNvPr id="27" name="Object 11"/>
            <p:cNvGraphicFramePr>
              <a:graphicFrameLocks noChangeAspect="1"/>
            </p:cNvGraphicFramePr>
            <p:nvPr>
              <p:custDataLst>
                <p:tags r:id="rId21"/>
              </p:custDataLst>
            </p:nvPr>
          </p:nvGraphicFramePr>
          <p:xfrm>
            <a:off x="3206750" y="2327275"/>
            <a:ext cx="4497388" cy="2238375"/>
          </p:xfrm>
          <a:graphic>
            <a:graphicData uri="http://schemas.openxmlformats.org/presentationml/2006/ole">
              <mc:AlternateContent xmlns:mc="http://schemas.openxmlformats.org/markup-compatibility/2006">
                <mc:Choice xmlns:v="urn:schemas-microsoft-com:vml" Requires="v">
                  <p:oleObj spid="_x0000_s241687" name="Slide" r:id="rId75" imgW="4953045" imgH="3429040" progId="PowerPoint.Slide.8">
                    <p:embed/>
                  </p:oleObj>
                </mc:Choice>
                <mc:Fallback>
                  <p:oleObj name="Slide" r:id="rId75" imgW="4953045" imgH="3429040" progId="PowerPoint.Slide.8">
                    <p:embed/>
                    <p:pic>
                      <p:nvPicPr>
                        <p:cNvPr id="0" name="Object 11"/>
                        <p:cNvPicPr>
                          <a:picLocks noChangeAspect="1" noChangeArrowheads="1"/>
                        </p:cNvPicPr>
                        <p:nvPr/>
                      </p:nvPicPr>
                      <p:blipFill>
                        <a:blip r:embed="rId76">
                          <a:extLst>
                            <a:ext uri="{28A0092B-C50C-407E-A947-70E740481C1C}">
                              <a14:useLocalDpi xmlns:a14="http://schemas.microsoft.com/office/drawing/2010/main" val="0"/>
                            </a:ext>
                          </a:extLst>
                        </a:blip>
                        <a:srcRect l="12981" t="22546" r="11539" b="23195"/>
                        <a:stretch>
                          <a:fillRect/>
                        </a:stretch>
                      </p:blipFill>
                      <p:spPr bwMode="auto">
                        <a:xfrm>
                          <a:off x="3206750" y="2327275"/>
                          <a:ext cx="4497388" cy="2238375"/>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pic>
                  </p:oleObj>
                </mc:Fallback>
              </mc:AlternateContent>
            </a:graphicData>
          </a:graphic>
        </p:graphicFrame>
        <p:graphicFrame>
          <p:nvGraphicFramePr>
            <p:cNvPr id="28" name="Object 12"/>
            <p:cNvGraphicFramePr>
              <a:graphicFrameLocks noChangeAspect="1"/>
            </p:cNvGraphicFramePr>
            <p:nvPr>
              <p:custDataLst>
                <p:tags r:id="rId22"/>
              </p:custDataLst>
            </p:nvPr>
          </p:nvGraphicFramePr>
          <p:xfrm>
            <a:off x="3028950" y="2473325"/>
            <a:ext cx="4497388" cy="2238375"/>
          </p:xfrm>
          <a:graphic>
            <a:graphicData uri="http://schemas.openxmlformats.org/presentationml/2006/ole">
              <mc:AlternateContent xmlns:mc="http://schemas.openxmlformats.org/markup-compatibility/2006">
                <mc:Choice xmlns:v="urn:schemas-microsoft-com:vml" Requires="v">
                  <p:oleObj spid="_x0000_s241688" name="Slide" r:id="rId77" imgW="4953045" imgH="3429040" progId="PowerPoint.Slide.8">
                    <p:embed/>
                  </p:oleObj>
                </mc:Choice>
                <mc:Fallback>
                  <p:oleObj name="Slide" r:id="rId77" imgW="4953045" imgH="3429040" progId="PowerPoint.Slide.8">
                    <p:embed/>
                    <p:pic>
                      <p:nvPicPr>
                        <p:cNvPr id="0" name="Object 12"/>
                        <p:cNvPicPr>
                          <a:picLocks noChangeAspect="1" noChangeArrowheads="1"/>
                        </p:cNvPicPr>
                        <p:nvPr/>
                      </p:nvPicPr>
                      <p:blipFill>
                        <a:blip r:embed="rId76">
                          <a:extLst>
                            <a:ext uri="{28A0092B-C50C-407E-A947-70E740481C1C}">
                              <a14:useLocalDpi xmlns:a14="http://schemas.microsoft.com/office/drawing/2010/main" val="0"/>
                            </a:ext>
                          </a:extLst>
                        </a:blip>
                        <a:srcRect l="12981" t="22546" r="11539" b="23195"/>
                        <a:stretch>
                          <a:fillRect/>
                        </a:stretch>
                      </p:blipFill>
                      <p:spPr bwMode="auto">
                        <a:xfrm>
                          <a:off x="3028950" y="2473325"/>
                          <a:ext cx="4497388" cy="2238375"/>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pic>
                  </p:oleObj>
                </mc:Fallback>
              </mc:AlternateContent>
            </a:graphicData>
          </a:graphic>
        </p:graphicFrame>
        <p:graphicFrame>
          <p:nvGraphicFramePr>
            <p:cNvPr id="29" name="Object 28"/>
            <p:cNvGraphicFramePr>
              <a:graphicFrameLocks noChangeAspect="1"/>
            </p:cNvGraphicFramePr>
            <p:nvPr>
              <p:custDataLst>
                <p:tags r:id="rId23"/>
              </p:custDataLst>
            </p:nvPr>
          </p:nvGraphicFramePr>
          <p:xfrm>
            <a:off x="2870199" y="2958405"/>
            <a:ext cx="4497388" cy="2238375"/>
          </p:xfrm>
          <a:graphic>
            <a:graphicData uri="http://schemas.openxmlformats.org/presentationml/2006/ole">
              <mc:AlternateContent xmlns:mc="http://schemas.openxmlformats.org/markup-compatibility/2006">
                <mc:Choice xmlns:v="urn:schemas-microsoft-com:vml" Requires="v">
                  <p:oleObj spid="_x0000_s241689" name="Slide" r:id="rId78" imgW="2575482" imgH="1783000" progId="PowerPoint.Slide.8">
                    <p:embed/>
                  </p:oleObj>
                </mc:Choice>
                <mc:Fallback>
                  <p:oleObj name="Slide" r:id="rId78" imgW="2575482" imgH="1783000" progId="PowerPoint.Slide.8">
                    <p:embed/>
                    <p:pic>
                      <p:nvPicPr>
                        <p:cNvPr id="0" name="Object 28"/>
                        <p:cNvPicPr>
                          <a:picLocks noChangeAspect="1" noChangeArrowheads="1"/>
                        </p:cNvPicPr>
                        <p:nvPr/>
                      </p:nvPicPr>
                      <p:blipFill>
                        <a:blip r:embed="rId79">
                          <a:extLst>
                            <a:ext uri="{28A0092B-C50C-407E-A947-70E740481C1C}">
                              <a14:useLocalDpi xmlns:a14="http://schemas.microsoft.com/office/drawing/2010/main" val="0"/>
                            </a:ext>
                          </a:extLst>
                        </a:blip>
                        <a:srcRect l="12981" t="22546" r="11539" b="23195"/>
                        <a:stretch>
                          <a:fillRect/>
                        </a:stretch>
                      </p:blipFill>
                      <p:spPr bwMode="auto">
                        <a:xfrm>
                          <a:off x="2870199" y="2958405"/>
                          <a:ext cx="4497388" cy="2238375"/>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pic>
                  </p:oleObj>
                </mc:Fallback>
              </mc:AlternateContent>
            </a:graphicData>
          </a:graphic>
        </p:graphicFrame>
        <p:grpSp>
          <p:nvGrpSpPr>
            <p:cNvPr id="3" name="Group 29"/>
            <p:cNvGrpSpPr>
              <a:grpSpLocks/>
            </p:cNvGrpSpPr>
            <p:nvPr>
              <p:custDataLst>
                <p:tags r:id="rId24"/>
              </p:custDataLst>
            </p:nvPr>
          </p:nvGrpSpPr>
          <p:grpSpPr bwMode="auto">
            <a:xfrm>
              <a:off x="3028950" y="4949825"/>
              <a:ext cx="4152900" cy="241300"/>
              <a:chOff x="365" y="3468"/>
              <a:chExt cx="5627" cy="152"/>
            </a:xfrm>
          </p:grpSpPr>
          <p:sp>
            <p:nvSpPr>
              <p:cNvPr id="45" name="Rectangle 30"/>
              <p:cNvSpPr>
                <a:spLocks noChangeArrowheads="1"/>
              </p:cNvSpPr>
              <p:nvPr>
                <p:custDataLst>
                  <p:tags r:id="rId36"/>
                </p:custDataLst>
              </p:nvPr>
            </p:nvSpPr>
            <p:spPr bwMode="auto">
              <a:xfrm>
                <a:off x="365" y="3468"/>
                <a:ext cx="352" cy="78"/>
              </a:xfrm>
              <a:prstGeom prst="rect">
                <a:avLst/>
              </a:prstGeom>
              <a:solidFill>
                <a:srgbClr val="003399"/>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46" name="Rectangle 31"/>
              <p:cNvSpPr>
                <a:spLocks noChangeArrowheads="1"/>
              </p:cNvSpPr>
              <p:nvPr>
                <p:custDataLst>
                  <p:tags r:id="rId37"/>
                </p:custDataLst>
              </p:nvPr>
            </p:nvSpPr>
            <p:spPr bwMode="gray">
              <a:xfrm>
                <a:off x="717" y="3468"/>
                <a:ext cx="351" cy="78"/>
              </a:xfrm>
              <a:prstGeom prst="rect">
                <a:avLst/>
              </a:prstGeom>
              <a:solidFill>
                <a:srgbClr val="3366AA"/>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47" name="Rectangle 32"/>
              <p:cNvSpPr>
                <a:spLocks noChangeArrowheads="1"/>
              </p:cNvSpPr>
              <p:nvPr>
                <p:custDataLst>
                  <p:tags r:id="rId38"/>
                </p:custDataLst>
              </p:nvPr>
            </p:nvSpPr>
            <p:spPr bwMode="gray">
              <a:xfrm>
                <a:off x="1068" y="3468"/>
                <a:ext cx="352" cy="78"/>
              </a:xfrm>
              <a:prstGeom prst="rect">
                <a:avLst/>
              </a:prstGeom>
              <a:solidFill>
                <a:srgbClr val="6996C8"/>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48" name="Rectangle 33"/>
              <p:cNvSpPr>
                <a:spLocks noChangeArrowheads="1"/>
              </p:cNvSpPr>
              <p:nvPr>
                <p:custDataLst>
                  <p:tags r:id="rId39"/>
                </p:custDataLst>
              </p:nvPr>
            </p:nvSpPr>
            <p:spPr bwMode="auto">
              <a:xfrm>
                <a:off x="1420" y="3468"/>
                <a:ext cx="352" cy="78"/>
              </a:xfrm>
              <a:prstGeom prst="rect">
                <a:avLst/>
              </a:prstGeom>
              <a:solidFill>
                <a:srgbClr val="79A2B3"/>
              </a:solidFill>
              <a:ln w="9525" algn="ctr">
                <a:solidFill>
                  <a:srgbClr val="B2B2B2"/>
                </a:solidFill>
                <a:miter lim="800000"/>
                <a:headEnd/>
                <a:tailEnd/>
              </a:ln>
            </p:spPr>
            <p:txBody>
              <a:bodyPr wrap="none" anchor="ctr"/>
              <a:lstStyle/>
              <a:p>
                <a:pPr marL="115888" algn="r">
                  <a:buFontTx/>
                  <a:buNone/>
                </a:pPr>
                <a:endParaRPr lang="de-DE" sz="1000" dirty="0">
                  <a:cs typeface="Arial" charset="0"/>
                </a:endParaRPr>
              </a:p>
            </p:txBody>
          </p:sp>
          <p:sp>
            <p:nvSpPr>
              <p:cNvPr id="49" name="Rectangle 34"/>
              <p:cNvSpPr>
                <a:spLocks noChangeArrowheads="1"/>
              </p:cNvSpPr>
              <p:nvPr>
                <p:custDataLst>
                  <p:tags r:id="rId40"/>
                </p:custDataLst>
              </p:nvPr>
            </p:nvSpPr>
            <p:spPr bwMode="gray">
              <a:xfrm>
                <a:off x="1772" y="3468"/>
                <a:ext cx="351" cy="78"/>
              </a:xfrm>
              <a:prstGeom prst="rect">
                <a:avLst/>
              </a:prstGeom>
              <a:solidFill>
                <a:srgbClr val="ACC6D0"/>
              </a:solidFill>
              <a:ln w="9525" algn="ctr">
                <a:solidFill>
                  <a:srgbClr val="B2B2B2"/>
                </a:solidFill>
                <a:miter lim="800000"/>
                <a:headEnd/>
                <a:tailEnd/>
              </a:ln>
            </p:spPr>
            <p:txBody>
              <a:bodyPr wrap="none" anchor="ctr"/>
              <a:lstStyle/>
              <a:p>
                <a:pPr algn="r">
                  <a:buFontTx/>
                  <a:buNone/>
                </a:pPr>
                <a:endParaRPr lang="de-DE" sz="1000" dirty="0">
                  <a:cs typeface="Arial" charset="0"/>
                </a:endParaRPr>
              </a:p>
            </p:txBody>
          </p:sp>
          <p:sp>
            <p:nvSpPr>
              <p:cNvPr id="50" name="Rectangle 35"/>
              <p:cNvSpPr>
                <a:spLocks noChangeArrowheads="1"/>
              </p:cNvSpPr>
              <p:nvPr>
                <p:custDataLst>
                  <p:tags r:id="rId41"/>
                </p:custDataLst>
              </p:nvPr>
            </p:nvSpPr>
            <p:spPr bwMode="gray">
              <a:xfrm>
                <a:off x="2123" y="3468"/>
                <a:ext cx="352" cy="78"/>
              </a:xfrm>
              <a:prstGeom prst="rect">
                <a:avLst/>
              </a:prstGeom>
              <a:solidFill>
                <a:srgbClr val="D2E0E6"/>
              </a:solidFill>
              <a:ln w="9525" algn="ctr">
                <a:solidFill>
                  <a:srgbClr val="B2B2B2"/>
                </a:solidFill>
                <a:miter lim="800000"/>
                <a:headEnd/>
                <a:tailEnd/>
              </a:ln>
            </p:spPr>
            <p:txBody>
              <a:bodyPr wrap="none" anchor="ctr"/>
              <a:lstStyle/>
              <a:p>
                <a:pPr marL="115888" algn="r">
                  <a:buFontTx/>
                  <a:buNone/>
                </a:pPr>
                <a:endParaRPr lang="de-DE" sz="1000" dirty="0">
                  <a:cs typeface="Arial" charset="0"/>
                </a:endParaRPr>
              </a:p>
            </p:txBody>
          </p:sp>
          <p:sp>
            <p:nvSpPr>
              <p:cNvPr id="51" name="Rectangle 36"/>
              <p:cNvSpPr>
                <a:spLocks noChangeArrowheads="1"/>
              </p:cNvSpPr>
              <p:nvPr>
                <p:custDataLst>
                  <p:tags r:id="rId42"/>
                </p:custDataLst>
              </p:nvPr>
            </p:nvSpPr>
            <p:spPr bwMode="gray">
              <a:xfrm>
                <a:off x="2475" y="3468"/>
                <a:ext cx="351" cy="78"/>
              </a:xfrm>
              <a:prstGeom prst="rect">
                <a:avLst/>
              </a:prstGeom>
              <a:solidFill>
                <a:srgbClr val="B2B2B2"/>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52" name="Rectangle 37"/>
              <p:cNvSpPr>
                <a:spLocks noChangeArrowheads="1"/>
              </p:cNvSpPr>
              <p:nvPr>
                <p:custDataLst>
                  <p:tags r:id="rId43"/>
                </p:custDataLst>
              </p:nvPr>
            </p:nvSpPr>
            <p:spPr bwMode="gray">
              <a:xfrm>
                <a:off x="2826" y="3468"/>
                <a:ext cx="353" cy="78"/>
              </a:xfrm>
              <a:prstGeom prst="rect">
                <a:avLst/>
              </a:prstGeom>
              <a:solidFill>
                <a:srgbClr val="E2E2E2"/>
              </a:solidFill>
              <a:ln w="9525" algn="ctr">
                <a:solidFill>
                  <a:srgbClr val="B2B2B2"/>
                </a:solidFill>
                <a:miter lim="800000"/>
                <a:headEnd/>
                <a:tailEnd/>
              </a:ln>
            </p:spPr>
            <p:txBody>
              <a:bodyPr wrap="none" anchor="ctr"/>
              <a:lstStyle/>
              <a:p>
                <a:pPr algn="r">
                  <a:buFontTx/>
                  <a:buNone/>
                </a:pPr>
                <a:endParaRPr lang="de-DE" sz="1000" dirty="0">
                  <a:cs typeface="Arial" charset="0"/>
                </a:endParaRPr>
              </a:p>
            </p:txBody>
          </p:sp>
          <p:sp>
            <p:nvSpPr>
              <p:cNvPr id="53" name="Rectangle 38"/>
              <p:cNvSpPr>
                <a:spLocks noChangeArrowheads="1"/>
              </p:cNvSpPr>
              <p:nvPr>
                <p:custDataLst>
                  <p:tags r:id="rId44"/>
                </p:custDataLst>
              </p:nvPr>
            </p:nvSpPr>
            <p:spPr bwMode="gray">
              <a:xfrm>
                <a:off x="3179" y="3468"/>
                <a:ext cx="352" cy="78"/>
              </a:xfrm>
              <a:prstGeom prst="rect">
                <a:avLst/>
              </a:prstGeom>
              <a:solidFill>
                <a:srgbClr val="D8CEB8"/>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54" name="Rectangle 39"/>
              <p:cNvSpPr>
                <a:spLocks noChangeArrowheads="1"/>
              </p:cNvSpPr>
              <p:nvPr>
                <p:custDataLst>
                  <p:tags r:id="rId45"/>
                </p:custDataLst>
              </p:nvPr>
            </p:nvSpPr>
            <p:spPr bwMode="auto">
              <a:xfrm>
                <a:off x="3531" y="3468"/>
                <a:ext cx="351" cy="78"/>
              </a:xfrm>
              <a:prstGeom prst="rect">
                <a:avLst/>
              </a:prstGeom>
              <a:solidFill>
                <a:srgbClr val="DCC05A"/>
              </a:solidFill>
              <a:ln w="9525" algn="ctr">
                <a:solidFill>
                  <a:srgbClr val="808080"/>
                </a:solidFill>
                <a:miter lim="800000"/>
                <a:headEnd/>
                <a:tailEnd/>
              </a:ln>
            </p:spPr>
            <p:txBody>
              <a:bodyPr wrap="none" anchor="ctr"/>
              <a:lstStyle/>
              <a:p>
                <a:pPr algn="r">
                  <a:buFontTx/>
                  <a:buNone/>
                </a:pPr>
                <a:endParaRPr lang="de-DE" sz="1000" dirty="0">
                  <a:cs typeface="Arial" charset="0"/>
                </a:endParaRPr>
              </a:p>
            </p:txBody>
          </p:sp>
          <p:sp>
            <p:nvSpPr>
              <p:cNvPr id="55" name="Rectangle 40"/>
              <p:cNvSpPr>
                <a:spLocks noChangeArrowheads="1"/>
              </p:cNvSpPr>
              <p:nvPr>
                <p:custDataLst>
                  <p:tags r:id="rId46"/>
                </p:custDataLst>
              </p:nvPr>
            </p:nvSpPr>
            <p:spPr bwMode="gray">
              <a:xfrm>
                <a:off x="3882" y="3468"/>
                <a:ext cx="352" cy="78"/>
              </a:xfrm>
              <a:prstGeom prst="rect">
                <a:avLst/>
              </a:prstGeom>
              <a:solidFill>
                <a:srgbClr val="E7C7C7"/>
              </a:solidFill>
              <a:ln w="9525" algn="ctr">
                <a:solidFill>
                  <a:srgbClr val="808080"/>
                </a:solidFill>
                <a:miter lim="800000"/>
                <a:headEnd/>
                <a:tailEnd/>
              </a:ln>
            </p:spPr>
            <p:txBody>
              <a:bodyPr wrap="none" anchor="ctr"/>
              <a:lstStyle/>
              <a:p>
                <a:pPr algn="r">
                  <a:buFontTx/>
                  <a:buNone/>
                </a:pPr>
                <a:endParaRPr lang="de-DE" sz="1000" dirty="0">
                  <a:cs typeface="Arial" charset="0"/>
                </a:endParaRPr>
              </a:p>
            </p:txBody>
          </p:sp>
          <p:sp>
            <p:nvSpPr>
              <p:cNvPr id="56" name="Rectangle 41"/>
              <p:cNvSpPr>
                <a:spLocks noChangeArrowheads="1"/>
              </p:cNvSpPr>
              <p:nvPr>
                <p:custDataLst>
                  <p:tags r:id="rId47"/>
                </p:custDataLst>
              </p:nvPr>
            </p:nvSpPr>
            <p:spPr bwMode="gray">
              <a:xfrm>
                <a:off x="4234" y="3468"/>
                <a:ext cx="352" cy="78"/>
              </a:xfrm>
              <a:prstGeom prst="rect">
                <a:avLst/>
              </a:prstGeom>
              <a:solidFill>
                <a:srgbClr val="CEA09D"/>
              </a:solidFill>
              <a:ln w="9525" algn="ctr">
                <a:solidFill>
                  <a:srgbClr val="808080"/>
                </a:solidFill>
                <a:miter lim="800000"/>
                <a:headEnd/>
                <a:tailEnd/>
              </a:ln>
            </p:spPr>
            <p:txBody>
              <a:bodyPr wrap="none" anchor="ctr"/>
              <a:lstStyle/>
              <a:p>
                <a:pPr algn="r">
                  <a:buFontTx/>
                  <a:buNone/>
                </a:pPr>
                <a:endParaRPr lang="de-DE" sz="1000" dirty="0">
                  <a:cs typeface="Arial" charset="0"/>
                </a:endParaRPr>
              </a:p>
            </p:txBody>
          </p:sp>
          <p:sp>
            <p:nvSpPr>
              <p:cNvPr id="57" name="Rectangle 42"/>
              <p:cNvSpPr>
                <a:spLocks noChangeArrowheads="1"/>
              </p:cNvSpPr>
              <p:nvPr>
                <p:custDataLst>
                  <p:tags r:id="rId48"/>
                </p:custDataLst>
              </p:nvPr>
            </p:nvSpPr>
            <p:spPr bwMode="gray">
              <a:xfrm>
                <a:off x="4586" y="3468"/>
                <a:ext cx="351" cy="78"/>
              </a:xfrm>
              <a:prstGeom prst="rect">
                <a:avLst/>
              </a:prstGeom>
              <a:solidFill>
                <a:srgbClr val="EEA632"/>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58" name="Rectangle 43"/>
              <p:cNvSpPr>
                <a:spLocks noChangeArrowheads="1"/>
              </p:cNvSpPr>
              <p:nvPr>
                <p:custDataLst>
                  <p:tags r:id="rId49"/>
                </p:custDataLst>
              </p:nvPr>
            </p:nvSpPr>
            <p:spPr bwMode="gray">
              <a:xfrm>
                <a:off x="4937" y="3468"/>
                <a:ext cx="352" cy="78"/>
              </a:xfrm>
              <a:prstGeom prst="rect">
                <a:avLst/>
              </a:prstGeom>
              <a:solidFill>
                <a:srgbClr val="DC6E00"/>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59" name="Rectangle 44"/>
              <p:cNvSpPr>
                <a:spLocks noChangeArrowheads="1"/>
              </p:cNvSpPr>
              <p:nvPr>
                <p:custDataLst>
                  <p:tags r:id="rId50"/>
                </p:custDataLst>
              </p:nvPr>
            </p:nvSpPr>
            <p:spPr bwMode="gray">
              <a:xfrm>
                <a:off x="5289" y="3468"/>
                <a:ext cx="351" cy="78"/>
              </a:xfrm>
              <a:prstGeom prst="rect">
                <a:avLst/>
              </a:prstGeom>
              <a:solidFill>
                <a:srgbClr val="C41300"/>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sp>
            <p:nvSpPr>
              <p:cNvPr id="60" name="Rectangle 45"/>
              <p:cNvSpPr>
                <a:spLocks noChangeArrowheads="1"/>
              </p:cNvSpPr>
              <p:nvPr>
                <p:custDataLst>
                  <p:tags r:id="rId51"/>
                </p:custDataLst>
              </p:nvPr>
            </p:nvSpPr>
            <p:spPr bwMode="gray">
              <a:xfrm>
                <a:off x="5640" y="3468"/>
                <a:ext cx="352" cy="78"/>
              </a:xfrm>
              <a:prstGeom prst="rect">
                <a:avLst/>
              </a:prstGeom>
              <a:solidFill>
                <a:srgbClr val="9C3328"/>
              </a:solidFill>
              <a:ln w="9525" algn="ctr">
                <a:solidFill>
                  <a:srgbClr val="808080"/>
                </a:solidFill>
                <a:miter lim="800000"/>
                <a:headEnd/>
                <a:tailEnd/>
              </a:ln>
            </p:spPr>
            <p:txBody>
              <a:bodyPr wrap="none" anchor="ctr"/>
              <a:lstStyle/>
              <a:p>
                <a:pPr marL="115888" algn="r">
                  <a:buFontTx/>
                  <a:buNone/>
                </a:pPr>
                <a:endParaRPr lang="de-DE" sz="1000" dirty="0">
                  <a:cs typeface="Arial" charset="0"/>
                </a:endParaRPr>
              </a:p>
            </p:txBody>
          </p:sp>
          <p:grpSp>
            <p:nvGrpSpPr>
              <p:cNvPr id="4" name="Group 46"/>
              <p:cNvGrpSpPr>
                <a:grpSpLocks/>
              </p:cNvGrpSpPr>
              <p:nvPr>
                <p:custDataLst>
                  <p:tags r:id="rId52"/>
                </p:custDataLst>
              </p:nvPr>
            </p:nvGrpSpPr>
            <p:grpSpPr bwMode="auto">
              <a:xfrm>
                <a:off x="717" y="3560"/>
                <a:ext cx="4923" cy="60"/>
                <a:chOff x="662" y="3399"/>
                <a:chExt cx="4544" cy="103"/>
              </a:xfrm>
            </p:grpSpPr>
            <p:sp>
              <p:nvSpPr>
                <p:cNvPr id="62" name="Line 47"/>
                <p:cNvSpPr>
                  <a:spLocks noChangeShapeType="1"/>
                </p:cNvSpPr>
                <p:nvPr>
                  <p:custDataLst>
                    <p:tags r:id="rId53"/>
                  </p:custDataLst>
                </p:nvPr>
              </p:nvSpPr>
              <p:spPr bwMode="auto">
                <a:xfrm>
                  <a:off x="662"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3" name="Line 48"/>
                <p:cNvSpPr>
                  <a:spLocks noChangeShapeType="1"/>
                </p:cNvSpPr>
                <p:nvPr>
                  <p:custDataLst>
                    <p:tags r:id="rId54"/>
                  </p:custDataLst>
                </p:nvPr>
              </p:nvSpPr>
              <p:spPr bwMode="auto">
                <a:xfrm>
                  <a:off x="986"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4" name="Line 49"/>
                <p:cNvSpPr>
                  <a:spLocks noChangeShapeType="1"/>
                </p:cNvSpPr>
                <p:nvPr>
                  <p:custDataLst>
                    <p:tags r:id="rId55"/>
                  </p:custDataLst>
                </p:nvPr>
              </p:nvSpPr>
              <p:spPr bwMode="auto">
                <a:xfrm>
                  <a:off x="1311"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5" name="Line 50"/>
                <p:cNvSpPr>
                  <a:spLocks noChangeShapeType="1"/>
                </p:cNvSpPr>
                <p:nvPr>
                  <p:custDataLst>
                    <p:tags r:id="rId56"/>
                  </p:custDataLst>
                </p:nvPr>
              </p:nvSpPr>
              <p:spPr bwMode="auto">
                <a:xfrm>
                  <a:off x="1636"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6" name="Line 51"/>
                <p:cNvSpPr>
                  <a:spLocks noChangeShapeType="1"/>
                </p:cNvSpPr>
                <p:nvPr>
                  <p:custDataLst>
                    <p:tags r:id="rId57"/>
                  </p:custDataLst>
                </p:nvPr>
              </p:nvSpPr>
              <p:spPr bwMode="auto">
                <a:xfrm>
                  <a:off x="1960"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7" name="Line 52"/>
                <p:cNvSpPr>
                  <a:spLocks noChangeShapeType="1"/>
                </p:cNvSpPr>
                <p:nvPr>
                  <p:custDataLst>
                    <p:tags r:id="rId58"/>
                  </p:custDataLst>
                </p:nvPr>
              </p:nvSpPr>
              <p:spPr bwMode="auto">
                <a:xfrm>
                  <a:off x="2285"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8" name="Line 53"/>
                <p:cNvSpPr>
                  <a:spLocks noChangeShapeType="1"/>
                </p:cNvSpPr>
                <p:nvPr>
                  <p:custDataLst>
                    <p:tags r:id="rId59"/>
                  </p:custDataLst>
                </p:nvPr>
              </p:nvSpPr>
              <p:spPr bwMode="auto">
                <a:xfrm>
                  <a:off x="2609"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69" name="Line 54"/>
                <p:cNvSpPr>
                  <a:spLocks noChangeShapeType="1"/>
                </p:cNvSpPr>
                <p:nvPr>
                  <p:custDataLst>
                    <p:tags r:id="rId60"/>
                  </p:custDataLst>
                </p:nvPr>
              </p:nvSpPr>
              <p:spPr bwMode="auto">
                <a:xfrm>
                  <a:off x="2934"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0" name="Line 55"/>
                <p:cNvSpPr>
                  <a:spLocks noChangeShapeType="1"/>
                </p:cNvSpPr>
                <p:nvPr>
                  <p:custDataLst>
                    <p:tags r:id="rId61"/>
                  </p:custDataLst>
                </p:nvPr>
              </p:nvSpPr>
              <p:spPr bwMode="auto">
                <a:xfrm>
                  <a:off x="3259"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1" name="Line 56"/>
                <p:cNvSpPr>
                  <a:spLocks noChangeShapeType="1"/>
                </p:cNvSpPr>
                <p:nvPr>
                  <p:custDataLst>
                    <p:tags r:id="rId62"/>
                  </p:custDataLst>
                </p:nvPr>
              </p:nvSpPr>
              <p:spPr bwMode="auto">
                <a:xfrm>
                  <a:off x="3583"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2" name="Line 57"/>
                <p:cNvSpPr>
                  <a:spLocks noChangeShapeType="1"/>
                </p:cNvSpPr>
                <p:nvPr>
                  <p:custDataLst>
                    <p:tags r:id="rId63"/>
                  </p:custDataLst>
                </p:nvPr>
              </p:nvSpPr>
              <p:spPr bwMode="auto">
                <a:xfrm>
                  <a:off x="3908"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3" name="Line 58"/>
                <p:cNvSpPr>
                  <a:spLocks noChangeShapeType="1"/>
                </p:cNvSpPr>
                <p:nvPr>
                  <p:custDataLst>
                    <p:tags r:id="rId64"/>
                  </p:custDataLst>
                </p:nvPr>
              </p:nvSpPr>
              <p:spPr bwMode="auto">
                <a:xfrm>
                  <a:off x="4233"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4" name="Line 59"/>
                <p:cNvSpPr>
                  <a:spLocks noChangeShapeType="1"/>
                </p:cNvSpPr>
                <p:nvPr>
                  <p:custDataLst>
                    <p:tags r:id="rId65"/>
                  </p:custDataLst>
                </p:nvPr>
              </p:nvSpPr>
              <p:spPr bwMode="auto">
                <a:xfrm>
                  <a:off x="4557"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5" name="Line 60"/>
                <p:cNvSpPr>
                  <a:spLocks noChangeShapeType="1"/>
                </p:cNvSpPr>
                <p:nvPr>
                  <p:custDataLst>
                    <p:tags r:id="rId66"/>
                  </p:custDataLst>
                </p:nvPr>
              </p:nvSpPr>
              <p:spPr bwMode="auto">
                <a:xfrm>
                  <a:off x="4882" y="3399"/>
                  <a:ext cx="0" cy="103"/>
                </a:xfrm>
                <a:prstGeom prst="line">
                  <a:avLst/>
                </a:prstGeom>
                <a:noFill/>
                <a:ln w="9525">
                  <a:solidFill>
                    <a:srgbClr val="808080"/>
                  </a:solidFill>
                  <a:round/>
                  <a:headEnd/>
                  <a:tailEnd/>
                </a:ln>
              </p:spPr>
              <p:txBody>
                <a:bodyPr wrap="none" lIns="0" tIns="0" rIns="0" bIns="0" anchor="ctr"/>
                <a:lstStyle/>
                <a:p>
                  <a:endParaRPr lang="en-GB" dirty="0"/>
                </a:p>
              </p:txBody>
            </p:sp>
            <p:sp>
              <p:nvSpPr>
                <p:cNvPr id="76" name="Line 61"/>
                <p:cNvSpPr>
                  <a:spLocks noChangeShapeType="1"/>
                </p:cNvSpPr>
                <p:nvPr>
                  <p:custDataLst>
                    <p:tags r:id="rId67"/>
                  </p:custDataLst>
                </p:nvPr>
              </p:nvSpPr>
              <p:spPr bwMode="auto">
                <a:xfrm>
                  <a:off x="5206" y="3399"/>
                  <a:ext cx="0" cy="103"/>
                </a:xfrm>
                <a:prstGeom prst="line">
                  <a:avLst/>
                </a:prstGeom>
                <a:noFill/>
                <a:ln w="9525">
                  <a:solidFill>
                    <a:srgbClr val="808080"/>
                  </a:solidFill>
                  <a:round/>
                  <a:headEnd/>
                  <a:tailEnd/>
                </a:ln>
              </p:spPr>
              <p:txBody>
                <a:bodyPr wrap="none" lIns="0" tIns="0" rIns="0" bIns="0" anchor="ctr"/>
                <a:lstStyle/>
                <a:p>
                  <a:endParaRPr lang="en-GB" dirty="0"/>
                </a:p>
              </p:txBody>
            </p:sp>
          </p:grpSp>
        </p:grpSp>
        <p:sp>
          <p:nvSpPr>
            <p:cNvPr id="31" name="Text Box 62"/>
            <p:cNvSpPr txBox="1">
              <a:spLocks noChangeArrowheads="1"/>
            </p:cNvSpPr>
            <p:nvPr>
              <p:custDataLst>
                <p:tags r:id="rId25"/>
              </p:custDataLst>
            </p:nvPr>
          </p:nvSpPr>
          <p:spPr bwMode="auto">
            <a:xfrm>
              <a:off x="3144774" y="5262563"/>
              <a:ext cx="289051" cy="124716"/>
            </a:xfrm>
            <a:prstGeom prst="rect">
              <a:avLst/>
            </a:prstGeom>
            <a:noFill/>
            <a:ln w="9525" algn="ctr">
              <a:noFill/>
              <a:miter lim="800000"/>
              <a:headEnd/>
              <a:tailEnd/>
            </a:ln>
          </p:spPr>
          <p:txBody>
            <a:bodyPr wrap="none" lIns="0" tIns="0" rIns="0" bIns="0">
              <a:spAutoFit/>
            </a:bodyPr>
            <a:lstStyle/>
            <a:p>
              <a:pPr algn="ctr">
                <a:lnSpc>
                  <a:spcPct val="85000"/>
                </a:lnSpc>
              </a:pPr>
              <a:r>
                <a:rPr lang="en-US" sz="800" dirty="0"/>
                <a:t>&gt; 120%</a:t>
              </a:r>
            </a:p>
          </p:txBody>
        </p:sp>
        <p:sp>
          <p:nvSpPr>
            <p:cNvPr id="32" name="Text Box 63"/>
            <p:cNvSpPr txBox="1">
              <a:spLocks noChangeArrowheads="1"/>
            </p:cNvSpPr>
            <p:nvPr>
              <p:custDataLst>
                <p:tags r:id="rId26"/>
              </p:custDataLst>
            </p:nvPr>
          </p:nvSpPr>
          <p:spPr bwMode="auto">
            <a:xfrm>
              <a:off x="4510274" y="5262563"/>
              <a:ext cx="169489" cy="124716"/>
            </a:xfrm>
            <a:prstGeom prst="rect">
              <a:avLst/>
            </a:prstGeom>
            <a:noFill/>
            <a:ln w="9525" algn="ctr">
              <a:noFill/>
              <a:miter lim="800000"/>
              <a:headEnd/>
              <a:tailEnd/>
            </a:ln>
          </p:spPr>
          <p:txBody>
            <a:bodyPr wrap="none" lIns="0" tIns="0" rIns="0" bIns="0">
              <a:spAutoFit/>
            </a:bodyPr>
            <a:lstStyle/>
            <a:p>
              <a:pPr algn="ctr">
                <a:lnSpc>
                  <a:spcPct val="85000"/>
                </a:lnSpc>
              </a:pPr>
              <a:r>
                <a:rPr lang="en-US" sz="800" dirty="0"/>
                <a:t>45%</a:t>
              </a:r>
            </a:p>
          </p:txBody>
        </p:sp>
        <p:sp>
          <p:nvSpPr>
            <p:cNvPr id="33" name="Text Box 64"/>
            <p:cNvSpPr txBox="1">
              <a:spLocks noChangeArrowheads="1"/>
            </p:cNvSpPr>
            <p:nvPr>
              <p:custDataLst>
                <p:tags r:id="rId27"/>
              </p:custDataLst>
            </p:nvPr>
          </p:nvSpPr>
          <p:spPr bwMode="auto">
            <a:xfrm>
              <a:off x="6045879" y="5262563"/>
              <a:ext cx="197080" cy="124716"/>
            </a:xfrm>
            <a:prstGeom prst="rect">
              <a:avLst/>
            </a:prstGeom>
            <a:noFill/>
            <a:ln w="9525" algn="ctr">
              <a:noFill/>
              <a:miter lim="800000"/>
              <a:headEnd/>
              <a:tailEnd/>
            </a:ln>
          </p:spPr>
          <p:txBody>
            <a:bodyPr wrap="none" lIns="0" tIns="0" rIns="0" bIns="0">
              <a:spAutoFit/>
            </a:bodyPr>
            <a:lstStyle/>
            <a:p>
              <a:pPr algn="ctr">
                <a:lnSpc>
                  <a:spcPct val="85000"/>
                </a:lnSpc>
              </a:pPr>
              <a:r>
                <a:rPr lang="en-US" sz="800" dirty="0"/>
                <a:t>-45%</a:t>
              </a:r>
            </a:p>
          </p:txBody>
        </p:sp>
        <p:sp>
          <p:nvSpPr>
            <p:cNvPr id="34" name="Text Box 65"/>
            <p:cNvSpPr txBox="1">
              <a:spLocks noChangeArrowheads="1"/>
            </p:cNvSpPr>
            <p:nvPr>
              <p:custDataLst>
                <p:tags r:id="rId28"/>
              </p:custDataLst>
            </p:nvPr>
          </p:nvSpPr>
          <p:spPr bwMode="auto">
            <a:xfrm>
              <a:off x="6774922" y="5243514"/>
              <a:ext cx="269342" cy="146725"/>
            </a:xfrm>
            <a:prstGeom prst="rect">
              <a:avLst/>
            </a:prstGeom>
            <a:noFill/>
            <a:ln w="9525" algn="ctr">
              <a:noFill/>
              <a:miter lim="800000"/>
              <a:headEnd/>
              <a:tailEnd/>
            </a:ln>
          </p:spPr>
          <p:txBody>
            <a:bodyPr wrap="none" lIns="0" tIns="0" rIns="0" bIns="0">
              <a:spAutoFit/>
            </a:bodyPr>
            <a:lstStyle/>
            <a:p>
              <a:pPr algn="ctr"/>
              <a:r>
                <a:rPr lang="en-US" sz="800" dirty="0"/>
                <a:t>&gt; -90%</a:t>
              </a:r>
            </a:p>
          </p:txBody>
        </p:sp>
        <p:sp>
          <p:nvSpPr>
            <p:cNvPr id="35" name="Text Box 66"/>
            <p:cNvSpPr txBox="1">
              <a:spLocks noChangeArrowheads="1"/>
            </p:cNvSpPr>
            <p:nvPr>
              <p:custDataLst>
                <p:tags r:id="rId29"/>
              </p:custDataLst>
            </p:nvPr>
          </p:nvSpPr>
          <p:spPr bwMode="auto">
            <a:xfrm>
              <a:off x="5323705" y="5262562"/>
              <a:ext cx="122190" cy="124716"/>
            </a:xfrm>
            <a:prstGeom prst="rect">
              <a:avLst/>
            </a:prstGeom>
            <a:noFill/>
            <a:ln w="9525" algn="ctr">
              <a:noFill/>
              <a:miter lim="800000"/>
              <a:headEnd/>
              <a:tailEnd/>
            </a:ln>
          </p:spPr>
          <p:txBody>
            <a:bodyPr wrap="none" lIns="0" tIns="0" rIns="0" bIns="0">
              <a:spAutoFit/>
            </a:bodyPr>
            <a:lstStyle/>
            <a:p>
              <a:pPr algn="ctr">
                <a:lnSpc>
                  <a:spcPct val="85000"/>
                </a:lnSpc>
              </a:pPr>
              <a:r>
                <a:rPr lang="en-US" sz="800" b="1" dirty="0"/>
                <a:t>0%</a:t>
              </a:r>
            </a:p>
          </p:txBody>
        </p:sp>
        <p:grpSp>
          <p:nvGrpSpPr>
            <p:cNvPr id="5" name="Group 67"/>
            <p:cNvGrpSpPr>
              <a:grpSpLocks/>
            </p:cNvGrpSpPr>
            <p:nvPr>
              <p:custDataLst>
                <p:tags r:id="rId30"/>
              </p:custDataLst>
            </p:nvPr>
          </p:nvGrpSpPr>
          <p:grpSpPr bwMode="auto">
            <a:xfrm>
              <a:off x="2724150" y="2552700"/>
              <a:ext cx="309563" cy="288925"/>
              <a:chOff x="3647" y="1560"/>
              <a:chExt cx="334" cy="337"/>
            </a:xfrm>
          </p:grpSpPr>
          <p:sp>
            <p:nvSpPr>
              <p:cNvPr id="41" name="Oval 68"/>
              <p:cNvSpPr>
                <a:spLocks noChangeArrowheads="1"/>
              </p:cNvSpPr>
              <p:nvPr>
                <p:custDataLst>
                  <p:tags r:id="rId35"/>
                </p:custDataLst>
              </p:nvPr>
            </p:nvSpPr>
            <p:spPr bwMode="auto">
              <a:xfrm>
                <a:off x="3655" y="1564"/>
                <a:ext cx="325" cy="325"/>
              </a:xfrm>
              <a:prstGeom prst="ellipse">
                <a:avLst/>
              </a:prstGeom>
              <a:solidFill>
                <a:srgbClr val="FFFFFF"/>
              </a:solidFill>
              <a:ln w="9525" algn="ctr">
                <a:noFill/>
                <a:round/>
                <a:headEnd/>
                <a:tailEnd/>
              </a:ln>
            </p:spPr>
            <p:txBody>
              <a:bodyPr wrap="none" lIns="0" tIns="0" rIns="0" bIns="0" anchor="ctr"/>
              <a:lstStyle/>
              <a:p>
                <a:endParaRPr lang="en-GB" dirty="0"/>
              </a:p>
            </p:txBody>
          </p:sp>
          <p:sp>
            <p:nvSpPr>
              <p:cNvPr id="42" name="Freeform 69"/>
              <p:cNvSpPr>
                <a:spLocks noEditPoints="1"/>
              </p:cNvSpPr>
              <p:nvPr/>
            </p:nvSpPr>
            <p:spPr bwMode="auto">
              <a:xfrm>
                <a:off x="3647" y="1560"/>
                <a:ext cx="334" cy="335"/>
              </a:xfrm>
              <a:custGeom>
                <a:avLst/>
                <a:gdLst>
                  <a:gd name="T0" fmla="*/ 43 w 1525"/>
                  <a:gd name="T1" fmla="*/ 519 h 1529"/>
                  <a:gd name="T2" fmla="*/ 688 w 1525"/>
                  <a:gd name="T3" fmla="*/ 16 h 1529"/>
                  <a:gd name="T4" fmla="*/ 710 w 1525"/>
                  <a:gd name="T5" fmla="*/ 20 h 1529"/>
                  <a:gd name="T6" fmla="*/ 799 w 1525"/>
                  <a:gd name="T7" fmla="*/ 22 h 1529"/>
                  <a:gd name="T8" fmla="*/ 581 w 1525"/>
                  <a:gd name="T9" fmla="*/ 42 h 1529"/>
                  <a:gd name="T10" fmla="*/ 530 w 1525"/>
                  <a:gd name="T11" fmla="*/ 61 h 1529"/>
                  <a:gd name="T12" fmla="*/ 991 w 1525"/>
                  <a:gd name="T13" fmla="*/ 49 h 1529"/>
                  <a:gd name="T14" fmla="*/ 372 w 1525"/>
                  <a:gd name="T15" fmla="*/ 115 h 1529"/>
                  <a:gd name="T16" fmla="*/ 428 w 1525"/>
                  <a:gd name="T17" fmla="*/ 107 h 1529"/>
                  <a:gd name="T18" fmla="*/ 818 w 1525"/>
                  <a:gd name="T19" fmla="*/ 92 h 1529"/>
                  <a:gd name="T20" fmla="*/ 1055 w 1525"/>
                  <a:gd name="T21" fmla="*/ 192 h 1529"/>
                  <a:gd name="T22" fmla="*/ 825 w 1525"/>
                  <a:gd name="T23" fmla="*/ 120 h 1529"/>
                  <a:gd name="T24" fmla="*/ 386 w 1525"/>
                  <a:gd name="T25" fmla="*/ 131 h 1529"/>
                  <a:gd name="T26" fmla="*/ 360 w 1525"/>
                  <a:gd name="T27" fmla="*/ 122 h 1529"/>
                  <a:gd name="T28" fmla="*/ 307 w 1525"/>
                  <a:gd name="T29" fmla="*/ 157 h 1529"/>
                  <a:gd name="T30" fmla="*/ 1281 w 1525"/>
                  <a:gd name="T31" fmla="*/ 215 h 1529"/>
                  <a:gd name="T32" fmla="*/ 262 w 1525"/>
                  <a:gd name="T33" fmla="*/ 197 h 1529"/>
                  <a:gd name="T34" fmla="*/ 342 w 1525"/>
                  <a:gd name="T35" fmla="*/ 207 h 1529"/>
                  <a:gd name="T36" fmla="*/ 515 w 1525"/>
                  <a:gd name="T37" fmla="*/ 222 h 1529"/>
                  <a:gd name="T38" fmla="*/ 1092 w 1525"/>
                  <a:gd name="T39" fmla="*/ 232 h 1529"/>
                  <a:gd name="T40" fmla="*/ 1054 w 1525"/>
                  <a:gd name="T41" fmla="*/ 395 h 1529"/>
                  <a:gd name="T42" fmla="*/ 286 w 1525"/>
                  <a:gd name="T43" fmla="*/ 259 h 1529"/>
                  <a:gd name="T44" fmla="*/ 422 w 1525"/>
                  <a:gd name="T45" fmla="*/ 400 h 1529"/>
                  <a:gd name="T46" fmla="*/ 139 w 1525"/>
                  <a:gd name="T47" fmla="*/ 360 h 1529"/>
                  <a:gd name="T48" fmla="*/ 735 w 1525"/>
                  <a:gd name="T49" fmla="*/ 383 h 1529"/>
                  <a:gd name="T50" fmla="*/ 401 w 1525"/>
                  <a:gd name="T51" fmla="*/ 453 h 1529"/>
                  <a:gd name="T52" fmla="*/ 1275 w 1525"/>
                  <a:gd name="T53" fmla="*/ 515 h 1529"/>
                  <a:gd name="T54" fmla="*/ 965 w 1525"/>
                  <a:gd name="T55" fmla="*/ 472 h 1529"/>
                  <a:gd name="T56" fmla="*/ 1457 w 1525"/>
                  <a:gd name="T57" fmla="*/ 507 h 1529"/>
                  <a:gd name="T58" fmla="*/ 1123 w 1525"/>
                  <a:gd name="T59" fmla="*/ 716 h 1529"/>
                  <a:gd name="T60" fmla="*/ 1284 w 1525"/>
                  <a:gd name="T61" fmla="*/ 635 h 1529"/>
                  <a:gd name="T62" fmla="*/ 109 w 1525"/>
                  <a:gd name="T63" fmla="*/ 683 h 1529"/>
                  <a:gd name="T64" fmla="*/ 320 w 1525"/>
                  <a:gd name="T65" fmla="*/ 836 h 1529"/>
                  <a:gd name="T66" fmla="*/ 942 w 1525"/>
                  <a:gd name="T67" fmla="*/ 737 h 1529"/>
                  <a:gd name="T68" fmla="*/ 1520 w 1525"/>
                  <a:gd name="T69" fmla="*/ 791 h 1529"/>
                  <a:gd name="T70" fmla="*/ 1506 w 1525"/>
                  <a:gd name="T71" fmla="*/ 837 h 1529"/>
                  <a:gd name="T72" fmla="*/ 1392 w 1525"/>
                  <a:gd name="T73" fmla="*/ 910 h 1529"/>
                  <a:gd name="T74" fmla="*/ 1322 w 1525"/>
                  <a:gd name="T75" fmla="*/ 936 h 1529"/>
                  <a:gd name="T76" fmla="*/ 497 w 1525"/>
                  <a:gd name="T77" fmla="*/ 992 h 1529"/>
                  <a:gd name="T78" fmla="*/ 637 w 1525"/>
                  <a:gd name="T79" fmla="*/ 1004 h 1529"/>
                  <a:gd name="T80" fmla="*/ 75 w 1525"/>
                  <a:gd name="T81" fmla="*/ 1026 h 1529"/>
                  <a:gd name="T82" fmla="*/ 155 w 1525"/>
                  <a:gd name="T83" fmla="*/ 1216 h 1529"/>
                  <a:gd name="T84" fmla="*/ 1376 w 1525"/>
                  <a:gd name="T85" fmla="*/ 1175 h 1529"/>
                  <a:gd name="T86" fmla="*/ 187 w 1525"/>
                  <a:gd name="T87" fmla="*/ 1148 h 1529"/>
                  <a:gd name="T88" fmla="*/ 163 w 1525"/>
                  <a:gd name="T89" fmla="*/ 1223 h 1529"/>
                  <a:gd name="T90" fmla="*/ 363 w 1525"/>
                  <a:gd name="T91" fmla="*/ 1201 h 1529"/>
                  <a:gd name="T92" fmla="*/ 535 w 1525"/>
                  <a:gd name="T93" fmla="*/ 1295 h 1529"/>
                  <a:gd name="T94" fmla="*/ 170 w 1525"/>
                  <a:gd name="T95" fmla="*/ 1239 h 1529"/>
                  <a:gd name="T96" fmla="*/ 195 w 1525"/>
                  <a:gd name="T97" fmla="*/ 1266 h 1529"/>
                  <a:gd name="T98" fmla="*/ 224 w 1525"/>
                  <a:gd name="T99" fmla="*/ 1300 h 1529"/>
                  <a:gd name="T100" fmla="*/ 309 w 1525"/>
                  <a:gd name="T101" fmla="*/ 1356 h 1529"/>
                  <a:gd name="T102" fmla="*/ 1151 w 1525"/>
                  <a:gd name="T103" fmla="*/ 1402 h 1529"/>
                  <a:gd name="T104" fmla="*/ 618 w 1525"/>
                  <a:gd name="T105" fmla="*/ 1375 h 1529"/>
                  <a:gd name="T106" fmla="*/ 956 w 1525"/>
                  <a:gd name="T107" fmla="*/ 1397 h 1529"/>
                  <a:gd name="T108" fmla="*/ 1038 w 1525"/>
                  <a:gd name="T109" fmla="*/ 1391 h 1529"/>
                  <a:gd name="T110" fmla="*/ 697 w 1525"/>
                  <a:gd name="T111" fmla="*/ 1413 h 1529"/>
                  <a:gd name="T112" fmla="*/ 987 w 1525"/>
                  <a:gd name="T113" fmla="*/ 1439 h 1529"/>
                  <a:gd name="T114" fmla="*/ 513 w 1525"/>
                  <a:gd name="T115" fmla="*/ 1480 h 1529"/>
                  <a:gd name="T116" fmla="*/ 749 w 1525"/>
                  <a:gd name="T117" fmla="*/ 1462 h 1529"/>
                  <a:gd name="T118" fmla="*/ 975 w 1525"/>
                  <a:gd name="T119" fmla="*/ 1464 h 1529"/>
                  <a:gd name="T120" fmla="*/ 782 w 1525"/>
                  <a:gd name="T121" fmla="*/ 1475 h 1529"/>
                  <a:gd name="T122" fmla="*/ 738 w 1525"/>
                  <a:gd name="T123" fmla="*/ 1484 h 1529"/>
                  <a:gd name="T124" fmla="*/ 845 w 1525"/>
                  <a:gd name="T125" fmla="*/ 1510 h 15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25"/>
                  <a:gd name="T190" fmla="*/ 0 h 1529"/>
                  <a:gd name="T191" fmla="*/ 1525 w 1525"/>
                  <a:gd name="T192" fmla="*/ 1529 h 15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25" h="1529">
                    <a:moveTo>
                      <a:pt x="760" y="11"/>
                    </a:moveTo>
                    <a:cubicBezTo>
                      <a:pt x="764" y="10"/>
                      <a:pt x="762" y="3"/>
                      <a:pt x="767" y="3"/>
                    </a:cubicBezTo>
                    <a:cubicBezTo>
                      <a:pt x="772" y="2"/>
                      <a:pt x="769" y="11"/>
                      <a:pt x="774" y="8"/>
                    </a:cubicBezTo>
                    <a:cubicBezTo>
                      <a:pt x="798" y="0"/>
                      <a:pt x="832" y="6"/>
                      <a:pt x="860" y="10"/>
                    </a:cubicBezTo>
                    <a:cubicBezTo>
                      <a:pt x="920" y="18"/>
                      <a:pt x="979" y="31"/>
                      <a:pt x="1027" y="50"/>
                    </a:cubicBezTo>
                    <a:cubicBezTo>
                      <a:pt x="1077" y="70"/>
                      <a:pt x="1124" y="92"/>
                      <a:pt x="1166" y="119"/>
                    </a:cubicBezTo>
                    <a:cubicBezTo>
                      <a:pt x="1181" y="129"/>
                      <a:pt x="1197" y="136"/>
                      <a:pt x="1209" y="145"/>
                    </a:cubicBezTo>
                    <a:cubicBezTo>
                      <a:pt x="1217" y="151"/>
                      <a:pt x="1224" y="160"/>
                      <a:pt x="1232" y="167"/>
                    </a:cubicBezTo>
                    <a:cubicBezTo>
                      <a:pt x="1281" y="205"/>
                      <a:pt x="1322" y="252"/>
                      <a:pt x="1362" y="301"/>
                    </a:cubicBezTo>
                    <a:cubicBezTo>
                      <a:pt x="1369" y="310"/>
                      <a:pt x="1378" y="316"/>
                      <a:pt x="1383" y="323"/>
                    </a:cubicBezTo>
                    <a:cubicBezTo>
                      <a:pt x="1388" y="331"/>
                      <a:pt x="1392" y="340"/>
                      <a:pt x="1398" y="348"/>
                    </a:cubicBezTo>
                    <a:cubicBezTo>
                      <a:pt x="1468" y="449"/>
                      <a:pt x="1525" y="587"/>
                      <a:pt x="1522" y="761"/>
                    </a:cubicBezTo>
                    <a:cubicBezTo>
                      <a:pt x="1522" y="773"/>
                      <a:pt x="1525" y="784"/>
                      <a:pt x="1524" y="795"/>
                    </a:cubicBezTo>
                    <a:cubicBezTo>
                      <a:pt x="1524" y="805"/>
                      <a:pt x="1520" y="815"/>
                      <a:pt x="1518" y="826"/>
                    </a:cubicBezTo>
                    <a:cubicBezTo>
                      <a:pt x="1515" y="857"/>
                      <a:pt x="1508" y="890"/>
                      <a:pt x="1502" y="919"/>
                    </a:cubicBezTo>
                    <a:cubicBezTo>
                      <a:pt x="1495" y="950"/>
                      <a:pt x="1489" y="979"/>
                      <a:pt x="1481" y="1007"/>
                    </a:cubicBezTo>
                    <a:cubicBezTo>
                      <a:pt x="1478" y="1017"/>
                      <a:pt x="1477" y="1028"/>
                      <a:pt x="1474" y="1037"/>
                    </a:cubicBezTo>
                    <a:cubicBezTo>
                      <a:pt x="1472" y="1045"/>
                      <a:pt x="1468" y="1051"/>
                      <a:pt x="1465" y="1058"/>
                    </a:cubicBezTo>
                    <a:cubicBezTo>
                      <a:pt x="1455" y="1079"/>
                      <a:pt x="1446" y="1102"/>
                      <a:pt x="1436" y="1122"/>
                    </a:cubicBezTo>
                    <a:cubicBezTo>
                      <a:pt x="1414" y="1164"/>
                      <a:pt x="1392" y="1199"/>
                      <a:pt x="1364" y="1233"/>
                    </a:cubicBezTo>
                    <a:cubicBezTo>
                      <a:pt x="1355" y="1245"/>
                      <a:pt x="1347" y="1257"/>
                      <a:pt x="1337" y="1268"/>
                    </a:cubicBezTo>
                    <a:cubicBezTo>
                      <a:pt x="1318" y="1289"/>
                      <a:pt x="1295" y="1305"/>
                      <a:pt x="1274" y="1326"/>
                    </a:cubicBezTo>
                    <a:cubicBezTo>
                      <a:pt x="1232" y="1368"/>
                      <a:pt x="1185" y="1404"/>
                      <a:pt x="1136" y="1434"/>
                    </a:cubicBezTo>
                    <a:cubicBezTo>
                      <a:pt x="1110" y="1450"/>
                      <a:pt x="1082" y="1460"/>
                      <a:pt x="1052" y="1471"/>
                    </a:cubicBezTo>
                    <a:cubicBezTo>
                      <a:pt x="1037" y="1477"/>
                      <a:pt x="1023" y="1484"/>
                      <a:pt x="1008" y="1488"/>
                    </a:cubicBezTo>
                    <a:cubicBezTo>
                      <a:pt x="992" y="1493"/>
                      <a:pt x="976" y="1494"/>
                      <a:pt x="958" y="1499"/>
                    </a:cubicBezTo>
                    <a:cubicBezTo>
                      <a:pt x="948" y="1502"/>
                      <a:pt x="940" y="1508"/>
                      <a:pt x="930" y="1511"/>
                    </a:cubicBezTo>
                    <a:cubicBezTo>
                      <a:pt x="904" y="1518"/>
                      <a:pt x="872" y="1514"/>
                      <a:pt x="846" y="1522"/>
                    </a:cubicBezTo>
                    <a:cubicBezTo>
                      <a:pt x="840" y="1524"/>
                      <a:pt x="835" y="1527"/>
                      <a:pt x="828" y="1528"/>
                    </a:cubicBezTo>
                    <a:cubicBezTo>
                      <a:pt x="823" y="1528"/>
                      <a:pt x="818" y="1526"/>
                      <a:pt x="813" y="1526"/>
                    </a:cubicBezTo>
                    <a:cubicBezTo>
                      <a:pt x="796" y="1525"/>
                      <a:pt x="777" y="1527"/>
                      <a:pt x="758" y="1528"/>
                    </a:cubicBezTo>
                    <a:cubicBezTo>
                      <a:pt x="735" y="1529"/>
                      <a:pt x="713" y="1524"/>
                      <a:pt x="691" y="1523"/>
                    </a:cubicBezTo>
                    <a:cubicBezTo>
                      <a:pt x="683" y="1523"/>
                      <a:pt x="676" y="1525"/>
                      <a:pt x="669" y="1524"/>
                    </a:cubicBezTo>
                    <a:cubicBezTo>
                      <a:pt x="656" y="1523"/>
                      <a:pt x="646" y="1514"/>
                      <a:pt x="635" y="1512"/>
                    </a:cubicBezTo>
                    <a:cubicBezTo>
                      <a:pt x="620" y="1510"/>
                      <a:pt x="607" y="1512"/>
                      <a:pt x="594" y="1511"/>
                    </a:cubicBezTo>
                    <a:cubicBezTo>
                      <a:pt x="571" y="1507"/>
                      <a:pt x="551" y="1496"/>
                      <a:pt x="531" y="1489"/>
                    </a:cubicBezTo>
                    <a:cubicBezTo>
                      <a:pt x="520" y="1486"/>
                      <a:pt x="508" y="1484"/>
                      <a:pt x="497" y="1481"/>
                    </a:cubicBezTo>
                    <a:cubicBezTo>
                      <a:pt x="454" y="1468"/>
                      <a:pt x="414" y="1451"/>
                      <a:pt x="380" y="1429"/>
                    </a:cubicBezTo>
                    <a:cubicBezTo>
                      <a:pt x="363" y="1418"/>
                      <a:pt x="347" y="1404"/>
                      <a:pt x="330" y="1393"/>
                    </a:cubicBezTo>
                    <a:cubicBezTo>
                      <a:pt x="287" y="1366"/>
                      <a:pt x="251" y="1334"/>
                      <a:pt x="216" y="1296"/>
                    </a:cubicBezTo>
                    <a:cubicBezTo>
                      <a:pt x="202" y="1282"/>
                      <a:pt x="187" y="1270"/>
                      <a:pt x="174" y="1252"/>
                    </a:cubicBezTo>
                    <a:cubicBezTo>
                      <a:pt x="169" y="1244"/>
                      <a:pt x="165" y="1234"/>
                      <a:pt x="159" y="1225"/>
                    </a:cubicBezTo>
                    <a:cubicBezTo>
                      <a:pt x="147" y="1209"/>
                      <a:pt x="133" y="1193"/>
                      <a:pt x="123" y="1177"/>
                    </a:cubicBezTo>
                    <a:cubicBezTo>
                      <a:pt x="60" y="1083"/>
                      <a:pt x="16" y="977"/>
                      <a:pt x="6" y="830"/>
                    </a:cubicBezTo>
                    <a:cubicBezTo>
                      <a:pt x="5" y="816"/>
                      <a:pt x="0" y="804"/>
                      <a:pt x="0" y="791"/>
                    </a:cubicBezTo>
                    <a:cubicBezTo>
                      <a:pt x="0" y="782"/>
                      <a:pt x="4" y="772"/>
                      <a:pt x="5" y="762"/>
                    </a:cubicBezTo>
                    <a:cubicBezTo>
                      <a:pt x="11" y="698"/>
                      <a:pt x="14" y="634"/>
                      <a:pt x="27" y="577"/>
                    </a:cubicBezTo>
                    <a:cubicBezTo>
                      <a:pt x="29" y="567"/>
                      <a:pt x="29" y="558"/>
                      <a:pt x="31" y="549"/>
                    </a:cubicBezTo>
                    <a:cubicBezTo>
                      <a:pt x="34" y="539"/>
                      <a:pt x="40" y="529"/>
                      <a:pt x="43" y="519"/>
                    </a:cubicBezTo>
                    <a:cubicBezTo>
                      <a:pt x="65" y="448"/>
                      <a:pt x="100" y="386"/>
                      <a:pt x="137" y="330"/>
                    </a:cubicBezTo>
                    <a:cubicBezTo>
                      <a:pt x="170" y="280"/>
                      <a:pt x="209" y="240"/>
                      <a:pt x="252" y="202"/>
                    </a:cubicBezTo>
                    <a:cubicBezTo>
                      <a:pt x="266" y="190"/>
                      <a:pt x="282" y="179"/>
                      <a:pt x="296" y="166"/>
                    </a:cubicBezTo>
                    <a:cubicBezTo>
                      <a:pt x="303" y="159"/>
                      <a:pt x="307" y="151"/>
                      <a:pt x="315" y="145"/>
                    </a:cubicBezTo>
                    <a:cubicBezTo>
                      <a:pt x="323" y="139"/>
                      <a:pt x="332" y="137"/>
                      <a:pt x="341" y="132"/>
                    </a:cubicBezTo>
                    <a:cubicBezTo>
                      <a:pt x="354" y="124"/>
                      <a:pt x="367" y="114"/>
                      <a:pt x="380" y="106"/>
                    </a:cubicBezTo>
                    <a:cubicBezTo>
                      <a:pt x="419" y="82"/>
                      <a:pt x="466" y="61"/>
                      <a:pt x="514" y="46"/>
                    </a:cubicBezTo>
                    <a:cubicBezTo>
                      <a:pt x="531" y="40"/>
                      <a:pt x="546" y="33"/>
                      <a:pt x="563" y="29"/>
                    </a:cubicBezTo>
                    <a:cubicBezTo>
                      <a:pt x="605" y="19"/>
                      <a:pt x="652" y="8"/>
                      <a:pt x="702" y="5"/>
                    </a:cubicBezTo>
                    <a:cubicBezTo>
                      <a:pt x="711" y="5"/>
                      <a:pt x="721" y="5"/>
                      <a:pt x="731" y="3"/>
                    </a:cubicBezTo>
                    <a:cubicBezTo>
                      <a:pt x="741" y="1"/>
                      <a:pt x="752" y="5"/>
                      <a:pt x="760" y="11"/>
                    </a:cubicBezTo>
                    <a:close/>
                    <a:moveTo>
                      <a:pt x="765" y="11"/>
                    </a:moveTo>
                    <a:cubicBezTo>
                      <a:pt x="767" y="11"/>
                      <a:pt x="769" y="11"/>
                      <a:pt x="770" y="9"/>
                    </a:cubicBezTo>
                    <a:cubicBezTo>
                      <a:pt x="768" y="9"/>
                      <a:pt x="769" y="6"/>
                      <a:pt x="767" y="5"/>
                    </a:cubicBezTo>
                    <a:cubicBezTo>
                      <a:pt x="766" y="7"/>
                      <a:pt x="764" y="8"/>
                      <a:pt x="765" y="11"/>
                    </a:cubicBezTo>
                    <a:close/>
                    <a:moveTo>
                      <a:pt x="737" y="6"/>
                    </a:moveTo>
                    <a:cubicBezTo>
                      <a:pt x="736" y="6"/>
                      <a:pt x="735" y="6"/>
                      <a:pt x="735" y="7"/>
                    </a:cubicBezTo>
                    <a:cubicBezTo>
                      <a:pt x="736" y="7"/>
                      <a:pt x="737" y="7"/>
                      <a:pt x="737" y="6"/>
                    </a:cubicBezTo>
                    <a:close/>
                    <a:moveTo>
                      <a:pt x="800" y="6"/>
                    </a:moveTo>
                    <a:cubicBezTo>
                      <a:pt x="790" y="5"/>
                      <a:pt x="794" y="9"/>
                      <a:pt x="800" y="6"/>
                    </a:cubicBezTo>
                    <a:close/>
                    <a:moveTo>
                      <a:pt x="744" y="7"/>
                    </a:moveTo>
                    <a:cubicBezTo>
                      <a:pt x="742" y="8"/>
                      <a:pt x="738" y="6"/>
                      <a:pt x="738" y="8"/>
                    </a:cubicBezTo>
                    <a:cubicBezTo>
                      <a:pt x="740" y="8"/>
                      <a:pt x="744" y="9"/>
                      <a:pt x="744" y="7"/>
                    </a:cubicBezTo>
                    <a:close/>
                    <a:moveTo>
                      <a:pt x="792" y="7"/>
                    </a:moveTo>
                    <a:cubicBezTo>
                      <a:pt x="790" y="8"/>
                      <a:pt x="785" y="6"/>
                      <a:pt x="785" y="8"/>
                    </a:cubicBezTo>
                    <a:cubicBezTo>
                      <a:pt x="787" y="8"/>
                      <a:pt x="791" y="9"/>
                      <a:pt x="792" y="7"/>
                    </a:cubicBezTo>
                    <a:close/>
                    <a:moveTo>
                      <a:pt x="727" y="8"/>
                    </a:moveTo>
                    <a:cubicBezTo>
                      <a:pt x="726" y="8"/>
                      <a:pt x="725" y="8"/>
                      <a:pt x="725" y="9"/>
                    </a:cubicBezTo>
                    <a:cubicBezTo>
                      <a:pt x="726" y="9"/>
                      <a:pt x="727" y="9"/>
                      <a:pt x="727" y="8"/>
                    </a:cubicBezTo>
                    <a:close/>
                    <a:moveTo>
                      <a:pt x="747" y="8"/>
                    </a:moveTo>
                    <a:cubicBezTo>
                      <a:pt x="746" y="8"/>
                      <a:pt x="745" y="8"/>
                      <a:pt x="745" y="9"/>
                    </a:cubicBezTo>
                    <a:cubicBezTo>
                      <a:pt x="745" y="9"/>
                      <a:pt x="747" y="9"/>
                      <a:pt x="747" y="8"/>
                    </a:cubicBezTo>
                    <a:close/>
                    <a:moveTo>
                      <a:pt x="784" y="8"/>
                    </a:moveTo>
                    <a:cubicBezTo>
                      <a:pt x="783" y="8"/>
                      <a:pt x="781" y="8"/>
                      <a:pt x="781" y="9"/>
                    </a:cubicBezTo>
                    <a:cubicBezTo>
                      <a:pt x="782" y="9"/>
                      <a:pt x="784" y="9"/>
                      <a:pt x="784" y="8"/>
                    </a:cubicBezTo>
                    <a:close/>
                    <a:moveTo>
                      <a:pt x="748" y="10"/>
                    </a:moveTo>
                    <a:cubicBezTo>
                      <a:pt x="747" y="10"/>
                      <a:pt x="748" y="11"/>
                      <a:pt x="748" y="10"/>
                    </a:cubicBezTo>
                    <a:close/>
                    <a:moveTo>
                      <a:pt x="778" y="10"/>
                    </a:moveTo>
                    <a:cubicBezTo>
                      <a:pt x="778" y="10"/>
                      <a:pt x="779" y="11"/>
                      <a:pt x="778" y="10"/>
                    </a:cubicBezTo>
                    <a:close/>
                    <a:moveTo>
                      <a:pt x="688" y="10"/>
                    </a:moveTo>
                    <a:cubicBezTo>
                      <a:pt x="686" y="11"/>
                      <a:pt x="682" y="9"/>
                      <a:pt x="682" y="11"/>
                    </a:cubicBezTo>
                    <a:cubicBezTo>
                      <a:pt x="684" y="10"/>
                      <a:pt x="688" y="12"/>
                      <a:pt x="688" y="10"/>
                    </a:cubicBezTo>
                    <a:close/>
                    <a:moveTo>
                      <a:pt x="841" y="11"/>
                    </a:moveTo>
                    <a:cubicBezTo>
                      <a:pt x="836" y="10"/>
                      <a:pt x="840" y="14"/>
                      <a:pt x="841" y="11"/>
                    </a:cubicBezTo>
                    <a:close/>
                    <a:moveTo>
                      <a:pt x="857" y="12"/>
                    </a:moveTo>
                    <a:cubicBezTo>
                      <a:pt x="856" y="12"/>
                      <a:pt x="854" y="12"/>
                      <a:pt x="854" y="13"/>
                    </a:cubicBezTo>
                    <a:cubicBezTo>
                      <a:pt x="855" y="13"/>
                      <a:pt x="857" y="13"/>
                      <a:pt x="857" y="12"/>
                    </a:cubicBezTo>
                    <a:close/>
                    <a:moveTo>
                      <a:pt x="688" y="16"/>
                    </a:moveTo>
                    <a:cubicBezTo>
                      <a:pt x="680" y="15"/>
                      <a:pt x="684" y="19"/>
                      <a:pt x="688" y="16"/>
                    </a:cubicBezTo>
                    <a:close/>
                    <a:moveTo>
                      <a:pt x="678" y="17"/>
                    </a:moveTo>
                    <a:cubicBezTo>
                      <a:pt x="676" y="17"/>
                      <a:pt x="671" y="16"/>
                      <a:pt x="671" y="18"/>
                    </a:cubicBezTo>
                    <a:cubicBezTo>
                      <a:pt x="673" y="17"/>
                      <a:pt x="677" y="19"/>
                      <a:pt x="678" y="17"/>
                    </a:cubicBezTo>
                    <a:close/>
                    <a:moveTo>
                      <a:pt x="842" y="17"/>
                    </a:moveTo>
                    <a:cubicBezTo>
                      <a:pt x="836" y="16"/>
                      <a:pt x="840" y="20"/>
                      <a:pt x="842" y="17"/>
                    </a:cubicBezTo>
                    <a:close/>
                    <a:moveTo>
                      <a:pt x="664" y="19"/>
                    </a:moveTo>
                    <a:cubicBezTo>
                      <a:pt x="674" y="17"/>
                      <a:pt x="664" y="18"/>
                      <a:pt x="658" y="19"/>
                    </a:cubicBezTo>
                    <a:cubicBezTo>
                      <a:pt x="655" y="19"/>
                      <a:pt x="652" y="18"/>
                      <a:pt x="651" y="21"/>
                    </a:cubicBezTo>
                    <a:cubicBezTo>
                      <a:pt x="656" y="20"/>
                      <a:pt x="660" y="19"/>
                      <a:pt x="664" y="19"/>
                    </a:cubicBezTo>
                    <a:close/>
                    <a:moveTo>
                      <a:pt x="700" y="19"/>
                    </a:moveTo>
                    <a:cubicBezTo>
                      <a:pt x="699" y="18"/>
                      <a:pt x="700" y="19"/>
                      <a:pt x="700" y="19"/>
                    </a:cubicBezTo>
                    <a:close/>
                    <a:moveTo>
                      <a:pt x="698" y="81"/>
                    </a:moveTo>
                    <a:cubicBezTo>
                      <a:pt x="716" y="81"/>
                      <a:pt x="734" y="81"/>
                      <a:pt x="751" y="81"/>
                    </a:cubicBezTo>
                    <a:cubicBezTo>
                      <a:pt x="753" y="60"/>
                      <a:pt x="757" y="36"/>
                      <a:pt x="759" y="18"/>
                    </a:cubicBezTo>
                    <a:cubicBezTo>
                      <a:pt x="733" y="34"/>
                      <a:pt x="714" y="56"/>
                      <a:pt x="698" y="81"/>
                    </a:cubicBezTo>
                    <a:close/>
                    <a:moveTo>
                      <a:pt x="852" y="19"/>
                    </a:moveTo>
                    <a:cubicBezTo>
                      <a:pt x="852" y="19"/>
                      <a:pt x="852" y="19"/>
                      <a:pt x="852" y="20"/>
                    </a:cubicBezTo>
                    <a:cubicBezTo>
                      <a:pt x="870" y="21"/>
                      <a:pt x="885" y="24"/>
                      <a:pt x="901" y="26"/>
                    </a:cubicBezTo>
                    <a:moveTo>
                      <a:pt x="901" y="26"/>
                    </a:moveTo>
                    <a:cubicBezTo>
                      <a:pt x="902" y="29"/>
                      <a:pt x="906" y="25"/>
                      <a:pt x="901" y="26"/>
                    </a:cubicBezTo>
                    <a:moveTo>
                      <a:pt x="901" y="26"/>
                    </a:moveTo>
                    <a:cubicBezTo>
                      <a:pt x="901" y="26"/>
                      <a:pt x="901" y="26"/>
                      <a:pt x="901" y="25"/>
                    </a:cubicBezTo>
                    <a:cubicBezTo>
                      <a:pt x="887" y="21"/>
                      <a:pt x="870" y="20"/>
                      <a:pt x="852" y="19"/>
                    </a:cubicBezTo>
                    <a:moveTo>
                      <a:pt x="852" y="19"/>
                    </a:moveTo>
                    <a:cubicBezTo>
                      <a:pt x="846" y="16"/>
                      <a:pt x="842" y="20"/>
                      <a:pt x="852" y="19"/>
                    </a:cubicBezTo>
                    <a:moveTo>
                      <a:pt x="693" y="19"/>
                    </a:moveTo>
                    <a:cubicBezTo>
                      <a:pt x="683" y="17"/>
                      <a:pt x="687" y="22"/>
                      <a:pt x="693" y="19"/>
                    </a:cubicBezTo>
                    <a:close/>
                    <a:moveTo>
                      <a:pt x="751" y="20"/>
                    </a:moveTo>
                    <a:cubicBezTo>
                      <a:pt x="751" y="19"/>
                      <a:pt x="752" y="20"/>
                      <a:pt x="751" y="20"/>
                    </a:cubicBezTo>
                    <a:close/>
                    <a:moveTo>
                      <a:pt x="754" y="81"/>
                    </a:moveTo>
                    <a:cubicBezTo>
                      <a:pt x="762" y="81"/>
                      <a:pt x="770" y="81"/>
                      <a:pt x="778" y="81"/>
                    </a:cubicBezTo>
                    <a:cubicBezTo>
                      <a:pt x="774" y="59"/>
                      <a:pt x="781" y="26"/>
                      <a:pt x="762" y="19"/>
                    </a:cubicBezTo>
                    <a:cubicBezTo>
                      <a:pt x="759" y="39"/>
                      <a:pt x="756" y="59"/>
                      <a:pt x="754" y="81"/>
                    </a:cubicBezTo>
                    <a:close/>
                    <a:moveTo>
                      <a:pt x="826" y="19"/>
                    </a:moveTo>
                    <a:cubicBezTo>
                      <a:pt x="820" y="18"/>
                      <a:pt x="824" y="22"/>
                      <a:pt x="826" y="19"/>
                    </a:cubicBezTo>
                    <a:close/>
                    <a:moveTo>
                      <a:pt x="641" y="21"/>
                    </a:moveTo>
                    <a:cubicBezTo>
                      <a:pt x="619" y="23"/>
                      <a:pt x="596" y="25"/>
                      <a:pt x="580" y="33"/>
                    </a:cubicBezTo>
                    <a:moveTo>
                      <a:pt x="580" y="33"/>
                    </a:moveTo>
                    <a:cubicBezTo>
                      <a:pt x="576" y="32"/>
                      <a:pt x="579" y="36"/>
                      <a:pt x="580" y="33"/>
                    </a:cubicBezTo>
                    <a:moveTo>
                      <a:pt x="580" y="33"/>
                    </a:moveTo>
                    <a:cubicBezTo>
                      <a:pt x="600" y="29"/>
                      <a:pt x="622" y="26"/>
                      <a:pt x="641" y="21"/>
                    </a:cubicBezTo>
                    <a:moveTo>
                      <a:pt x="641" y="21"/>
                    </a:moveTo>
                    <a:cubicBezTo>
                      <a:pt x="646" y="22"/>
                      <a:pt x="642" y="18"/>
                      <a:pt x="641" y="21"/>
                    </a:cubicBezTo>
                    <a:moveTo>
                      <a:pt x="632" y="29"/>
                    </a:moveTo>
                    <a:cubicBezTo>
                      <a:pt x="649" y="25"/>
                      <a:pt x="668" y="24"/>
                      <a:pt x="684" y="20"/>
                    </a:cubicBezTo>
                    <a:cubicBezTo>
                      <a:pt x="666" y="22"/>
                      <a:pt x="644" y="21"/>
                      <a:pt x="632" y="29"/>
                    </a:cubicBezTo>
                    <a:close/>
                    <a:moveTo>
                      <a:pt x="710" y="20"/>
                    </a:moveTo>
                    <a:cubicBezTo>
                      <a:pt x="709" y="20"/>
                      <a:pt x="707" y="19"/>
                      <a:pt x="707" y="21"/>
                    </a:cubicBezTo>
                    <a:cubicBezTo>
                      <a:pt x="708" y="20"/>
                      <a:pt x="710" y="21"/>
                      <a:pt x="710" y="20"/>
                    </a:cubicBezTo>
                    <a:close/>
                    <a:moveTo>
                      <a:pt x="726" y="21"/>
                    </a:moveTo>
                    <a:cubicBezTo>
                      <a:pt x="725" y="20"/>
                      <a:pt x="726" y="21"/>
                      <a:pt x="726" y="21"/>
                    </a:cubicBezTo>
                    <a:close/>
                    <a:moveTo>
                      <a:pt x="739" y="21"/>
                    </a:moveTo>
                    <a:cubicBezTo>
                      <a:pt x="739" y="20"/>
                      <a:pt x="740" y="21"/>
                      <a:pt x="739" y="21"/>
                    </a:cubicBezTo>
                    <a:close/>
                    <a:moveTo>
                      <a:pt x="749" y="21"/>
                    </a:moveTo>
                    <a:cubicBezTo>
                      <a:pt x="725" y="27"/>
                      <a:pt x="705" y="37"/>
                      <a:pt x="686" y="48"/>
                    </a:cubicBezTo>
                    <a:cubicBezTo>
                      <a:pt x="681" y="59"/>
                      <a:pt x="675" y="70"/>
                      <a:pt x="672" y="82"/>
                    </a:cubicBezTo>
                    <a:cubicBezTo>
                      <a:pt x="679" y="82"/>
                      <a:pt x="686" y="82"/>
                      <a:pt x="693" y="82"/>
                    </a:cubicBezTo>
                    <a:cubicBezTo>
                      <a:pt x="709" y="59"/>
                      <a:pt x="727" y="38"/>
                      <a:pt x="749" y="21"/>
                    </a:cubicBezTo>
                    <a:moveTo>
                      <a:pt x="749" y="21"/>
                    </a:moveTo>
                    <a:cubicBezTo>
                      <a:pt x="753" y="22"/>
                      <a:pt x="749" y="18"/>
                      <a:pt x="749" y="21"/>
                    </a:cubicBezTo>
                    <a:moveTo>
                      <a:pt x="793" y="21"/>
                    </a:moveTo>
                    <a:cubicBezTo>
                      <a:pt x="792" y="20"/>
                      <a:pt x="793" y="21"/>
                      <a:pt x="793" y="21"/>
                    </a:cubicBezTo>
                    <a:close/>
                    <a:moveTo>
                      <a:pt x="810" y="20"/>
                    </a:moveTo>
                    <a:cubicBezTo>
                      <a:pt x="809" y="20"/>
                      <a:pt x="808" y="20"/>
                      <a:pt x="808" y="21"/>
                    </a:cubicBezTo>
                    <a:cubicBezTo>
                      <a:pt x="809" y="20"/>
                      <a:pt x="810" y="21"/>
                      <a:pt x="810" y="20"/>
                    </a:cubicBezTo>
                    <a:close/>
                    <a:moveTo>
                      <a:pt x="837" y="21"/>
                    </a:moveTo>
                    <a:cubicBezTo>
                      <a:pt x="837" y="22"/>
                      <a:pt x="839" y="22"/>
                      <a:pt x="839" y="21"/>
                    </a:cubicBezTo>
                    <a:cubicBezTo>
                      <a:pt x="834" y="18"/>
                      <a:pt x="826" y="21"/>
                      <a:pt x="837" y="21"/>
                    </a:cubicBezTo>
                    <a:close/>
                    <a:moveTo>
                      <a:pt x="699" y="22"/>
                    </a:moveTo>
                    <a:cubicBezTo>
                      <a:pt x="667" y="27"/>
                      <a:pt x="629" y="26"/>
                      <a:pt x="610" y="45"/>
                    </a:cubicBezTo>
                    <a:moveTo>
                      <a:pt x="610" y="45"/>
                    </a:moveTo>
                    <a:cubicBezTo>
                      <a:pt x="606" y="44"/>
                      <a:pt x="610" y="47"/>
                      <a:pt x="610" y="45"/>
                    </a:cubicBezTo>
                    <a:moveTo>
                      <a:pt x="699" y="22"/>
                    </a:moveTo>
                    <a:cubicBezTo>
                      <a:pt x="668" y="28"/>
                      <a:pt x="639" y="36"/>
                      <a:pt x="610" y="45"/>
                    </a:cubicBezTo>
                    <a:moveTo>
                      <a:pt x="699" y="22"/>
                    </a:moveTo>
                    <a:cubicBezTo>
                      <a:pt x="703" y="22"/>
                      <a:pt x="699" y="19"/>
                      <a:pt x="699" y="22"/>
                    </a:cubicBezTo>
                    <a:moveTo>
                      <a:pt x="720" y="22"/>
                    </a:moveTo>
                    <a:cubicBezTo>
                      <a:pt x="713" y="23"/>
                      <a:pt x="705" y="22"/>
                      <a:pt x="702" y="26"/>
                    </a:cubicBezTo>
                    <a:cubicBezTo>
                      <a:pt x="708" y="25"/>
                      <a:pt x="714" y="24"/>
                      <a:pt x="720" y="22"/>
                    </a:cubicBezTo>
                    <a:moveTo>
                      <a:pt x="720" y="22"/>
                    </a:moveTo>
                    <a:cubicBezTo>
                      <a:pt x="725" y="23"/>
                      <a:pt x="721" y="19"/>
                      <a:pt x="720" y="22"/>
                    </a:cubicBezTo>
                    <a:moveTo>
                      <a:pt x="690" y="43"/>
                    </a:moveTo>
                    <a:cubicBezTo>
                      <a:pt x="689" y="43"/>
                      <a:pt x="690" y="44"/>
                      <a:pt x="690" y="43"/>
                    </a:cubicBezTo>
                    <a:moveTo>
                      <a:pt x="690" y="43"/>
                    </a:moveTo>
                    <a:cubicBezTo>
                      <a:pt x="705" y="35"/>
                      <a:pt x="721" y="28"/>
                      <a:pt x="737" y="21"/>
                    </a:cubicBezTo>
                    <a:cubicBezTo>
                      <a:pt x="720" y="26"/>
                      <a:pt x="695" y="25"/>
                      <a:pt x="690" y="43"/>
                    </a:cubicBezTo>
                    <a:moveTo>
                      <a:pt x="812" y="81"/>
                    </a:moveTo>
                    <a:cubicBezTo>
                      <a:pt x="830" y="82"/>
                      <a:pt x="849" y="82"/>
                      <a:pt x="867" y="83"/>
                    </a:cubicBezTo>
                    <a:cubicBezTo>
                      <a:pt x="844" y="58"/>
                      <a:pt x="811" y="35"/>
                      <a:pt x="774" y="21"/>
                    </a:cubicBezTo>
                    <a:cubicBezTo>
                      <a:pt x="788" y="40"/>
                      <a:pt x="803" y="58"/>
                      <a:pt x="812" y="81"/>
                    </a:cubicBezTo>
                    <a:close/>
                    <a:moveTo>
                      <a:pt x="852" y="66"/>
                    </a:moveTo>
                    <a:cubicBezTo>
                      <a:pt x="863" y="75"/>
                      <a:pt x="870" y="86"/>
                      <a:pt x="887" y="84"/>
                    </a:cubicBezTo>
                    <a:cubicBezTo>
                      <a:pt x="882" y="71"/>
                      <a:pt x="874" y="61"/>
                      <a:pt x="867" y="49"/>
                    </a:cubicBezTo>
                    <a:cubicBezTo>
                      <a:pt x="840" y="39"/>
                      <a:pt x="812" y="26"/>
                      <a:pt x="783" y="22"/>
                    </a:cubicBezTo>
                    <a:cubicBezTo>
                      <a:pt x="810" y="32"/>
                      <a:pt x="831" y="48"/>
                      <a:pt x="852" y="66"/>
                    </a:cubicBezTo>
                    <a:close/>
                    <a:moveTo>
                      <a:pt x="799" y="22"/>
                    </a:moveTo>
                    <a:cubicBezTo>
                      <a:pt x="821" y="29"/>
                      <a:pt x="844" y="36"/>
                      <a:pt x="863" y="46"/>
                    </a:cubicBezTo>
                    <a:cubicBezTo>
                      <a:pt x="854" y="26"/>
                      <a:pt x="823" y="27"/>
                      <a:pt x="799" y="22"/>
                    </a:cubicBezTo>
                    <a:moveTo>
                      <a:pt x="799" y="22"/>
                    </a:moveTo>
                    <a:cubicBezTo>
                      <a:pt x="797" y="19"/>
                      <a:pt x="793" y="23"/>
                      <a:pt x="799" y="22"/>
                    </a:cubicBezTo>
                    <a:moveTo>
                      <a:pt x="817" y="21"/>
                    </a:moveTo>
                    <a:cubicBezTo>
                      <a:pt x="811" y="19"/>
                      <a:pt x="815" y="24"/>
                      <a:pt x="817" y="21"/>
                    </a:cubicBezTo>
                    <a:close/>
                    <a:moveTo>
                      <a:pt x="928" y="41"/>
                    </a:moveTo>
                    <a:cubicBezTo>
                      <a:pt x="928" y="44"/>
                      <a:pt x="932" y="40"/>
                      <a:pt x="928" y="41"/>
                    </a:cubicBezTo>
                    <a:moveTo>
                      <a:pt x="928" y="41"/>
                    </a:moveTo>
                    <a:cubicBezTo>
                      <a:pt x="909" y="25"/>
                      <a:pt x="871" y="25"/>
                      <a:pt x="844" y="22"/>
                    </a:cubicBezTo>
                    <a:cubicBezTo>
                      <a:pt x="872" y="28"/>
                      <a:pt x="901" y="33"/>
                      <a:pt x="928" y="41"/>
                    </a:cubicBezTo>
                    <a:moveTo>
                      <a:pt x="901" y="21"/>
                    </a:moveTo>
                    <a:cubicBezTo>
                      <a:pt x="900" y="21"/>
                      <a:pt x="899" y="21"/>
                      <a:pt x="899" y="22"/>
                    </a:cubicBezTo>
                    <a:cubicBezTo>
                      <a:pt x="900" y="21"/>
                      <a:pt x="901" y="22"/>
                      <a:pt x="901" y="21"/>
                    </a:cubicBezTo>
                    <a:close/>
                    <a:moveTo>
                      <a:pt x="847" y="28"/>
                    </a:moveTo>
                    <a:cubicBezTo>
                      <a:pt x="848" y="30"/>
                      <a:pt x="849" y="28"/>
                      <a:pt x="847" y="28"/>
                    </a:cubicBezTo>
                    <a:moveTo>
                      <a:pt x="847" y="28"/>
                    </a:moveTo>
                    <a:cubicBezTo>
                      <a:pt x="842" y="22"/>
                      <a:pt x="827" y="22"/>
                      <a:pt x="818" y="23"/>
                    </a:cubicBezTo>
                    <a:cubicBezTo>
                      <a:pt x="829" y="23"/>
                      <a:pt x="837" y="27"/>
                      <a:pt x="847" y="28"/>
                    </a:cubicBezTo>
                    <a:moveTo>
                      <a:pt x="909" y="22"/>
                    </a:moveTo>
                    <a:cubicBezTo>
                      <a:pt x="904" y="21"/>
                      <a:pt x="908" y="24"/>
                      <a:pt x="909" y="22"/>
                    </a:cubicBezTo>
                    <a:close/>
                    <a:moveTo>
                      <a:pt x="916" y="23"/>
                    </a:moveTo>
                    <a:cubicBezTo>
                      <a:pt x="914" y="23"/>
                      <a:pt x="913" y="22"/>
                      <a:pt x="913" y="23"/>
                    </a:cubicBezTo>
                    <a:cubicBezTo>
                      <a:pt x="914" y="23"/>
                      <a:pt x="915" y="24"/>
                      <a:pt x="916" y="23"/>
                    </a:cubicBezTo>
                    <a:close/>
                    <a:moveTo>
                      <a:pt x="922" y="24"/>
                    </a:moveTo>
                    <a:cubicBezTo>
                      <a:pt x="922" y="25"/>
                      <a:pt x="922" y="25"/>
                      <a:pt x="922" y="25"/>
                    </a:cubicBezTo>
                    <a:cubicBezTo>
                      <a:pt x="927" y="25"/>
                      <a:pt x="928" y="27"/>
                      <a:pt x="932" y="26"/>
                    </a:cubicBezTo>
                    <a:moveTo>
                      <a:pt x="932" y="26"/>
                    </a:moveTo>
                    <a:cubicBezTo>
                      <a:pt x="934" y="29"/>
                      <a:pt x="938" y="25"/>
                      <a:pt x="932" y="26"/>
                    </a:cubicBezTo>
                    <a:moveTo>
                      <a:pt x="932" y="26"/>
                    </a:moveTo>
                    <a:cubicBezTo>
                      <a:pt x="932" y="26"/>
                      <a:pt x="932" y="26"/>
                      <a:pt x="932" y="25"/>
                    </a:cubicBezTo>
                    <a:cubicBezTo>
                      <a:pt x="928" y="26"/>
                      <a:pt x="927" y="24"/>
                      <a:pt x="922" y="24"/>
                    </a:cubicBezTo>
                    <a:moveTo>
                      <a:pt x="922" y="24"/>
                    </a:moveTo>
                    <a:cubicBezTo>
                      <a:pt x="919" y="22"/>
                      <a:pt x="915" y="26"/>
                      <a:pt x="922" y="24"/>
                    </a:cubicBezTo>
                    <a:moveTo>
                      <a:pt x="907" y="25"/>
                    </a:moveTo>
                    <a:cubicBezTo>
                      <a:pt x="907" y="26"/>
                      <a:pt x="907" y="26"/>
                      <a:pt x="907" y="26"/>
                    </a:cubicBezTo>
                    <a:cubicBezTo>
                      <a:pt x="934" y="34"/>
                      <a:pt x="965" y="42"/>
                      <a:pt x="990" y="47"/>
                    </a:cubicBezTo>
                    <a:cubicBezTo>
                      <a:pt x="967" y="36"/>
                      <a:pt x="938" y="29"/>
                      <a:pt x="907" y="25"/>
                    </a:cubicBezTo>
                    <a:moveTo>
                      <a:pt x="907" y="25"/>
                    </a:moveTo>
                    <a:cubicBezTo>
                      <a:pt x="907" y="23"/>
                      <a:pt x="903" y="26"/>
                      <a:pt x="907" y="25"/>
                    </a:cubicBezTo>
                    <a:moveTo>
                      <a:pt x="602" y="50"/>
                    </a:moveTo>
                    <a:cubicBezTo>
                      <a:pt x="598" y="55"/>
                      <a:pt x="592" y="59"/>
                      <a:pt x="587" y="64"/>
                    </a:cubicBezTo>
                    <a:cubicBezTo>
                      <a:pt x="583" y="68"/>
                      <a:pt x="576" y="75"/>
                      <a:pt x="577" y="78"/>
                    </a:cubicBezTo>
                    <a:cubicBezTo>
                      <a:pt x="587" y="77"/>
                      <a:pt x="597" y="71"/>
                      <a:pt x="606" y="66"/>
                    </a:cubicBezTo>
                    <a:cubicBezTo>
                      <a:pt x="631" y="53"/>
                      <a:pt x="656" y="41"/>
                      <a:pt x="683" y="32"/>
                    </a:cubicBezTo>
                    <a:cubicBezTo>
                      <a:pt x="687" y="31"/>
                      <a:pt x="696" y="31"/>
                      <a:pt x="695" y="25"/>
                    </a:cubicBezTo>
                    <a:cubicBezTo>
                      <a:pt x="662" y="32"/>
                      <a:pt x="632" y="41"/>
                      <a:pt x="602" y="50"/>
                    </a:cubicBezTo>
                    <a:close/>
                    <a:moveTo>
                      <a:pt x="530" y="58"/>
                    </a:moveTo>
                    <a:cubicBezTo>
                      <a:pt x="526" y="57"/>
                      <a:pt x="529" y="61"/>
                      <a:pt x="530" y="58"/>
                    </a:cubicBezTo>
                    <a:moveTo>
                      <a:pt x="530" y="58"/>
                    </a:moveTo>
                    <a:cubicBezTo>
                      <a:pt x="546" y="53"/>
                      <a:pt x="563" y="47"/>
                      <a:pt x="581" y="42"/>
                    </a:cubicBezTo>
                    <a:cubicBezTo>
                      <a:pt x="598" y="37"/>
                      <a:pt x="617" y="35"/>
                      <a:pt x="631" y="26"/>
                    </a:cubicBezTo>
                    <a:cubicBezTo>
                      <a:pt x="593" y="33"/>
                      <a:pt x="554" y="38"/>
                      <a:pt x="530" y="58"/>
                    </a:cubicBezTo>
                    <a:moveTo>
                      <a:pt x="969" y="73"/>
                    </a:moveTo>
                    <a:cubicBezTo>
                      <a:pt x="947" y="41"/>
                      <a:pt x="895" y="34"/>
                      <a:pt x="850" y="27"/>
                    </a:cubicBezTo>
                    <a:cubicBezTo>
                      <a:pt x="890" y="42"/>
                      <a:pt x="933" y="54"/>
                      <a:pt x="969" y="73"/>
                    </a:cubicBezTo>
                    <a:close/>
                    <a:moveTo>
                      <a:pt x="939" y="27"/>
                    </a:moveTo>
                    <a:cubicBezTo>
                      <a:pt x="938" y="28"/>
                      <a:pt x="937" y="27"/>
                      <a:pt x="937" y="28"/>
                    </a:cubicBezTo>
                    <a:cubicBezTo>
                      <a:pt x="937" y="28"/>
                      <a:pt x="939" y="28"/>
                      <a:pt x="939" y="27"/>
                    </a:cubicBezTo>
                    <a:close/>
                    <a:moveTo>
                      <a:pt x="574" y="32"/>
                    </a:moveTo>
                    <a:cubicBezTo>
                      <a:pt x="574" y="33"/>
                      <a:pt x="573" y="32"/>
                      <a:pt x="574" y="32"/>
                    </a:cubicBezTo>
                    <a:close/>
                    <a:moveTo>
                      <a:pt x="781" y="81"/>
                    </a:moveTo>
                    <a:cubicBezTo>
                      <a:pt x="790" y="80"/>
                      <a:pt x="801" y="82"/>
                      <a:pt x="808" y="80"/>
                    </a:cubicBezTo>
                    <a:cubicBezTo>
                      <a:pt x="798" y="63"/>
                      <a:pt x="789" y="45"/>
                      <a:pt x="776" y="31"/>
                    </a:cubicBezTo>
                    <a:cubicBezTo>
                      <a:pt x="778" y="48"/>
                      <a:pt x="779" y="65"/>
                      <a:pt x="781" y="81"/>
                    </a:cubicBezTo>
                    <a:close/>
                    <a:moveTo>
                      <a:pt x="526" y="47"/>
                    </a:moveTo>
                    <a:cubicBezTo>
                      <a:pt x="524" y="48"/>
                      <a:pt x="526" y="49"/>
                      <a:pt x="526" y="47"/>
                    </a:cubicBezTo>
                    <a:moveTo>
                      <a:pt x="526" y="47"/>
                    </a:moveTo>
                    <a:cubicBezTo>
                      <a:pt x="543" y="43"/>
                      <a:pt x="560" y="40"/>
                      <a:pt x="573" y="32"/>
                    </a:cubicBezTo>
                    <a:cubicBezTo>
                      <a:pt x="557" y="37"/>
                      <a:pt x="537" y="38"/>
                      <a:pt x="526" y="47"/>
                    </a:cubicBezTo>
                    <a:moveTo>
                      <a:pt x="963" y="32"/>
                    </a:moveTo>
                    <a:cubicBezTo>
                      <a:pt x="962" y="32"/>
                      <a:pt x="961" y="32"/>
                      <a:pt x="961" y="33"/>
                    </a:cubicBezTo>
                    <a:cubicBezTo>
                      <a:pt x="961" y="33"/>
                      <a:pt x="963" y="33"/>
                      <a:pt x="963" y="32"/>
                    </a:cubicBezTo>
                    <a:close/>
                    <a:moveTo>
                      <a:pt x="585" y="80"/>
                    </a:moveTo>
                    <a:cubicBezTo>
                      <a:pt x="601" y="82"/>
                      <a:pt x="616" y="87"/>
                      <a:pt x="632" y="84"/>
                    </a:cubicBezTo>
                    <a:cubicBezTo>
                      <a:pt x="648" y="70"/>
                      <a:pt x="665" y="58"/>
                      <a:pt x="683" y="47"/>
                    </a:cubicBezTo>
                    <a:cubicBezTo>
                      <a:pt x="683" y="42"/>
                      <a:pt x="693" y="36"/>
                      <a:pt x="689" y="33"/>
                    </a:cubicBezTo>
                    <a:cubicBezTo>
                      <a:pt x="652" y="46"/>
                      <a:pt x="617" y="61"/>
                      <a:pt x="585" y="80"/>
                    </a:cubicBezTo>
                    <a:close/>
                    <a:moveTo>
                      <a:pt x="966" y="34"/>
                    </a:moveTo>
                    <a:cubicBezTo>
                      <a:pt x="968" y="37"/>
                      <a:pt x="972" y="33"/>
                      <a:pt x="966" y="34"/>
                    </a:cubicBezTo>
                    <a:moveTo>
                      <a:pt x="966" y="34"/>
                    </a:moveTo>
                    <a:cubicBezTo>
                      <a:pt x="965" y="31"/>
                      <a:pt x="961" y="35"/>
                      <a:pt x="966" y="34"/>
                    </a:cubicBezTo>
                    <a:moveTo>
                      <a:pt x="575" y="35"/>
                    </a:moveTo>
                    <a:cubicBezTo>
                      <a:pt x="574" y="35"/>
                      <a:pt x="575" y="36"/>
                      <a:pt x="575" y="35"/>
                    </a:cubicBezTo>
                    <a:close/>
                    <a:moveTo>
                      <a:pt x="859" y="35"/>
                    </a:moveTo>
                    <a:cubicBezTo>
                      <a:pt x="861" y="40"/>
                      <a:pt x="866" y="43"/>
                      <a:pt x="869" y="48"/>
                    </a:cubicBezTo>
                    <a:cubicBezTo>
                      <a:pt x="878" y="53"/>
                      <a:pt x="889" y="57"/>
                      <a:pt x="900" y="64"/>
                    </a:cubicBezTo>
                    <a:cubicBezTo>
                      <a:pt x="909" y="69"/>
                      <a:pt x="921" y="80"/>
                      <a:pt x="930" y="81"/>
                    </a:cubicBezTo>
                    <a:cubicBezTo>
                      <a:pt x="940" y="82"/>
                      <a:pt x="953" y="76"/>
                      <a:pt x="965" y="73"/>
                    </a:cubicBezTo>
                    <a:cubicBezTo>
                      <a:pt x="931" y="59"/>
                      <a:pt x="898" y="44"/>
                      <a:pt x="859" y="35"/>
                    </a:cubicBezTo>
                    <a:moveTo>
                      <a:pt x="859" y="35"/>
                    </a:moveTo>
                    <a:cubicBezTo>
                      <a:pt x="858" y="34"/>
                      <a:pt x="858" y="35"/>
                      <a:pt x="859" y="35"/>
                    </a:cubicBezTo>
                    <a:moveTo>
                      <a:pt x="993" y="63"/>
                    </a:moveTo>
                    <a:cubicBezTo>
                      <a:pt x="997" y="61"/>
                      <a:pt x="1000" y="59"/>
                      <a:pt x="1001" y="55"/>
                    </a:cubicBezTo>
                    <a:cubicBezTo>
                      <a:pt x="977" y="47"/>
                      <a:pt x="949" y="38"/>
                      <a:pt x="924" y="35"/>
                    </a:cubicBezTo>
                    <a:cubicBezTo>
                      <a:pt x="943" y="48"/>
                      <a:pt x="970" y="54"/>
                      <a:pt x="993" y="63"/>
                    </a:cubicBezTo>
                    <a:close/>
                    <a:moveTo>
                      <a:pt x="973" y="35"/>
                    </a:moveTo>
                    <a:cubicBezTo>
                      <a:pt x="972" y="35"/>
                      <a:pt x="970" y="35"/>
                      <a:pt x="970" y="36"/>
                    </a:cubicBezTo>
                    <a:cubicBezTo>
                      <a:pt x="971" y="36"/>
                      <a:pt x="973" y="36"/>
                      <a:pt x="973" y="35"/>
                    </a:cubicBezTo>
                    <a:close/>
                    <a:moveTo>
                      <a:pt x="530" y="61"/>
                    </a:moveTo>
                    <a:cubicBezTo>
                      <a:pt x="542" y="76"/>
                      <a:pt x="556" y="66"/>
                      <a:pt x="573" y="59"/>
                    </a:cubicBezTo>
                    <a:cubicBezTo>
                      <a:pt x="588" y="53"/>
                      <a:pt x="599" y="49"/>
                      <a:pt x="608" y="42"/>
                    </a:cubicBezTo>
                    <a:cubicBezTo>
                      <a:pt x="611" y="39"/>
                      <a:pt x="617" y="37"/>
                      <a:pt x="614" y="36"/>
                    </a:cubicBezTo>
                    <a:cubicBezTo>
                      <a:pt x="585" y="43"/>
                      <a:pt x="557" y="52"/>
                      <a:pt x="530" y="61"/>
                    </a:cubicBezTo>
                    <a:close/>
                    <a:moveTo>
                      <a:pt x="976" y="36"/>
                    </a:moveTo>
                    <a:cubicBezTo>
                      <a:pt x="975" y="36"/>
                      <a:pt x="974" y="36"/>
                      <a:pt x="974" y="37"/>
                    </a:cubicBezTo>
                    <a:cubicBezTo>
                      <a:pt x="975" y="37"/>
                      <a:pt x="976" y="37"/>
                      <a:pt x="976" y="36"/>
                    </a:cubicBezTo>
                    <a:close/>
                    <a:moveTo>
                      <a:pt x="978" y="38"/>
                    </a:moveTo>
                    <a:cubicBezTo>
                      <a:pt x="978" y="37"/>
                      <a:pt x="979" y="39"/>
                      <a:pt x="978" y="38"/>
                    </a:cubicBezTo>
                    <a:close/>
                    <a:moveTo>
                      <a:pt x="982" y="39"/>
                    </a:moveTo>
                    <a:cubicBezTo>
                      <a:pt x="981" y="38"/>
                      <a:pt x="982" y="39"/>
                      <a:pt x="982" y="39"/>
                    </a:cubicBezTo>
                    <a:close/>
                    <a:moveTo>
                      <a:pt x="931" y="43"/>
                    </a:moveTo>
                    <a:cubicBezTo>
                      <a:pt x="931" y="42"/>
                      <a:pt x="932" y="43"/>
                      <a:pt x="931" y="43"/>
                    </a:cubicBezTo>
                    <a:close/>
                    <a:moveTo>
                      <a:pt x="985" y="43"/>
                    </a:moveTo>
                    <a:cubicBezTo>
                      <a:pt x="984" y="42"/>
                      <a:pt x="985" y="43"/>
                      <a:pt x="985" y="43"/>
                    </a:cubicBezTo>
                    <a:close/>
                    <a:moveTo>
                      <a:pt x="1000" y="48"/>
                    </a:moveTo>
                    <a:cubicBezTo>
                      <a:pt x="997" y="46"/>
                      <a:pt x="991" y="42"/>
                      <a:pt x="987" y="44"/>
                    </a:cubicBezTo>
                    <a:cubicBezTo>
                      <a:pt x="992" y="44"/>
                      <a:pt x="996" y="50"/>
                      <a:pt x="1000" y="48"/>
                    </a:cubicBezTo>
                    <a:close/>
                    <a:moveTo>
                      <a:pt x="489" y="60"/>
                    </a:moveTo>
                    <a:cubicBezTo>
                      <a:pt x="488" y="60"/>
                      <a:pt x="487" y="60"/>
                      <a:pt x="486" y="61"/>
                    </a:cubicBezTo>
                    <a:moveTo>
                      <a:pt x="486" y="61"/>
                    </a:moveTo>
                    <a:cubicBezTo>
                      <a:pt x="485" y="61"/>
                      <a:pt x="485" y="61"/>
                      <a:pt x="485" y="62"/>
                    </a:cubicBezTo>
                    <a:moveTo>
                      <a:pt x="485" y="62"/>
                    </a:moveTo>
                    <a:cubicBezTo>
                      <a:pt x="481" y="61"/>
                      <a:pt x="484" y="65"/>
                      <a:pt x="485" y="62"/>
                    </a:cubicBezTo>
                    <a:moveTo>
                      <a:pt x="485" y="62"/>
                    </a:moveTo>
                    <a:cubicBezTo>
                      <a:pt x="486" y="62"/>
                      <a:pt x="486" y="62"/>
                      <a:pt x="486" y="61"/>
                    </a:cubicBezTo>
                    <a:moveTo>
                      <a:pt x="486" y="61"/>
                    </a:moveTo>
                    <a:cubicBezTo>
                      <a:pt x="488" y="61"/>
                      <a:pt x="489" y="61"/>
                      <a:pt x="489" y="60"/>
                    </a:cubicBezTo>
                    <a:moveTo>
                      <a:pt x="489" y="60"/>
                    </a:moveTo>
                    <a:cubicBezTo>
                      <a:pt x="500" y="55"/>
                      <a:pt x="516" y="55"/>
                      <a:pt x="523" y="46"/>
                    </a:cubicBezTo>
                    <a:cubicBezTo>
                      <a:pt x="511" y="50"/>
                      <a:pt x="500" y="54"/>
                      <a:pt x="489" y="60"/>
                    </a:cubicBezTo>
                    <a:moveTo>
                      <a:pt x="542" y="47"/>
                    </a:moveTo>
                    <a:cubicBezTo>
                      <a:pt x="535" y="47"/>
                      <a:pt x="530" y="50"/>
                      <a:pt x="523" y="51"/>
                    </a:cubicBezTo>
                    <a:cubicBezTo>
                      <a:pt x="523" y="54"/>
                      <a:pt x="523" y="56"/>
                      <a:pt x="524" y="57"/>
                    </a:cubicBezTo>
                    <a:cubicBezTo>
                      <a:pt x="531" y="55"/>
                      <a:pt x="537" y="50"/>
                      <a:pt x="542" y="47"/>
                    </a:cubicBezTo>
                    <a:moveTo>
                      <a:pt x="542" y="47"/>
                    </a:moveTo>
                    <a:cubicBezTo>
                      <a:pt x="546" y="47"/>
                      <a:pt x="542" y="44"/>
                      <a:pt x="542" y="47"/>
                    </a:cubicBezTo>
                    <a:moveTo>
                      <a:pt x="1113" y="98"/>
                    </a:moveTo>
                    <a:cubicBezTo>
                      <a:pt x="1113" y="99"/>
                      <a:pt x="1115" y="99"/>
                      <a:pt x="1115" y="99"/>
                    </a:cubicBezTo>
                    <a:moveTo>
                      <a:pt x="1115" y="99"/>
                    </a:moveTo>
                    <a:cubicBezTo>
                      <a:pt x="1116" y="101"/>
                      <a:pt x="1116" y="99"/>
                      <a:pt x="1115" y="99"/>
                    </a:cubicBezTo>
                    <a:moveTo>
                      <a:pt x="1115" y="99"/>
                    </a:moveTo>
                    <a:cubicBezTo>
                      <a:pt x="1115" y="98"/>
                      <a:pt x="1114" y="99"/>
                      <a:pt x="1113" y="98"/>
                    </a:cubicBezTo>
                    <a:moveTo>
                      <a:pt x="1113" y="98"/>
                    </a:moveTo>
                    <a:cubicBezTo>
                      <a:pt x="1081" y="77"/>
                      <a:pt x="1043" y="57"/>
                      <a:pt x="1002" y="48"/>
                    </a:cubicBezTo>
                    <a:cubicBezTo>
                      <a:pt x="1008" y="57"/>
                      <a:pt x="1020" y="58"/>
                      <a:pt x="1029" y="62"/>
                    </a:cubicBezTo>
                    <a:cubicBezTo>
                      <a:pt x="1057" y="72"/>
                      <a:pt x="1086" y="86"/>
                      <a:pt x="1113" y="98"/>
                    </a:cubicBezTo>
                    <a:moveTo>
                      <a:pt x="991" y="49"/>
                    </a:moveTo>
                    <a:cubicBezTo>
                      <a:pt x="991" y="49"/>
                      <a:pt x="992" y="50"/>
                      <a:pt x="991" y="49"/>
                    </a:cubicBezTo>
                    <a:close/>
                    <a:moveTo>
                      <a:pt x="948" y="50"/>
                    </a:moveTo>
                    <a:cubicBezTo>
                      <a:pt x="957" y="57"/>
                      <a:pt x="965" y="65"/>
                      <a:pt x="974" y="71"/>
                    </a:cubicBezTo>
                    <a:cubicBezTo>
                      <a:pt x="979" y="69"/>
                      <a:pt x="987" y="69"/>
                      <a:pt x="990" y="64"/>
                    </a:cubicBezTo>
                    <a:cubicBezTo>
                      <a:pt x="975" y="60"/>
                      <a:pt x="963" y="54"/>
                      <a:pt x="948" y="50"/>
                    </a:cubicBezTo>
                    <a:moveTo>
                      <a:pt x="948" y="50"/>
                    </a:moveTo>
                    <a:cubicBezTo>
                      <a:pt x="948" y="49"/>
                      <a:pt x="947" y="50"/>
                      <a:pt x="948" y="50"/>
                    </a:cubicBezTo>
                    <a:moveTo>
                      <a:pt x="399" y="114"/>
                    </a:moveTo>
                    <a:cubicBezTo>
                      <a:pt x="405" y="112"/>
                      <a:pt x="411" y="111"/>
                      <a:pt x="416" y="110"/>
                    </a:cubicBezTo>
                    <a:cubicBezTo>
                      <a:pt x="433" y="101"/>
                      <a:pt x="450" y="91"/>
                      <a:pt x="468" y="83"/>
                    </a:cubicBezTo>
                    <a:cubicBezTo>
                      <a:pt x="486" y="75"/>
                      <a:pt x="506" y="70"/>
                      <a:pt x="522" y="58"/>
                    </a:cubicBezTo>
                    <a:cubicBezTo>
                      <a:pt x="520" y="58"/>
                      <a:pt x="520" y="56"/>
                      <a:pt x="520" y="53"/>
                    </a:cubicBezTo>
                    <a:cubicBezTo>
                      <a:pt x="473" y="66"/>
                      <a:pt x="432" y="86"/>
                      <a:pt x="399" y="114"/>
                    </a:cubicBezTo>
                    <a:close/>
                    <a:moveTo>
                      <a:pt x="593" y="54"/>
                    </a:moveTo>
                    <a:cubicBezTo>
                      <a:pt x="578" y="59"/>
                      <a:pt x="564" y="65"/>
                      <a:pt x="550" y="71"/>
                    </a:cubicBezTo>
                    <a:cubicBezTo>
                      <a:pt x="556" y="74"/>
                      <a:pt x="564" y="75"/>
                      <a:pt x="570" y="77"/>
                    </a:cubicBezTo>
                    <a:cubicBezTo>
                      <a:pt x="579" y="71"/>
                      <a:pt x="585" y="62"/>
                      <a:pt x="593" y="54"/>
                    </a:cubicBezTo>
                    <a:moveTo>
                      <a:pt x="593" y="54"/>
                    </a:moveTo>
                    <a:cubicBezTo>
                      <a:pt x="594" y="54"/>
                      <a:pt x="593" y="53"/>
                      <a:pt x="593" y="54"/>
                    </a:cubicBezTo>
                    <a:moveTo>
                      <a:pt x="637" y="84"/>
                    </a:moveTo>
                    <a:cubicBezTo>
                      <a:pt x="647" y="83"/>
                      <a:pt x="659" y="84"/>
                      <a:pt x="668" y="82"/>
                    </a:cubicBezTo>
                    <a:cubicBezTo>
                      <a:pt x="669" y="72"/>
                      <a:pt x="679" y="60"/>
                      <a:pt x="678" y="53"/>
                    </a:cubicBezTo>
                    <a:cubicBezTo>
                      <a:pt x="664" y="64"/>
                      <a:pt x="649" y="72"/>
                      <a:pt x="637" y="84"/>
                    </a:cubicBezTo>
                    <a:close/>
                    <a:moveTo>
                      <a:pt x="890" y="84"/>
                    </a:moveTo>
                    <a:cubicBezTo>
                      <a:pt x="901" y="85"/>
                      <a:pt x="916" y="86"/>
                      <a:pt x="924" y="81"/>
                    </a:cubicBezTo>
                    <a:cubicBezTo>
                      <a:pt x="907" y="73"/>
                      <a:pt x="890" y="59"/>
                      <a:pt x="872" y="54"/>
                    </a:cubicBezTo>
                    <a:cubicBezTo>
                      <a:pt x="879" y="63"/>
                      <a:pt x="885" y="73"/>
                      <a:pt x="890" y="84"/>
                    </a:cubicBezTo>
                    <a:close/>
                    <a:moveTo>
                      <a:pt x="1063" y="94"/>
                    </a:moveTo>
                    <a:cubicBezTo>
                      <a:pt x="1063" y="94"/>
                      <a:pt x="1063" y="94"/>
                      <a:pt x="1063" y="95"/>
                    </a:cubicBezTo>
                    <a:cubicBezTo>
                      <a:pt x="1064" y="95"/>
                      <a:pt x="1065" y="96"/>
                      <a:pt x="1066" y="95"/>
                    </a:cubicBezTo>
                    <a:moveTo>
                      <a:pt x="1066" y="95"/>
                    </a:moveTo>
                    <a:cubicBezTo>
                      <a:pt x="1067" y="97"/>
                      <a:pt x="1067" y="95"/>
                      <a:pt x="1066" y="95"/>
                    </a:cubicBezTo>
                    <a:moveTo>
                      <a:pt x="1066" y="95"/>
                    </a:moveTo>
                    <a:cubicBezTo>
                      <a:pt x="1066" y="94"/>
                      <a:pt x="1065" y="94"/>
                      <a:pt x="1063" y="94"/>
                    </a:cubicBezTo>
                    <a:moveTo>
                      <a:pt x="1063" y="94"/>
                    </a:moveTo>
                    <a:cubicBezTo>
                      <a:pt x="1046" y="79"/>
                      <a:pt x="1027" y="67"/>
                      <a:pt x="1006" y="56"/>
                    </a:cubicBezTo>
                    <a:cubicBezTo>
                      <a:pt x="1001" y="58"/>
                      <a:pt x="1000" y="63"/>
                      <a:pt x="996" y="65"/>
                    </a:cubicBezTo>
                    <a:cubicBezTo>
                      <a:pt x="1020" y="73"/>
                      <a:pt x="1041" y="84"/>
                      <a:pt x="1063" y="94"/>
                    </a:cubicBezTo>
                    <a:moveTo>
                      <a:pt x="482" y="60"/>
                    </a:moveTo>
                    <a:cubicBezTo>
                      <a:pt x="482" y="61"/>
                      <a:pt x="481" y="60"/>
                      <a:pt x="482" y="60"/>
                    </a:cubicBezTo>
                    <a:close/>
                    <a:moveTo>
                      <a:pt x="526" y="60"/>
                    </a:moveTo>
                    <a:cubicBezTo>
                      <a:pt x="526" y="61"/>
                      <a:pt x="525" y="60"/>
                      <a:pt x="526" y="60"/>
                    </a:cubicBezTo>
                    <a:close/>
                    <a:moveTo>
                      <a:pt x="479" y="61"/>
                    </a:moveTo>
                    <a:cubicBezTo>
                      <a:pt x="478" y="61"/>
                      <a:pt x="477" y="61"/>
                      <a:pt x="477" y="62"/>
                    </a:cubicBezTo>
                    <a:moveTo>
                      <a:pt x="477" y="62"/>
                    </a:moveTo>
                    <a:cubicBezTo>
                      <a:pt x="441" y="76"/>
                      <a:pt x="407" y="92"/>
                      <a:pt x="377" y="112"/>
                    </a:cubicBezTo>
                    <a:moveTo>
                      <a:pt x="377" y="112"/>
                    </a:moveTo>
                    <a:cubicBezTo>
                      <a:pt x="375" y="112"/>
                      <a:pt x="375" y="113"/>
                      <a:pt x="374" y="114"/>
                    </a:cubicBezTo>
                    <a:moveTo>
                      <a:pt x="374" y="114"/>
                    </a:moveTo>
                    <a:cubicBezTo>
                      <a:pt x="373" y="114"/>
                      <a:pt x="372" y="114"/>
                      <a:pt x="372" y="115"/>
                    </a:cubicBezTo>
                    <a:moveTo>
                      <a:pt x="372" y="115"/>
                    </a:moveTo>
                    <a:cubicBezTo>
                      <a:pt x="371" y="115"/>
                      <a:pt x="371" y="115"/>
                      <a:pt x="370" y="116"/>
                    </a:cubicBezTo>
                    <a:moveTo>
                      <a:pt x="370" y="116"/>
                    </a:moveTo>
                    <a:cubicBezTo>
                      <a:pt x="370" y="115"/>
                      <a:pt x="369" y="116"/>
                      <a:pt x="369" y="117"/>
                    </a:cubicBezTo>
                    <a:moveTo>
                      <a:pt x="369" y="117"/>
                    </a:moveTo>
                    <a:cubicBezTo>
                      <a:pt x="368" y="116"/>
                      <a:pt x="368" y="117"/>
                      <a:pt x="367" y="118"/>
                    </a:cubicBezTo>
                    <a:moveTo>
                      <a:pt x="367" y="118"/>
                    </a:moveTo>
                    <a:cubicBezTo>
                      <a:pt x="366" y="118"/>
                      <a:pt x="368" y="119"/>
                      <a:pt x="367" y="118"/>
                    </a:cubicBezTo>
                    <a:moveTo>
                      <a:pt x="367" y="118"/>
                    </a:moveTo>
                    <a:cubicBezTo>
                      <a:pt x="369" y="118"/>
                      <a:pt x="369" y="117"/>
                      <a:pt x="369" y="117"/>
                    </a:cubicBezTo>
                    <a:moveTo>
                      <a:pt x="369" y="117"/>
                    </a:moveTo>
                    <a:cubicBezTo>
                      <a:pt x="370" y="117"/>
                      <a:pt x="370" y="116"/>
                      <a:pt x="370" y="116"/>
                    </a:cubicBezTo>
                    <a:moveTo>
                      <a:pt x="370" y="116"/>
                    </a:moveTo>
                    <a:cubicBezTo>
                      <a:pt x="371" y="116"/>
                      <a:pt x="372" y="115"/>
                      <a:pt x="372" y="115"/>
                    </a:cubicBezTo>
                    <a:moveTo>
                      <a:pt x="372" y="115"/>
                    </a:moveTo>
                    <a:cubicBezTo>
                      <a:pt x="373" y="115"/>
                      <a:pt x="374" y="114"/>
                      <a:pt x="374" y="114"/>
                    </a:cubicBezTo>
                    <a:moveTo>
                      <a:pt x="374" y="114"/>
                    </a:moveTo>
                    <a:cubicBezTo>
                      <a:pt x="376" y="114"/>
                      <a:pt x="377" y="113"/>
                      <a:pt x="377" y="112"/>
                    </a:cubicBezTo>
                    <a:moveTo>
                      <a:pt x="377" y="112"/>
                    </a:moveTo>
                    <a:cubicBezTo>
                      <a:pt x="409" y="94"/>
                      <a:pt x="445" y="80"/>
                      <a:pt x="477" y="62"/>
                    </a:cubicBezTo>
                    <a:moveTo>
                      <a:pt x="477" y="62"/>
                    </a:moveTo>
                    <a:cubicBezTo>
                      <a:pt x="478" y="62"/>
                      <a:pt x="479" y="62"/>
                      <a:pt x="479" y="61"/>
                    </a:cubicBezTo>
                    <a:moveTo>
                      <a:pt x="479" y="61"/>
                    </a:moveTo>
                    <a:cubicBezTo>
                      <a:pt x="483" y="62"/>
                      <a:pt x="479" y="58"/>
                      <a:pt x="479" y="61"/>
                    </a:cubicBezTo>
                    <a:moveTo>
                      <a:pt x="481" y="64"/>
                    </a:moveTo>
                    <a:cubicBezTo>
                      <a:pt x="480" y="63"/>
                      <a:pt x="481" y="64"/>
                      <a:pt x="481" y="64"/>
                    </a:cubicBezTo>
                    <a:close/>
                    <a:moveTo>
                      <a:pt x="524" y="63"/>
                    </a:moveTo>
                    <a:cubicBezTo>
                      <a:pt x="510" y="69"/>
                      <a:pt x="495" y="80"/>
                      <a:pt x="484" y="90"/>
                    </a:cubicBezTo>
                    <a:cubicBezTo>
                      <a:pt x="480" y="92"/>
                      <a:pt x="475" y="96"/>
                      <a:pt x="476" y="99"/>
                    </a:cubicBezTo>
                    <a:cubicBezTo>
                      <a:pt x="504" y="96"/>
                      <a:pt x="519" y="80"/>
                      <a:pt x="542" y="71"/>
                    </a:cubicBezTo>
                    <a:cubicBezTo>
                      <a:pt x="535" y="69"/>
                      <a:pt x="530" y="65"/>
                      <a:pt x="524" y="63"/>
                    </a:cubicBezTo>
                    <a:close/>
                    <a:moveTo>
                      <a:pt x="479" y="65"/>
                    </a:moveTo>
                    <a:cubicBezTo>
                      <a:pt x="478" y="64"/>
                      <a:pt x="479" y="65"/>
                      <a:pt x="479" y="65"/>
                    </a:cubicBezTo>
                    <a:close/>
                    <a:moveTo>
                      <a:pt x="1028" y="65"/>
                    </a:moveTo>
                    <a:cubicBezTo>
                      <a:pt x="1048" y="78"/>
                      <a:pt x="1066" y="92"/>
                      <a:pt x="1086" y="106"/>
                    </a:cubicBezTo>
                    <a:cubicBezTo>
                      <a:pt x="1106" y="107"/>
                      <a:pt x="1124" y="115"/>
                      <a:pt x="1141" y="117"/>
                    </a:cubicBezTo>
                    <a:cubicBezTo>
                      <a:pt x="1105" y="97"/>
                      <a:pt x="1069" y="79"/>
                      <a:pt x="1028" y="65"/>
                    </a:cubicBezTo>
                    <a:moveTo>
                      <a:pt x="1028" y="65"/>
                    </a:moveTo>
                    <a:cubicBezTo>
                      <a:pt x="1028" y="62"/>
                      <a:pt x="1024" y="66"/>
                      <a:pt x="1028" y="65"/>
                    </a:cubicBezTo>
                    <a:moveTo>
                      <a:pt x="993" y="66"/>
                    </a:moveTo>
                    <a:cubicBezTo>
                      <a:pt x="989" y="70"/>
                      <a:pt x="981" y="71"/>
                      <a:pt x="975" y="74"/>
                    </a:cubicBezTo>
                    <a:cubicBezTo>
                      <a:pt x="984" y="83"/>
                      <a:pt x="999" y="87"/>
                      <a:pt x="1009" y="95"/>
                    </a:cubicBezTo>
                    <a:cubicBezTo>
                      <a:pt x="1032" y="95"/>
                      <a:pt x="1054" y="102"/>
                      <a:pt x="1074" y="102"/>
                    </a:cubicBezTo>
                    <a:cubicBezTo>
                      <a:pt x="1048" y="89"/>
                      <a:pt x="1021" y="77"/>
                      <a:pt x="993" y="66"/>
                    </a:cubicBezTo>
                    <a:close/>
                    <a:moveTo>
                      <a:pt x="504" y="71"/>
                    </a:moveTo>
                    <a:cubicBezTo>
                      <a:pt x="503" y="71"/>
                      <a:pt x="504" y="72"/>
                      <a:pt x="504" y="71"/>
                    </a:cubicBezTo>
                    <a:close/>
                    <a:moveTo>
                      <a:pt x="502" y="72"/>
                    </a:moveTo>
                    <a:cubicBezTo>
                      <a:pt x="476" y="83"/>
                      <a:pt x="450" y="93"/>
                      <a:pt x="428" y="107"/>
                    </a:cubicBezTo>
                    <a:moveTo>
                      <a:pt x="428" y="107"/>
                    </a:moveTo>
                    <a:cubicBezTo>
                      <a:pt x="424" y="106"/>
                      <a:pt x="428" y="110"/>
                      <a:pt x="428" y="107"/>
                    </a:cubicBezTo>
                    <a:moveTo>
                      <a:pt x="428" y="107"/>
                    </a:moveTo>
                    <a:cubicBezTo>
                      <a:pt x="442" y="105"/>
                      <a:pt x="455" y="103"/>
                      <a:pt x="468" y="100"/>
                    </a:cubicBezTo>
                    <a:cubicBezTo>
                      <a:pt x="479" y="91"/>
                      <a:pt x="490" y="82"/>
                      <a:pt x="502" y="72"/>
                    </a:cubicBezTo>
                    <a:moveTo>
                      <a:pt x="502" y="72"/>
                    </a:moveTo>
                    <a:cubicBezTo>
                      <a:pt x="503" y="72"/>
                      <a:pt x="502" y="71"/>
                      <a:pt x="502" y="72"/>
                    </a:cubicBezTo>
                    <a:moveTo>
                      <a:pt x="544" y="73"/>
                    </a:moveTo>
                    <a:cubicBezTo>
                      <a:pt x="530" y="79"/>
                      <a:pt x="513" y="89"/>
                      <a:pt x="501" y="95"/>
                    </a:cubicBezTo>
                    <a:cubicBezTo>
                      <a:pt x="522" y="94"/>
                      <a:pt x="540" y="90"/>
                      <a:pt x="561" y="90"/>
                    </a:cubicBezTo>
                    <a:cubicBezTo>
                      <a:pt x="565" y="87"/>
                      <a:pt x="567" y="83"/>
                      <a:pt x="570" y="79"/>
                    </a:cubicBezTo>
                    <a:cubicBezTo>
                      <a:pt x="561" y="81"/>
                      <a:pt x="551" y="71"/>
                      <a:pt x="544" y="73"/>
                    </a:cubicBezTo>
                    <a:close/>
                    <a:moveTo>
                      <a:pt x="933" y="85"/>
                    </a:moveTo>
                    <a:cubicBezTo>
                      <a:pt x="948" y="90"/>
                      <a:pt x="970" y="89"/>
                      <a:pt x="988" y="92"/>
                    </a:cubicBezTo>
                    <a:cubicBezTo>
                      <a:pt x="981" y="71"/>
                      <a:pt x="952" y="78"/>
                      <a:pt x="933" y="85"/>
                    </a:cubicBezTo>
                    <a:close/>
                    <a:moveTo>
                      <a:pt x="569" y="86"/>
                    </a:moveTo>
                    <a:cubicBezTo>
                      <a:pt x="568" y="86"/>
                      <a:pt x="569" y="87"/>
                      <a:pt x="569" y="86"/>
                    </a:cubicBezTo>
                    <a:moveTo>
                      <a:pt x="569" y="86"/>
                    </a:moveTo>
                    <a:cubicBezTo>
                      <a:pt x="572" y="85"/>
                      <a:pt x="575" y="84"/>
                      <a:pt x="577" y="81"/>
                    </a:cubicBezTo>
                    <a:cubicBezTo>
                      <a:pt x="574" y="81"/>
                      <a:pt x="575" y="79"/>
                      <a:pt x="572" y="80"/>
                    </a:cubicBezTo>
                    <a:cubicBezTo>
                      <a:pt x="572" y="84"/>
                      <a:pt x="569" y="82"/>
                      <a:pt x="569" y="86"/>
                    </a:cubicBezTo>
                    <a:moveTo>
                      <a:pt x="573" y="88"/>
                    </a:moveTo>
                    <a:cubicBezTo>
                      <a:pt x="569" y="87"/>
                      <a:pt x="573" y="91"/>
                      <a:pt x="573" y="88"/>
                    </a:cubicBezTo>
                    <a:moveTo>
                      <a:pt x="573" y="88"/>
                    </a:moveTo>
                    <a:cubicBezTo>
                      <a:pt x="583" y="87"/>
                      <a:pt x="594" y="88"/>
                      <a:pt x="602" y="85"/>
                    </a:cubicBezTo>
                    <a:cubicBezTo>
                      <a:pt x="590" y="84"/>
                      <a:pt x="579" y="79"/>
                      <a:pt x="573" y="88"/>
                    </a:cubicBezTo>
                    <a:moveTo>
                      <a:pt x="1092" y="83"/>
                    </a:moveTo>
                    <a:cubicBezTo>
                      <a:pt x="1092" y="83"/>
                      <a:pt x="1093" y="84"/>
                      <a:pt x="1092" y="83"/>
                    </a:cubicBezTo>
                    <a:close/>
                    <a:moveTo>
                      <a:pt x="695" y="84"/>
                    </a:moveTo>
                    <a:cubicBezTo>
                      <a:pt x="694" y="87"/>
                      <a:pt x="692" y="89"/>
                      <a:pt x="690" y="92"/>
                    </a:cubicBezTo>
                    <a:cubicBezTo>
                      <a:pt x="710" y="92"/>
                      <a:pt x="729" y="93"/>
                      <a:pt x="750" y="93"/>
                    </a:cubicBezTo>
                    <a:cubicBezTo>
                      <a:pt x="750" y="88"/>
                      <a:pt x="752" y="87"/>
                      <a:pt x="751" y="83"/>
                    </a:cubicBezTo>
                    <a:cubicBezTo>
                      <a:pt x="732" y="82"/>
                      <a:pt x="715" y="85"/>
                      <a:pt x="695" y="84"/>
                    </a:cubicBezTo>
                    <a:close/>
                    <a:moveTo>
                      <a:pt x="753" y="94"/>
                    </a:moveTo>
                    <a:cubicBezTo>
                      <a:pt x="763" y="94"/>
                      <a:pt x="770" y="92"/>
                      <a:pt x="779" y="93"/>
                    </a:cubicBezTo>
                    <a:cubicBezTo>
                      <a:pt x="780" y="89"/>
                      <a:pt x="778" y="87"/>
                      <a:pt x="778" y="83"/>
                    </a:cubicBezTo>
                    <a:cubicBezTo>
                      <a:pt x="768" y="84"/>
                      <a:pt x="749" y="77"/>
                      <a:pt x="753" y="94"/>
                    </a:cubicBezTo>
                    <a:close/>
                    <a:moveTo>
                      <a:pt x="781" y="93"/>
                    </a:moveTo>
                    <a:cubicBezTo>
                      <a:pt x="792" y="92"/>
                      <a:pt x="805" y="94"/>
                      <a:pt x="814" y="92"/>
                    </a:cubicBezTo>
                    <a:cubicBezTo>
                      <a:pt x="812" y="90"/>
                      <a:pt x="811" y="87"/>
                      <a:pt x="810" y="84"/>
                    </a:cubicBezTo>
                    <a:cubicBezTo>
                      <a:pt x="800" y="84"/>
                      <a:pt x="792" y="82"/>
                      <a:pt x="781" y="83"/>
                    </a:cubicBezTo>
                    <a:cubicBezTo>
                      <a:pt x="781" y="86"/>
                      <a:pt x="781" y="89"/>
                      <a:pt x="781" y="93"/>
                    </a:cubicBezTo>
                    <a:close/>
                    <a:moveTo>
                      <a:pt x="1094" y="84"/>
                    </a:moveTo>
                    <a:cubicBezTo>
                      <a:pt x="1095" y="85"/>
                      <a:pt x="1094" y="84"/>
                      <a:pt x="1094" y="84"/>
                    </a:cubicBezTo>
                    <a:close/>
                    <a:moveTo>
                      <a:pt x="670" y="85"/>
                    </a:moveTo>
                    <a:cubicBezTo>
                      <a:pt x="671" y="88"/>
                      <a:pt x="668" y="87"/>
                      <a:pt x="669" y="90"/>
                    </a:cubicBezTo>
                    <a:cubicBezTo>
                      <a:pt x="675" y="90"/>
                      <a:pt x="681" y="91"/>
                      <a:pt x="688" y="91"/>
                    </a:cubicBezTo>
                    <a:cubicBezTo>
                      <a:pt x="688" y="88"/>
                      <a:pt x="691" y="86"/>
                      <a:pt x="692" y="84"/>
                    </a:cubicBezTo>
                    <a:cubicBezTo>
                      <a:pt x="685" y="84"/>
                      <a:pt x="678" y="85"/>
                      <a:pt x="670" y="85"/>
                    </a:cubicBezTo>
                    <a:close/>
                    <a:moveTo>
                      <a:pt x="818" y="92"/>
                    </a:moveTo>
                    <a:cubicBezTo>
                      <a:pt x="837" y="91"/>
                      <a:pt x="856" y="90"/>
                      <a:pt x="873" y="88"/>
                    </a:cubicBezTo>
                    <a:cubicBezTo>
                      <a:pt x="858" y="83"/>
                      <a:pt x="832" y="84"/>
                      <a:pt x="814" y="85"/>
                    </a:cubicBezTo>
                    <a:cubicBezTo>
                      <a:pt x="816" y="86"/>
                      <a:pt x="816" y="90"/>
                      <a:pt x="818" y="92"/>
                    </a:cubicBezTo>
                    <a:close/>
                    <a:moveTo>
                      <a:pt x="1096" y="85"/>
                    </a:moveTo>
                    <a:cubicBezTo>
                      <a:pt x="1096" y="85"/>
                      <a:pt x="1097" y="86"/>
                      <a:pt x="1096" y="85"/>
                    </a:cubicBezTo>
                    <a:close/>
                    <a:moveTo>
                      <a:pt x="639" y="88"/>
                    </a:moveTo>
                    <a:cubicBezTo>
                      <a:pt x="648" y="88"/>
                      <a:pt x="656" y="89"/>
                      <a:pt x="665" y="90"/>
                    </a:cubicBezTo>
                    <a:cubicBezTo>
                      <a:pt x="664" y="87"/>
                      <a:pt x="666" y="87"/>
                      <a:pt x="666" y="85"/>
                    </a:cubicBezTo>
                    <a:cubicBezTo>
                      <a:pt x="658" y="87"/>
                      <a:pt x="645" y="84"/>
                      <a:pt x="639" y="88"/>
                    </a:cubicBezTo>
                    <a:close/>
                    <a:moveTo>
                      <a:pt x="931" y="86"/>
                    </a:moveTo>
                    <a:cubicBezTo>
                      <a:pt x="930" y="85"/>
                      <a:pt x="923" y="84"/>
                      <a:pt x="922" y="86"/>
                    </a:cubicBezTo>
                    <a:cubicBezTo>
                      <a:pt x="926" y="85"/>
                      <a:pt x="929" y="89"/>
                      <a:pt x="931" y="86"/>
                    </a:cubicBezTo>
                    <a:close/>
                    <a:moveTo>
                      <a:pt x="988" y="86"/>
                    </a:moveTo>
                    <a:cubicBezTo>
                      <a:pt x="988" y="86"/>
                      <a:pt x="988" y="87"/>
                      <a:pt x="988" y="87"/>
                    </a:cubicBezTo>
                    <a:cubicBezTo>
                      <a:pt x="990" y="88"/>
                      <a:pt x="991" y="90"/>
                      <a:pt x="992" y="93"/>
                    </a:cubicBezTo>
                    <a:cubicBezTo>
                      <a:pt x="995" y="93"/>
                      <a:pt x="998" y="93"/>
                      <a:pt x="1000" y="93"/>
                    </a:cubicBezTo>
                    <a:moveTo>
                      <a:pt x="1000" y="93"/>
                    </a:moveTo>
                    <a:cubicBezTo>
                      <a:pt x="1001" y="94"/>
                      <a:pt x="1001" y="93"/>
                      <a:pt x="1000" y="93"/>
                    </a:cubicBezTo>
                    <a:moveTo>
                      <a:pt x="1000" y="93"/>
                    </a:moveTo>
                    <a:cubicBezTo>
                      <a:pt x="996" y="90"/>
                      <a:pt x="993" y="87"/>
                      <a:pt x="988" y="86"/>
                    </a:cubicBezTo>
                    <a:moveTo>
                      <a:pt x="988" y="86"/>
                    </a:moveTo>
                    <a:cubicBezTo>
                      <a:pt x="987" y="84"/>
                      <a:pt x="986" y="86"/>
                      <a:pt x="988" y="86"/>
                    </a:cubicBezTo>
                    <a:moveTo>
                      <a:pt x="1173" y="127"/>
                    </a:moveTo>
                    <a:cubicBezTo>
                      <a:pt x="1173" y="128"/>
                      <a:pt x="1174" y="128"/>
                      <a:pt x="1175" y="128"/>
                    </a:cubicBezTo>
                    <a:moveTo>
                      <a:pt x="1175" y="128"/>
                    </a:moveTo>
                    <a:cubicBezTo>
                      <a:pt x="1175" y="130"/>
                      <a:pt x="1176" y="128"/>
                      <a:pt x="1175" y="128"/>
                    </a:cubicBezTo>
                    <a:moveTo>
                      <a:pt x="1175" y="128"/>
                    </a:moveTo>
                    <a:cubicBezTo>
                      <a:pt x="1175" y="127"/>
                      <a:pt x="1174" y="127"/>
                      <a:pt x="1173" y="127"/>
                    </a:cubicBezTo>
                    <a:moveTo>
                      <a:pt x="1173" y="127"/>
                    </a:moveTo>
                    <a:cubicBezTo>
                      <a:pt x="1150" y="112"/>
                      <a:pt x="1124" y="95"/>
                      <a:pt x="1098" y="86"/>
                    </a:cubicBezTo>
                    <a:cubicBezTo>
                      <a:pt x="1125" y="98"/>
                      <a:pt x="1141" y="120"/>
                      <a:pt x="1173" y="127"/>
                    </a:cubicBezTo>
                    <a:moveTo>
                      <a:pt x="885" y="86"/>
                    </a:moveTo>
                    <a:cubicBezTo>
                      <a:pt x="882" y="86"/>
                      <a:pt x="877" y="85"/>
                      <a:pt x="875" y="87"/>
                    </a:cubicBezTo>
                    <a:cubicBezTo>
                      <a:pt x="877" y="88"/>
                      <a:pt x="885" y="90"/>
                      <a:pt x="885" y="86"/>
                    </a:cubicBezTo>
                    <a:close/>
                    <a:moveTo>
                      <a:pt x="430" y="89"/>
                    </a:moveTo>
                    <a:cubicBezTo>
                      <a:pt x="429" y="88"/>
                      <a:pt x="430" y="89"/>
                      <a:pt x="430" y="89"/>
                    </a:cubicBezTo>
                    <a:close/>
                    <a:moveTo>
                      <a:pt x="564" y="92"/>
                    </a:moveTo>
                    <a:cubicBezTo>
                      <a:pt x="535" y="128"/>
                      <a:pt x="514" y="173"/>
                      <a:pt x="497" y="221"/>
                    </a:cubicBezTo>
                    <a:cubicBezTo>
                      <a:pt x="502" y="220"/>
                      <a:pt x="508" y="220"/>
                      <a:pt x="513" y="219"/>
                    </a:cubicBezTo>
                    <a:cubicBezTo>
                      <a:pt x="545" y="174"/>
                      <a:pt x="578" y="131"/>
                      <a:pt x="619" y="95"/>
                    </a:cubicBezTo>
                    <a:cubicBezTo>
                      <a:pt x="620" y="94"/>
                      <a:pt x="628" y="90"/>
                      <a:pt x="624" y="89"/>
                    </a:cubicBezTo>
                    <a:cubicBezTo>
                      <a:pt x="604" y="86"/>
                      <a:pt x="584" y="91"/>
                      <a:pt x="564" y="92"/>
                    </a:cubicBezTo>
                    <a:close/>
                    <a:moveTo>
                      <a:pt x="1055" y="192"/>
                    </a:moveTo>
                    <a:cubicBezTo>
                      <a:pt x="1019" y="154"/>
                      <a:pt x="980" y="120"/>
                      <a:pt x="937" y="90"/>
                    </a:cubicBezTo>
                    <a:cubicBezTo>
                      <a:pt x="922" y="89"/>
                      <a:pt x="906" y="86"/>
                      <a:pt x="893" y="90"/>
                    </a:cubicBezTo>
                    <a:cubicBezTo>
                      <a:pt x="901" y="111"/>
                      <a:pt x="911" y="126"/>
                      <a:pt x="923" y="142"/>
                    </a:cubicBezTo>
                    <a:cubicBezTo>
                      <a:pt x="942" y="166"/>
                      <a:pt x="959" y="189"/>
                      <a:pt x="973" y="216"/>
                    </a:cubicBezTo>
                    <a:cubicBezTo>
                      <a:pt x="1006" y="219"/>
                      <a:pt x="1038" y="222"/>
                      <a:pt x="1069" y="226"/>
                    </a:cubicBezTo>
                    <a:cubicBezTo>
                      <a:pt x="1065" y="214"/>
                      <a:pt x="1059" y="204"/>
                      <a:pt x="1055" y="192"/>
                    </a:cubicBezTo>
                    <a:close/>
                    <a:moveTo>
                      <a:pt x="366" y="122"/>
                    </a:moveTo>
                    <a:cubicBezTo>
                      <a:pt x="394" y="118"/>
                      <a:pt x="410" y="101"/>
                      <a:pt x="429" y="89"/>
                    </a:cubicBezTo>
                    <a:cubicBezTo>
                      <a:pt x="407" y="99"/>
                      <a:pt x="386" y="110"/>
                      <a:pt x="366" y="122"/>
                    </a:cubicBezTo>
                    <a:close/>
                    <a:moveTo>
                      <a:pt x="631" y="90"/>
                    </a:moveTo>
                    <a:cubicBezTo>
                      <a:pt x="632" y="88"/>
                      <a:pt x="629" y="90"/>
                      <a:pt x="629" y="91"/>
                    </a:cubicBezTo>
                    <a:cubicBezTo>
                      <a:pt x="589" y="125"/>
                      <a:pt x="552" y="168"/>
                      <a:pt x="523" y="212"/>
                    </a:cubicBezTo>
                    <a:cubicBezTo>
                      <a:pt x="522" y="214"/>
                      <a:pt x="517" y="216"/>
                      <a:pt x="519" y="219"/>
                    </a:cubicBezTo>
                    <a:cubicBezTo>
                      <a:pt x="554" y="215"/>
                      <a:pt x="591" y="214"/>
                      <a:pt x="629" y="212"/>
                    </a:cubicBezTo>
                    <a:cubicBezTo>
                      <a:pt x="645" y="177"/>
                      <a:pt x="650" y="130"/>
                      <a:pt x="663" y="93"/>
                    </a:cubicBezTo>
                    <a:cubicBezTo>
                      <a:pt x="653" y="91"/>
                      <a:pt x="643" y="90"/>
                      <a:pt x="631" y="90"/>
                    </a:cubicBezTo>
                    <a:close/>
                    <a:moveTo>
                      <a:pt x="899" y="111"/>
                    </a:moveTo>
                    <a:cubicBezTo>
                      <a:pt x="900" y="112"/>
                      <a:pt x="900" y="111"/>
                      <a:pt x="899" y="111"/>
                    </a:cubicBezTo>
                    <a:moveTo>
                      <a:pt x="899" y="111"/>
                    </a:moveTo>
                    <a:cubicBezTo>
                      <a:pt x="897" y="103"/>
                      <a:pt x="893" y="97"/>
                      <a:pt x="891" y="90"/>
                    </a:cubicBezTo>
                    <a:cubicBezTo>
                      <a:pt x="886" y="90"/>
                      <a:pt x="882" y="89"/>
                      <a:pt x="880" y="92"/>
                    </a:cubicBezTo>
                    <a:cubicBezTo>
                      <a:pt x="887" y="97"/>
                      <a:pt x="892" y="105"/>
                      <a:pt x="899" y="111"/>
                    </a:cubicBezTo>
                    <a:moveTo>
                      <a:pt x="943" y="91"/>
                    </a:moveTo>
                    <a:cubicBezTo>
                      <a:pt x="979" y="114"/>
                      <a:pt x="1013" y="148"/>
                      <a:pt x="1044" y="177"/>
                    </a:cubicBezTo>
                    <a:cubicBezTo>
                      <a:pt x="1045" y="178"/>
                      <a:pt x="1047" y="183"/>
                      <a:pt x="1049" y="180"/>
                    </a:cubicBezTo>
                    <a:cubicBezTo>
                      <a:pt x="1032" y="150"/>
                      <a:pt x="1014" y="120"/>
                      <a:pt x="991" y="95"/>
                    </a:cubicBezTo>
                    <a:cubicBezTo>
                      <a:pt x="975" y="94"/>
                      <a:pt x="961" y="91"/>
                      <a:pt x="943" y="91"/>
                    </a:cubicBezTo>
                    <a:moveTo>
                      <a:pt x="943" y="91"/>
                    </a:moveTo>
                    <a:cubicBezTo>
                      <a:pt x="943" y="88"/>
                      <a:pt x="939" y="92"/>
                      <a:pt x="943" y="91"/>
                    </a:cubicBezTo>
                    <a:moveTo>
                      <a:pt x="904" y="120"/>
                    </a:moveTo>
                    <a:cubicBezTo>
                      <a:pt x="894" y="111"/>
                      <a:pt x="886" y="98"/>
                      <a:pt x="874" y="91"/>
                    </a:cubicBezTo>
                    <a:cubicBezTo>
                      <a:pt x="857" y="93"/>
                      <a:pt x="838" y="94"/>
                      <a:pt x="820" y="95"/>
                    </a:cubicBezTo>
                    <a:cubicBezTo>
                      <a:pt x="835" y="132"/>
                      <a:pt x="849" y="170"/>
                      <a:pt x="860" y="211"/>
                    </a:cubicBezTo>
                    <a:cubicBezTo>
                      <a:pt x="885" y="210"/>
                      <a:pt x="907" y="212"/>
                      <a:pt x="931" y="214"/>
                    </a:cubicBezTo>
                    <a:cubicBezTo>
                      <a:pt x="924" y="180"/>
                      <a:pt x="914" y="150"/>
                      <a:pt x="904" y="120"/>
                    </a:cubicBezTo>
                    <a:close/>
                    <a:moveTo>
                      <a:pt x="558" y="93"/>
                    </a:moveTo>
                    <a:cubicBezTo>
                      <a:pt x="558" y="92"/>
                      <a:pt x="559" y="93"/>
                      <a:pt x="558" y="93"/>
                    </a:cubicBezTo>
                    <a:close/>
                    <a:moveTo>
                      <a:pt x="492" y="99"/>
                    </a:moveTo>
                    <a:cubicBezTo>
                      <a:pt x="485" y="102"/>
                      <a:pt x="476" y="109"/>
                      <a:pt x="468" y="114"/>
                    </a:cubicBezTo>
                    <a:cubicBezTo>
                      <a:pt x="460" y="119"/>
                      <a:pt x="450" y="123"/>
                      <a:pt x="444" y="128"/>
                    </a:cubicBezTo>
                    <a:cubicBezTo>
                      <a:pt x="432" y="139"/>
                      <a:pt x="421" y="155"/>
                      <a:pt x="411" y="169"/>
                    </a:cubicBezTo>
                    <a:cubicBezTo>
                      <a:pt x="400" y="185"/>
                      <a:pt x="389" y="201"/>
                      <a:pt x="382" y="216"/>
                    </a:cubicBezTo>
                    <a:cubicBezTo>
                      <a:pt x="390" y="219"/>
                      <a:pt x="399" y="220"/>
                      <a:pt x="407" y="223"/>
                    </a:cubicBezTo>
                    <a:cubicBezTo>
                      <a:pt x="452" y="175"/>
                      <a:pt x="501" y="130"/>
                      <a:pt x="558" y="93"/>
                    </a:cubicBezTo>
                    <a:cubicBezTo>
                      <a:pt x="533" y="97"/>
                      <a:pt x="512" y="93"/>
                      <a:pt x="492" y="99"/>
                    </a:cubicBezTo>
                    <a:close/>
                    <a:moveTo>
                      <a:pt x="667" y="93"/>
                    </a:moveTo>
                    <a:cubicBezTo>
                      <a:pt x="661" y="115"/>
                      <a:pt x="652" y="139"/>
                      <a:pt x="650" y="163"/>
                    </a:cubicBezTo>
                    <a:cubicBezTo>
                      <a:pt x="660" y="138"/>
                      <a:pt x="673" y="116"/>
                      <a:pt x="685" y="94"/>
                    </a:cubicBezTo>
                    <a:cubicBezTo>
                      <a:pt x="678" y="94"/>
                      <a:pt x="674" y="92"/>
                      <a:pt x="667" y="93"/>
                    </a:cubicBezTo>
                    <a:close/>
                    <a:moveTo>
                      <a:pt x="639" y="211"/>
                    </a:moveTo>
                    <a:cubicBezTo>
                      <a:pt x="674" y="211"/>
                      <a:pt x="707" y="208"/>
                      <a:pt x="743" y="209"/>
                    </a:cubicBezTo>
                    <a:cubicBezTo>
                      <a:pt x="745" y="170"/>
                      <a:pt x="747" y="132"/>
                      <a:pt x="750" y="95"/>
                    </a:cubicBezTo>
                    <a:cubicBezTo>
                      <a:pt x="729" y="96"/>
                      <a:pt x="708" y="95"/>
                      <a:pt x="689" y="94"/>
                    </a:cubicBezTo>
                    <a:cubicBezTo>
                      <a:pt x="669" y="129"/>
                      <a:pt x="646" y="162"/>
                      <a:pt x="639" y="211"/>
                    </a:cubicBezTo>
                    <a:close/>
                    <a:moveTo>
                      <a:pt x="825" y="120"/>
                    </a:moveTo>
                    <a:cubicBezTo>
                      <a:pt x="823" y="113"/>
                      <a:pt x="819" y="96"/>
                      <a:pt x="811" y="95"/>
                    </a:cubicBezTo>
                    <a:cubicBezTo>
                      <a:pt x="803" y="93"/>
                      <a:pt x="791" y="98"/>
                      <a:pt x="782" y="95"/>
                    </a:cubicBezTo>
                    <a:cubicBezTo>
                      <a:pt x="784" y="133"/>
                      <a:pt x="786" y="171"/>
                      <a:pt x="787" y="209"/>
                    </a:cubicBezTo>
                    <a:cubicBezTo>
                      <a:pt x="811" y="208"/>
                      <a:pt x="832" y="210"/>
                      <a:pt x="855" y="210"/>
                    </a:cubicBezTo>
                    <a:cubicBezTo>
                      <a:pt x="848" y="183"/>
                      <a:pt x="836" y="148"/>
                      <a:pt x="825" y="120"/>
                    </a:cubicBezTo>
                    <a:close/>
                    <a:moveTo>
                      <a:pt x="499" y="96"/>
                    </a:moveTo>
                    <a:cubicBezTo>
                      <a:pt x="499" y="96"/>
                      <a:pt x="500" y="97"/>
                      <a:pt x="499" y="96"/>
                    </a:cubicBezTo>
                    <a:close/>
                    <a:moveTo>
                      <a:pt x="752" y="98"/>
                    </a:moveTo>
                    <a:cubicBezTo>
                      <a:pt x="750" y="135"/>
                      <a:pt x="747" y="171"/>
                      <a:pt x="746" y="209"/>
                    </a:cubicBezTo>
                    <a:cubicBezTo>
                      <a:pt x="758" y="209"/>
                      <a:pt x="771" y="209"/>
                      <a:pt x="784" y="209"/>
                    </a:cubicBezTo>
                    <a:cubicBezTo>
                      <a:pt x="783" y="170"/>
                      <a:pt x="781" y="133"/>
                      <a:pt x="779" y="95"/>
                    </a:cubicBezTo>
                    <a:cubicBezTo>
                      <a:pt x="771" y="97"/>
                      <a:pt x="756" y="92"/>
                      <a:pt x="752" y="98"/>
                    </a:cubicBezTo>
                    <a:close/>
                    <a:moveTo>
                      <a:pt x="1056" y="191"/>
                    </a:moveTo>
                    <a:cubicBezTo>
                      <a:pt x="1069" y="202"/>
                      <a:pt x="1077" y="217"/>
                      <a:pt x="1090" y="228"/>
                    </a:cubicBezTo>
                    <a:cubicBezTo>
                      <a:pt x="1115" y="224"/>
                      <a:pt x="1137" y="218"/>
                      <a:pt x="1159" y="212"/>
                    </a:cubicBezTo>
                    <a:cubicBezTo>
                      <a:pt x="1152" y="199"/>
                      <a:pt x="1138" y="190"/>
                      <a:pt x="1126" y="180"/>
                    </a:cubicBezTo>
                    <a:cubicBezTo>
                      <a:pt x="1101" y="159"/>
                      <a:pt x="1078" y="141"/>
                      <a:pt x="1049" y="122"/>
                    </a:cubicBezTo>
                    <a:cubicBezTo>
                      <a:pt x="1032" y="112"/>
                      <a:pt x="1016" y="96"/>
                      <a:pt x="996" y="96"/>
                    </a:cubicBezTo>
                    <a:cubicBezTo>
                      <a:pt x="1020" y="124"/>
                      <a:pt x="1040" y="155"/>
                      <a:pt x="1056" y="191"/>
                    </a:cubicBezTo>
                    <a:close/>
                    <a:moveTo>
                      <a:pt x="1095" y="150"/>
                    </a:moveTo>
                    <a:cubicBezTo>
                      <a:pt x="1112" y="165"/>
                      <a:pt x="1132" y="180"/>
                      <a:pt x="1149" y="195"/>
                    </a:cubicBezTo>
                    <a:cubicBezTo>
                      <a:pt x="1154" y="200"/>
                      <a:pt x="1159" y="209"/>
                      <a:pt x="1167" y="209"/>
                    </a:cubicBezTo>
                    <a:cubicBezTo>
                      <a:pt x="1146" y="171"/>
                      <a:pt x="1113" y="136"/>
                      <a:pt x="1081" y="107"/>
                    </a:cubicBezTo>
                    <a:cubicBezTo>
                      <a:pt x="1060" y="104"/>
                      <a:pt x="1036" y="99"/>
                      <a:pt x="1015" y="98"/>
                    </a:cubicBezTo>
                    <a:cubicBezTo>
                      <a:pt x="1044" y="113"/>
                      <a:pt x="1069" y="132"/>
                      <a:pt x="1095" y="150"/>
                    </a:cubicBezTo>
                    <a:close/>
                    <a:moveTo>
                      <a:pt x="555" y="99"/>
                    </a:moveTo>
                    <a:cubicBezTo>
                      <a:pt x="506" y="130"/>
                      <a:pt x="457" y="172"/>
                      <a:pt x="418" y="216"/>
                    </a:cubicBezTo>
                    <a:cubicBezTo>
                      <a:pt x="417" y="218"/>
                      <a:pt x="411" y="220"/>
                      <a:pt x="414" y="224"/>
                    </a:cubicBezTo>
                    <a:cubicBezTo>
                      <a:pt x="438" y="232"/>
                      <a:pt x="467" y="223"/>
                      <a:pt x="494" y="221"/>
                    </a:cubicBezTo>
                    <a:cubicBezTo>
                      <a:pt x="510" y="176"/>
                      <a:pt x="530" y="135"/>
                      <a:pt x="555" y="99"/>
                    </a:cubicBezTo>
                    <a:moveTo>
                      <a:pt x="555" y="99"/>
                    </a:moveTo>
                    <a:cubicBezTo>
                      <a:pt x="556" y="99"/>
                      <a:pt x="555" y="98"/>
                      <a:pt x="555" y="99"/>
                    </a:cubicBezTo>
                    <a:moveTo>
                      <a:pt x="484" y="101"/>
                    </a:moveTo>
                    <a:cubicBezTo>
                      <a:pt x="483" y="101"/>
                      <a:pt x="484" y="102"/>
                      <a:pt x="484" y="101"/>
                    </a:cubicBezTo>
                    <a:close/>
                    <a:moveTo>
                      <a:pt x="1118" y="101"/>
                    </a:moveTo>
                    <a:cubicBezTo>
                      <a:pt x="1119" y="103"/>
                      <a:pt x="1119" y="101"/>
                      <a:pt x="1118" y="101"/>
                    </a:cubicBezTo>
                    <a:moveTo>
                      <a:pt x="1118" y="101"/>
                    </a:moveTo>
                    <a:cubicBezTo>
                      <a:pt x="1118" y="100"/>
                      <a:pt x="1117" y="101"/>
                      <a:pt x="1118" y="101"/>
                    </a:cubicBezTo>
                    <a:moveTo>
                      <a:pt x="454" y="119"/>
                    </a:moveTo>
                    <a:cubicBezTo>
                      <a:pt x="452" y="119"/>
                      <a:pt x="454" y="120"/>
                      <a:pt x="454" y="119"/>
                    </a:cubicBezTo>
                    <a:moveTo>
                      <a:pt x="454" y="119"/>
                    </a:moveTo>
                    <a:cubicBezTo>
                      <a:pt x="464" y="113"/>
                      <a:pt x="474" y="108"/>
                      <a:pt x="483" y="101"/>
                    </a:cubicBezTo>
                    <a:cubicBezTo>
                      <a:pt x="466" y="100"/>
                      <a:pt x="462" y="111"/>
                      <a:pt x="454" y="119"/>
                    </a:cubicBezTo>
                    <a:moveTo>
                      <a:pt x="1120" y="103"/>
                    </a:moveTo>
                    <a:cubicBezTo>
                      <a:pt x="1120" y="103"/>
                      <a:pt x="1121" y="104"/>
                      <a:pt x="1120" y="103"/>
                    </a:cubicBezTo>
                    <a:close/>
                    <a:moveTo>
                      <a:pt x="1075" y="104"/>
                    </a:moveTo>
                    <a:cubicBezTo>
                      <a:pt x="1075" y="104"/>
                      <a:pt x="1076" y="105"/>
                      <a:pt x="1075" y="104"/>
                    </a:cubicBezTo>
                    <a:close/>
                    <a:moveTo>
                      <a:pt x="417" y="112"/>
                    </a:moveTo>
                    <a:cubicBezTo>
                      <a:pt x="407" y="115"/>
                      <a:pt x="396" y="125"/>
                      <a:pt x="386" y="131"/>
                    </a:cubicBezTo>
                    <a:cubicBezTo>
                      <a:pt x="357" y="148"/>
                      <a:pt x="335" y="165"/>
                      <a:pt x="317" y="191"/>
                    </a:cubicBezTo>
                    <a:cubicBezTo>
                      <a:pt x="325" y="195"/>
                      <a:pt x="332" y="200"/>
                      <a:pt x="342" y="203"/>
                    </a:cubicBezTo>
                    <a:cubicBezTo>
                      <a:pt x="374" y="176"/>
                      <a:pt x="406" y="149"/>
                      <a:pt x="442" y="127"/>
                    </a:cubicBezTo>
                    <a:cubicBezTo>
                      <a:pt x="445" y="123"/>
                      <a:pt x="449" y="119"/>
                      <a:pt x="453" y="115"/>
                    </a:cubicBezTo>
                    <a:cubicBezTo>
                      <a:pt x="455" y="112"/>
                      <a:pt x="466" y="105"/>
                      <a:pt x="461" y="104"/>
                    </a:cubicBezTo>
                    <a:cubicBezTo>
                      <a:pt x="446" y="109"/>
                      <a:pt x="430" y="107"/>
                      <a:pt x="417" y="112"/>
                    </a:cubicBezTo>
                    <a:close/>
                    <a:moveTo>
                      <a:pt x="1210" y="188"/>
                    </a:moveTo>
                    <a:cubicBezTo>
                      <a:pt x="1213" y="187"/>
                      <a:pt x="1214" y="184"/>
                      <a:pt x="1216" y="183"/>
                    </a:cubicBezTo>
                    <a:cubicBezTo>
                      <a:pt x="1210" y="171"/>
                      <a:pt x="1197" y="162"/>
                      <a:pt x="1185" y="152"/>
                    </a:cubicBezTo>
                    <a:cubicBezTo>
                      <a:pt x="1175" y="143"/>
                      <a:pt x="1164" y="130"/>
                      <a:pt x="1151" y="123"/>
                    </a:cubicBezTo>
                    <a:cubicBezTo>
                      <a:pt x="1135" y="116"/>
                      <a:pt x="1116" y="117"/>
                      <a:pt x="1097" y="110"/>
                    </a:cubicBezTo>
                    <a:cubicBezTo>
                      <a:pt x="1096" y="110"/>
                      <a:pt x="1094" y="110"/>
                      <a:pt x="1094" y="111"/>
                    </a:cubicBezTo>
                    <a:cubicBezTo>
                      <a:pt x="1136" y="132"/>
                      <a:pt x="1174" y="163"/>
                      <a:pt x="1210" y="188"/>
                    </a:cubicBezTo>
                    <a:close/>
                    <a:moveTo>
                      <a:pt x="1090" y="112"/>
                    </a:moveTo>
                    <a:cubicBezTo>
                      <a:pt x="1090" y="112"/>
                      <a:pt x="1090" y="113"/>
                      <a:pt x="1090" y="113"/>
                    </a:cubicBezTo>
                    <a:cubicBezTo>
                      <a:pt x="1124" y="138"/>
                      <a:pt x="1146" y="175"/>
                      <a:pt x="1173" y="207"/>
                    </a:cubicBezTo>
                    <a:cubicBezTo>
                      <a:pt x="1185" y="202"/>
                      <a:pt x="1198" y="198"/>
                      <a:pt x="1206" y="190"/>
                    </a:cubicBezTo>
                    <a:cubicBezTo>
                      <a:pt x="1170" y="161"/>
                      <a:pt x="1132" y="134"/>
                      <a:pt x="1090" y="112"/>
                    </a:cubicBezTo>
                    <a:moveTo>
                      <a:pt x="1090" y="112"/>
                    </a:moveTo>
                    <a:cubicBezTo>
                      <a:pt x="1090" y="110"/>
                      <a:pt x="1089" y="112"/>
                      <a:pt x="1090" y="112"/>
                    </a:cubicBezTo>
                    <a:moveTo>
                      <a:pt x="405" y="116"/>
                    </a:moveTo>
                    <a:cubicBezTo>
                      <a:pt x="389" y="116"/>
                      <a:pt x="383" y="126"/>
                      <a:pt x="374" y="134"/>
                    </a:cubicBezTo>
                    <a:moveTo>
                      <a:pt x="374" y="134"/>
                    </a:moveTo>
                    <a:cubicBezTo>
                      <a:pt x="373" y="134"/>
                      <a:pt x="372" y="135"/>
                      <a:pt x="371" y="136"/>
                    </a:cubicBezTo>
                    <a:moveTo>
                      <a:pt x="371" y="136"/>
                    </a:moveTo>
                    <a:cubicBezTo>
                      <a:pt x="370" y="136"/>
                      <a:pt x="370" y="136"/>
                      <a:pt x="370" y="137"/>
                    </a:cubicBezTo>
                    <a:moveTo>
                      <a:pt x="370" y="137"/>
                    </a:moveTo>
                    <a:cubicBezTo>
                      <a:pt x="369" y="137"/>
                      <a:pt x="370" y="138"/>
                      <a:pt x="370" y="137"/>
                    </a:cubicBezTo>
                    <a:moveTo>
                      <a:pt x="370" y="137"/>
                    </a:moveTo>
                    <a:cubicBezTo>
                      <a:pt x="371" y="137"/>
                      <a:pt x="371" y="136"/>
                      <a:pt x="371" y="136"/>
                    </a:cubicBezTo>
                    <a:moveTo>
                      <a:pt x="371" y="136"/>
                    </a:moveTo>
                    <a:cubicBezTo>
                      <a:pt x="373" y="136"/>
                      <a:pt x="374" y="135"/>
                      <a:pt x="374" y="134"/>
                    </a:cubicBezTo>
                    <a:moveTo>
                      <a:pt x="374" y="134"/>
                    </a:moveTo>
                    <a:cubicBezTo>
                      <a:pt x="385" y="129"/>
                      <a:pt x="395" y="122"/>
                      <a:pt x="405" y="116"/>
                    </a:cubicBezTo>
                    <a:moveTo>
                      <a:pt x="405" y="116"/>
                    </a:moveTo>
                    <a:cubicBezTo>
                      <a:pt x="409" y="117"/>
                      <a:pt x="405" y="113"/>
                      <a:pt x="405" y="116"/>
                    </a:cubicBezTo>
                    <a:moveTo>
                      <a:pt x="1142" y="119"/>
                    </a:moveTo>
                    <a:cubicBezTo>
                      <a:pt x="1142" y="118"/>
                      <a:pt x="1143" y="119"/>
                      <a:pt x="1142" y="119"/>
                    </a:cubicBezTo>
                    <a:close/>
                    <a:moveTo>
                      <a:pt x="365" y="119"/>
                    </a:moveTo>
                    <a:cubicBezTo>
                      <a:pt x="364" y="119"/>
                      <a:pt x="365" y="120"/>
                      <a:pt x="365" y="119"/>
                    </a:cubicBezTo>
                    <a:close/>
                    <a:moveTo>
                      <a:pt x="363" y="120"/>
                    </a:moveTo>
                    <a:cubicBezTo>
                      <a:pt x="361" y="121"/>
                      <a:pt x="363" y="122"/>
                      <a:pt x="363" y="120"/>
                    </a:cubicBezTo>
                    <a:moveTo>
                      <a:pt x="363" y="120"/>
                    </a:moveTo>
                    <a:cubicBezTo>
                      <a:pt x="364" y="120"/>
                      <a:pt x="363" y="119"/>
                      <a:pt x="363" y="120"/>
                    </a:cubicBezTo>
                    <a:moveTo>
                      <a:pt x="326" y="147"/>
                    </a:moveTo>
                    <a:cubicBezTo>
                      <a:pt x="312" y="157"/>
                      <a:pt x="291" y="166"/>
                      <a:pt x="308" y="182"/>
                    </a:cubicBezTo>
                    <a:cubicBezTo>
                      <a:pt x="333" y="161"/>
                      <a:pt x="362" y="143"/>
                      <a:pt x="385" y="120"/>
                    </a:cubicBezTo>
                    <a:cubicBezTo>
                      <a:pt x="360" y="124"/>
                      <a:pt x="343" y="136"/>
                      <a:pt x="326" y="147"/>
                    </a:cubicBezTo>
                    <a:close/>
                    <a:moveTo>
                      <a:pt x="360" y="122"/>
                    </a:moveTo>
                    <a:cubicBezTo>
                      <a:pt x="359" y="122"/>
                      <a:pt x="360" y="123"/>
                      <a:pt x="360" y="122"/>
                    </a:cubicBezTo>
                    <a:close/>
                    <a:moveTo>
                      <a:pt x="365" y="123"/>
                    </a:moveTo>
                    <a:cubicBezTo>
                      <a:pt x="364" y="123"/>
                      <a:pt x="365" y="124"/>
                      <a:pt x="365" y="123"/>
                    </a:cubicBezTo>
                    <a:close/>
                    <a:moveTo>
                      <a:pt x="357" y="124"/>
                    </a:moveTo>
                    <a:cubicBezTo>
                      <a:pt x="356" y="124"/>
                      <a:pt x="358" y="125"/>
                      <a:pt x="357" y="124"/>
                    </a:cubicBezTo>
                    <a:close/>
                    <a:moveTo>
                      <a:pt x="354" y="126"/>
                    </a:moveTo>
                    <a:cubicBezTo>
                      <a:pt x="354" y="126"/>
                      <a:pt x="355" y="127"/>
                      <a:pt x="354" y="126"/>
                    </a:cubicBezTo>
                    <a:close/>
                    <a:moveTo>
                      <a:pt x="910" y="129"/>
                    </a:moveTo>
                    <a:cubicBezTo>
                      <a:pt x="919" y="156"/>
                      <a:pt x="927" y="184"/>
                      <a:pt x="934" y="214"/>
                    </a:cubicBezTo>
                    <a:cubicBezTo>
                      <a:pt x="946" y="215"/>
                      <a:pt x="959" y="215"/>
                      <a:pt x="970" y="216"/>
                    </a:cubicBezTo>
                    <a:cubicBezTo>
                      <a:pt x="952" y="185"/>
                      <a:pt x="933" y="155"/>
                      <a:pt x="910" y="129"/>
                    </a:cubicBezTo>
                    <a:moveTo>
                      <a:pt x="910" y="129"/>
                    </a:moveTo>
                    <a:cubicBezTo>
                      <a:pt x="911" y="125"/>
                      <a:pt x="907" y="129"/>
                      <a:pt x="910" y="129"/>
                    </a:cubicBezTo>
                    <a:moveTo>
                      <a:pt x="1166" y="129"/>
                    </a:moveTo>
                    <a:cubicBezTo>
                      <a:pt x="1166" y="129"/>
                      <a:pt x="1167" y="130"/>
                      <a:pt x="1166" y="129"/>
                    </a:cubicBezTo>
                    <a:close/>
                    <a:moveTo>
                      <a:pt x="1222" y="166"/>
                    </a:moveTo>
                    <a:cubicBezTo>
                      <a:pt x="1218" y="155"/>
                      <a:pt x="1206" y="150"/>
                      <a:pt x="1198" y="144"/>
                    </a:cubicBezTo>
                    <a:cubicBezTo>
                      <a:pt x="1189" y="138"/>
                      <a:pt x="1180" y="130"/>
                      <a:pt x="1168" y="130"/>
                    </a:cubicBezTo>
                    <a:cubicBezTo>
                      <a:pt x="1187" y="141"/>
                      <a:pt x="1204" y="154"/>
                      <a:pt x="1222" y="166"/>
                    </a:cubicBezTo>
                    <a:close/>
                    <a:moveTo>
                      <a:pt x="1165" y="132"/>
                    </a:moveTo>
                    <a:cubicBezTo>
                      <a:pt x="1166" y="133"/>
                      <a:pt x="1165" y="132"/>
                      <a:pt x="1165" y="132"/>
                    </a:cubicBezTo>
                    <a:close/>
                    <a:moveTo>
                      <a:pt x="1169" y="134"/>
                    </a:moveTo>
                    <a:cubicBezTo>
                      <a:pt x="1187" y="147"/>
                      <a:pt x="1204" y="167"/>
                      <a:pt x="1220" y="178"/>
                    </a:cubicBezTo>
                    <a:cubicBezTo>
                      <a:pt x="1220" y="175"/>
                      <a:pt x="1223" y="174"/>
                      <a:pt x="1222" y="170"/>
                    </a:cubicBezTo>
                    <a:cubicBezTo>
                      <a:pt x="1206" y="157"/>
                      <a:pt x="1188" y="145"/>
                      <a:pt x="1169" y="134"/>
                    </a:cubicBezTo>
                    <a:moveTo>
                      <a:pt x="1169" y="134"/>
                    </a:moveTo>
                    <a:cubicBezTo>
                      <a:pt x="1168" y="132"/>
                      <a:pt x="1168" y="134"/>
                      <a:pt x="1169" y="134"/>
                    </a:cubicBezTo>
                    <a:moveTo>
                      <a:pt x="434" y="136"/>
                    </a:moveTo>
                    <a:cubicBezTo>
                      <a:pt x="433" y="136"/>
                      <a:pt x="433" y="136"/>
                      <a:pt x="433" y="137"/>
                    </a:cubicBezTo>
                    <a:moveTo>
                      <a:pt x="433" y="137"/>
                    </a:moveTo>
                    <a:cubicBezTo>
                      <a:pt x="401" y="157"/>
                      <a:pt x="372" y="180"/>
                      <a:pt x="345" y="205"/>
                    </a:cubicBezTo>
                    <a:cubicBezTo>
                      <a:pt x="357" y="209"/>
                      <a:pt x="367" y="213"/>
                      <a:pt x="379" y="215"/>
                    </a:cubicBezTo>
                    <a:cubicBezTo>
                      <a:pt x="394" y="187"/>
                      <a:pt x="413" y="162"/>
                      <a:pt x="433" y="137"/>
                    </a:cubicBezTo>
                    <a:moveTo>
                      <a:pt x="433" y="137"/>
                    </a:moveTo>
                    <a:cubicBezTo>
                      <a:pt x="434" y="137"/>
                      <a:pt x="434" y="136"/>
                      <a:pt x="434" y="136"/>
                    </a:cubicBezTo>
                    <a:moveTo>
                      <a:pt x="434" y="136"/>
                    </a:moveTo>
                    <a:cubicBezTo>
                      <a:pt x="435" y="135"/>
                      <a:pt x="434" y="135"/>
                      <a:pt x="434" y="136"/>
                    </a:cubicBezTo>
                    <a:moveTo>
                      <a:pt x="327" y="142"/>
                    </a:moveTo>
                    <a:cubicBezTo>
                      <a:pt x="327" y="141"/>
                      <a:pt x="328" y="142"/>
                      <a:pt x="327" y="142"/>
                    </a:cubicBezTo>
                    <a:close/>
                    <a:moveTo>
                      <a:pt x="325" y="143"/>
                    </a:moveTo>
                    <a:cubicBezTo>
                      <a:pt x="319" y="146"/>
                      <a:pt x="312" y="150"/>
                      <a:pt x="308" y="156"/>
                    </a:cubicBezTo>
                    <a:moveTo>
                      <a:pt x="308" y="156"/>
                    </a:moveTo>
                    <a:cubicBezTo>
                      <a:pt x="307" y="156"/>
                      <a:pt x="307" y="156"/>
                      <a:pt x="307" y="157"/>
                    </a:cubicBezTo>
                    <a:moveTo>
                      <a:pt x="307" y="157"/>
                    </a:moveTo>
                    <a:cubicBezTo>
                      <a:pt x="306" y="157"/>
                      <a:pt x="306" y="157"/>
                      <a:pt x="306" y="158"/>
                    </a:cubicBezTo>
                    <a:moveTo>
                      <a:pt x="306" y="158"/>
                    </a:moveTo>
                    <a:cubicBezTo>
                      <a:pt x="305" y="158"/>
                      <a:pt x="306" y="159"/>
                      <a:pt x="306" y="158"/>
                    </a:cubicBezTo>
                    <a:moveTo>
                      <a:pt x="306" y="158"/>
                    </a:moveTo>
                    <a:cubicBezTo>
                      <a:pt x="307" y="158"/>
                      <a:pt x="307" y="158"/>
                      <a:pt x="307" y="157"/>
                    </a:cubicBezTo>
                    <a:moveTo>
                      <a:pt x="307" y="157"/>
                    </a:moveTo>
                    <a:cubicBezTo>
                      <a:pt x="308" y="157"/>
                      <a:pt x="308" y="157"/>
                      <a:pt x="308" y="156"/>
                    </a:cubicBezTo>
                    <a:moveTo>
                      <a:pt x="308" y="156"/>
                    </a:moveTo>
                    <a:cubicBezTo>
                      <a:pt x="314" y="152"/>
                      <a:pt x="320" y="147"/>
                      <a:pt x="325" y="143"/>
                    </a:cubicBezTo>
                    <a:moveTo>
                      <a:pt x="325" y="143"/>
                    </a:moveTo>
                    <a:cubicBezTo>
                      <a:pt x="327" y="142"/>
                      <a:pt x="325" y="141"/>
                      <a:pt x="325" y="143"/>
                    </a:cubicBezTo>
                    <a:moveTo>
                      <a:pt x="338" y="163"/>
                    </a:moveTo>
                    <a:cubicBezTo>
                      <a:pt x="337" y="163"/>
                      <a:pt x="337" y="163"/>
                      <a:pt x="337" y="164"/>
                    </a:cubicBezTo>
                    <a:moveTo>
                      <a:pt x="337" y="164"/>
                    </a:moveTo>
                    <a:cubicBezTo>
                      <a:pt x="327" y="170"/>
                      <a:pt x="317" y="176"/>
                      <a:pt x="310" y="185"/>
                    </a:cubicBezTo>
                    <a:cubicBezTo>
                      <a:pt x="312" y="185"/>
                      <a:pt x="312" y="188"/>
                      <a:pt x="315" y="188"/>
                    </a:cubicBezTo>
                    <a:cubicBezTo>
                      <a:pt x="322" y="180"/>
                      <a:pt x="330" y="172"/>
                      <a:pt x="337" y="164"/>
                    </a:cubicBezTo>
                    <a:moveTo>
                      <a:pt x="337" y="164"/>
                    </a:moveTo>
                    <a:cubicBezTo>
                      <a:pt x="338" y="164"/>
                      <a:pt x="338" y="163"/>
                      <a:pt x="338" y="163"/>
                    </a:cubicBezTo>
                    <a:moveTo>
                      <a:pt x="338" y="163"/>
                    </a:moveTo>
                    <a:cubicBezTo>
                      <a:pt x="339" y="162"/>
                      <a:pt x="338" y="162"/>
                      <a:pt x="338" y="163"/>
                    </a:cubicBezTo>
                    <a:moveTo>
                      <a:pt x="648" y="165"/>
                    </a:moveTo>
                    <a:cubicBezTo>
                      <a:pt x="647" y="164"/>
                      <a:pt x="648" y="165"/>
                      <a:pt x="648" y="165"/>
                    </a:cubicBezTo>
                    <a:close/>
                    <a:moveTo>
                      <a:pt x="1279" y="213"/>
                    </a:moveTo>
                    <a:cubicBezTo>
                      <a:pt x="1279" y="213"/>
                      <a:pt x="1280" y="214"/>
                      <a:pt x="1280" y="214"/>
                    </a:cubicBezTo>
                    <a:moveTo>
                      <a:pt x="1280" y="214"/>
                    </a:moveTo>
                    <a:cubicBezTo>
                      <a:pt x="1280" y="214"/>
                      <a:pt x="1281" y="214"/>
                      <a:pt x="1281" y="215"/>
                    </a:cubicBezTo>
                    <a:moveTo>
                      <a:pt x="1281" y="215"/>
                    </a:moveTo>
                    <a:cubicBezTo>
                      <a:pt x="1281" y="215"/>
                      <a:pt x="1282" y="215"/>
                      <a:pt x="1282" y="215"/>
                    </a:cubicBezTo>
                    <a:moveTo>
                      <a:pt x="1282" y="215"/>
                    </a:moveTo>
                    <a:cubicBezTo>
                      <a:pt x="1282" y="216"/>
                      <a:pt x="1283" y="216"/>
                      <a:pt x="1283" y="216"/>
                    </a:cubicBezTo>
                    <a:moveTo>
                      <a:pt x="1283" y="216"/>
                    </a:moveTo>
                    <a:cubicBezTo>
                      <a:pt x="1283" y="217"/>
                      <a:pt x="1284" y="217"/>
                      <a:pt x="1284" y="217"/>
                    </a:cubicBezTo>
                    <a:moveTo>
                      <a:pt x="1284" y="217"/>
                    </a:moveTo>
                    <a:cubicBezTo>
                      <a:pt x="1284" y="218"/>
                      <a:pt x="1285" y="218"/>
                      <a:pt x="1285" y="218"/>
                    </a:cubicBezTo>
                    <a:moveTo>
                      <a:pt x="1285" y="218"/>
                    </a:moveTo>
                    <a:cubicBezTo>
                      <a:pt x="1285" y="219"/>
                      <a:pt x="1286" y="219"/>
                      <a:pt x="1286" y="219"/>
                    </a:cubicBezTo>
                    <a:moveTo>
                      <a:pt x="1286" y="219"/>
                    </a:moveTo>
                    <a:cubicBezTo>
                      <a:pt x="1286" y="220"/>
                      <a:pt x="1287" y="220"/>
                      <a:pt x="1287" y="220"/>
                    </a:cubicBezTo>
                    <a:moveTo>
                      <a:pt x="1287" y="220"/>
                    </a:moveTo>
                    <a:cubicBezTo>
                      <a:pt x="1288" y="222"/>
                      <a:pt x="1288" y="220"/>
                      <a:pt x="1287" y="220"/>
                    </a:cubicBezTo>
                    <a:moveTo>
                      <a:pt x="1287" y="220"/>
                    </a:moveTo>
                    <a:cubicBezTo>
                      <a:pt x="1287" y="219"/>
                      <a:pt x="1287" y="219"/>
                      <a:pt x="1286" y="219"/>
                    </a:cubicBezTo>
                    <a:moveTo>
                      <a:pt x="1286" y="219"/>
                    </a:moveTo>
                    <a:cubicBezTo>
                      <a:pt x="1286" y="219"/>
                      <a:pt x="1286" y="218"/>
                      <a:pt x="1285" y="218"/>
                    </a:cubicBezTo>
                    <a:moveTo>
                      <a:pt x="1285" y="218"/>
                    </a:moveTo>
                    <a:cubicBezTo>
                      <a:pt x="1285" y="218"/>
                      <a:pt x="1285" y="217"/>
                      <a:pt x="1284" y="217"/>
                    </a:cubicBezTo>
                    <a:moveTo>
                      <a:pt x="1284" y="217"/>
                    </a:moveTo>
                    <a:cubicBezTo>
                      <a:pt x="1284" y="217"/>
                      <a:pt x="1284" y="216"/>
                      <a:pt x="1283" y="216"/>
                    </a:cubicBezTo>
                    <a:moveTo>
                      <a:pt x="1283" y="216"/>
                    </a:moveTo>
                    <a:cubicBezTo>
                      <a:pt x="1283" y="216"/>
                      <a:pt x="1283" y="216"/>
                      <a:pt x="1282" y="215"/>
                    </a:cubicBezTo>
                    <a:moveTo>
                      <a:pt x="1282" y="215"/>
                    </a:moveTo>
                    <a:cubicBezTo>
                      <a:pt x="1283" y="215"/>
                      <a:pt x="1282" y="215"/>
                      <a:pt x="1281" y="215"/>
                    </a:cubicBezTo>
                    <a:moveTo>
                      <a:pt x="1281" y="215"/>
                    </a:moveTo>
                    <a:cubicBezTo>
                      <a:pt x="1282" y="214"/>
                      <a:pt x="1281" y="214"/>
                      <a:pt x="1280" y="214"/>
                    </a:cubicBezTo>
                    <a:moveTo>
                      <a:pt x="1280" y="214"/>
                    </a:moveTo>
                    <a:cubicBezTo>
                      <a:pt x="1281" y="213"/>
                      <a:pt x="1280" y="213"/>
                      <a:pt x="1279" y="213"/>
                    </a:cubicBezTo>
                    <a:moveTo>
                      <a:pt x="1279" y="213"/>
                    </a:moveTo>
                    <a:cubicBezTo>
                      <a:pt x="1262" y="195"/>
                      <a:pt x="1245" y="179"/>
                      <a:pt x="1225" y="165"/>
                    </a:cubicBezTo>
                    <a:cubicBezTo>
                      <a:pt x="1226" y="171"/>
                      <a:pt x="1233" y="175"/>
                      <a:pt x="1237" y="178"/>
                    </a:cubicBezTo>
                    <a:cubicBezTo>
                      <a:pt x="1251" y="189"/>
                      <a:pt x="1265" y="201"/>
                      <a:pt x="1279" y="213"/>
                    </a:cubicBezTo>
                    <a:moveTo>
                      <a:pt x="188" y="288"/>
                    </a:moveTo>
                    <a:cubicBezTo>
                      <a:pt x="205" y="283"/>
                      <a:pt x="212" y="269"/>
                      <a:pt x="223" y="257"/>
                    </a:cubicBezTo>
                    <a:cubicBezTo>
                      <a:pt x="250" y="230"/>
                      <a:pt x="277" y="206"/>
                      <a:pt x="305" y="183"/>
                    </a:cubicBezTo>
                    <a:cubicBezTo>
                      <a:pt x="301" y="179"/>
                      <a:pt x="300" y="173"/>
                      <a:pt x="298" y="167"/>
                    </a:cubicBezTo>
                    <a:cubicBezTo>
                      <a:pt x="257" y="204"/>
                      <a:pt x="219" y="243"/>
                      <a:pt x="188" y="288"/>
                    </a:cubicBezTo>
                    <a:close/>
                    <a:moveTo>
                      <a:pt x="1351" y="296"/>
                    </a:moveTo>
                    <a:cubicBezTo>
                      <a:pt x="1351" y="297"/>
                      <a:pt x="1352" y="297"/>
                      <a:pt x="1352" y="297"/>
                    </a:cubicBezTo>
                    <a:moveTo>
                      <a:pt x="1352" y="297"/>
                    </a:moveTo>
                    <a:cubicBezTo>
                      <a:pt x="1353" y="298"/>
                      <a:pt x="1354" y="297"/>
                      <a:pt x="1352" y="297"/>
                    </a:cubicBezTo>
                    <a:moveTo>
                      <a:pt x="1352" y="297"/>
                    </a:moveTo>
                    <a:cubicBezTo>
                      <a:pt x="1353" y="296"/>
                      <a:pt x="1352" y="296"/>
                      <a:pt x="1351" y="296"/>
                    </a:cubicBezTo>
                    <a:moveTo>
                      <a:pt x="1351" y="296"/>
                    </a:moveTo>
                    <a:cubicBezTo>
                      <a:pt x="1351" y="295"/>
                      <a:pt x="1351" y="293"/>
                      <a:pt x="1350" y="293"/>
                    </a:cubicBezTo>
                    <a:cubicBezTo>
                      <a:pt x="1320" y="252"/>
                      <a:pt x="1281" y="217"/>
                      <a:pt x="1241" y="185"/>
                    </a:cubicBezTo>
                    <a:cubicBezTo>
                      <a:pt x="1236" y="181"/>
                      <a:pt x="1231" y="174"/>
                      <a:pt x="1224" y="173"/>
                    </a:cubicBezTo>
                    <a:cubicBezTo>
                      <a:pt x="1218" y="183"/>
                      <a:pt x="1228" y="188"/>
                      <a:pt x="1233" y="194"/>
                    </a:cubicBezTo>
                    <a:cubicBezTo>
                      <a:pt x="1239" y="201"/>
                      <a:pt x="1244" y="208"/>
                      <a:pt x="1250" y="214"/>
                    </a:cubicBezTo>
                    <a:cubicBezTo>
                      <a:pt x="1267" y="233"/>
                      <a:pt x="1280" y="256"/>
                      <a:pt x="1300" y="274"/>
                    </a:cubicBezTo>
                    <a:cubicBezTo>
                      <a:pt x="1319" y="279"/>
                      <a:pt x="1335" y="288"/>
                      <a:pt x="1351" y="296"/>
                    </a:cubicBezTo>
                    <a:moveTo>
                      <a:pt x="1218" y="184"/>
                    </a:moveTo>
                    <a:cubicBezTo>
                      <a:pt x="1217" y="187"/>
                      <a:pt x="1213" y="188"/>
                      <a:pt x="1211" y="191"/>
                    </a:cubicBezTo>
                    <a:cubicBezTo>
                      <a:pt x="1231" y="205"/>
                      <a:pt x="1249" y="226"/>
                      <a:pt x="1267" y="239"/>
                    </a:cubicBezTo>
                    <a:cubicBezTo>
                      <a:pt x="1250" y="220"/>
                      <a:pt x="1237" y="199"/>
                      <a:pt x="1218" y="184"/>
                    </a:cubicBezTo>
                    <a:close/>
                    <a:moveTo>
                      <a:pt x="207" y="280"/>
                    </a:moveTo>
                    <a:cubicBezTo>
                      <a:pt x="206" y="280"/>
                      <a:pt x="207" y="281"/>
                      <a:pt x="207" y="280"/>
                    </a:cubicBezTo>
                    <a:moveTo>
                      <a:pt x="207" y="280"/>
                    </a:moveTo>
                    <a:cubicBezTo>
                      <a:pt x="225" y="274"/>
                      <a:pt x="241" y="267"/>
                      <a:pt x="260" y="263"/>
                    </a:cubicBezTo>
                    <a:cubicBezTo>
                      <a:pt x="272" y="244"/>
                      <a:pt x="285" y="224"/>
                      <a:pt x="299" y="206"/>
                    </a:cubicBezTo>
                    <a:cubicBezTo>
                      <a:pt x="304" y="200"/>
                      <a:pt x="311" y="196"/>
                      <a:pt x="312" y="189"/>
                    </a:cubicBezTo>
                    <a:cubicBezTo>
                      <a:pt x="306" y="183"/>
                      <a:pt x="301" y="190"/>
                      <a:pt x="297" y="193"/>
                    </a:cubicBezTo>
                    <a:cubicBezTo>
                      <a:pt x="268" y="218"/>
                      <a:pt x="231" y="250"/>
                      <a:pt x="207" y="280"/>
                    </a:cubicBezTo>
                    <a:moveTo>
                      <a:pt x="267" y="192"/>
                    </a:moveTo>
                    <a:cubicBezTo>
                      <a:pt x="266" y="192"/>
                      <a:pt x="266" y="193"/>
                      <a:pt x="266" y="193"/>
                    </a:cubicBezTo>
                    <a:moveTo>
                      <a:pt x="266" y="193"/>
                    </a:moveTo>
                    <a:cubicBezTo>
                      <a:pt x="265" y="193"/>
                      <a:pt x="265" y="194"/>
                      <a:pt x="265" y="194"/>
                    </a:cubicBezTo>
                    <a:moveTo>
                      <a:pt x="265" y="194"/>
                    </a:moveTo>
                    <a:cubicBezTo>
                      <a:pt x="264" y="194"/>
                      <a:pt x="264" y="195"/>
                      <a:pt x="264" y="195"/>
                    </a:cubicBezTo>
                    <a:moveTo>
                      <a:pt x="264" y="195"/>
                    </a:moveTo>
                    <a:cubicBezTo>
                      <a:pt x="263" y="195"/>
                      <a:pt x="263" y="196"/>
                      <a:pt x="263" y="196"/>
                    </a:cubicBezTo>
                    <a:moveTo>
                      <a:pt x="263" y="196"/>
                    </a:moveTo>
                    <a:cubicBezTo>
                      <a:pt x="262" y="196"/>
                      <a:pt x="262" y="197"/>
                      <a:pt x="262" y="197"/>
                    </a:cubicBezTo>
                    <a:moveTo>
                      <a:pt x="262" y="197"/>
                    </a:moveTo>
                    <a:cubicBezTo>
                      <a:pt x="261" y="197"/>
                      <a:pt x="261" y="198"/>
                      <a:pt x="261" y="198"/>
                    </a:cubicBezTo>
                    <a:moveTo>
                      <a:pt x="261" y="198"/>
                    </a:moveTo>
                    <a:cubicBezTo>
                      <a:pt x="222" y="229"/>
                      <a:pt x="189" y="265"/>
                      <a:pt x="159" y="305"/>
                    </a:cubicBezTo>
                    <a:moveTo>
                      <a:pt x="159" y="305"/>
                    </a:moveTo>
                    <a:cubicBezTo>
                      <a:pt x="158" y="305"/>
                      <a:pt x="158" y="305"/>
                      <a:pt x="158" y="306"/>
                    </a:cubicBezTo>
                    <a:moveTo>
                      <a:pt x="158" y="306"/>
                    </a:moveTo>
                    <a:cubicBezTo>
                      <a:pt x="157" y="306"/>
                      <a:pt x="158" y="307"/>
                      <a:pt x="158" y="306"/>
                    </a:cubicBezTo>
                    <a:moveTo>
                      <a:pt x="158" y="306"/>
                    </a:moveTo>
                    <a:cubicBezTo>
                      <a:pt x="159" y="306"/>
                      <a:pt x="159" y="305"/>
                      <a:pt x="159" y="305"/>
                    </a:cubicBezTo>
                    <a:moveTo>
                      <a:pt x="159" y="305"/>
                    </a:moveTo>
                    <a:cubicBezTo>
                      <a:pt x="167" y="301"/>
                      <a:pt x="173" y="295"/>
                      <a:pt x="182" y="292"/>
                    </a:cubicBezTo>
                    <a:cubicBezTo>
                      <a:pt x="205" y="258"/>
                      <a:pt x="232" y="227"/>
                      <a:pt x="261" y="198"/>
                    </a:cubicBezTo>
                    <a:moveTo>
                      <a:pt x="261" y="198"/>
                    </a:moveTo>
                    <a:cubicBezTo>
                      <a:pt x="262" y="198"/>
                      <a:pt x="262" y="198"/>
                      <a:pt x="262" y="197"/>
                    </a:cubicBezTo>
                    <a:moveTo>
                      <a:pt x="262" y="197"/>
                    </a:moveTo>
                    <a:cubicBezTo>
                      <a:pt x="263" y="197"/>
                      <a:pt x="263" y="197"/>
                      <a:pt x="263" y="196"/>
                    </a:cubicBezTo>
                    <a:moveTo>
                      <a:pt x="263" y="196"/>
                    </a:moveTo>
                    <a:cubicBezTo>
                      <a:pt x="264" y="196"/>
                      <a:pt x="264" y="196"/>
                      <a:pt x="264" y="195"/>
                    </a:cubicBezTo>
                    <a:moveTo>
                      <a:pt x="264" y="195"/>
                    </a:moveTo>
                    <a:cubicBezTo>
                      <a:pt x="265" y="195"/>
                      <a:pt x="265" y="195"/>
                      <a:pt x="265" y="194"/>
                    </a:cubicBezTo>
                    <a:moveTo>
                      <a:pt x="265" y="194"/>
                    </a:moveTo>
                    <a:cubicBezTo>
                      <a:pt x="266" y="195"/>
                      <a:pt x="266" y="194"/>
                      <a:pt x="266" y="193"/>
                    </a:cubicBezTo>
                    <a:moveTo>
                      <a:pt x="266" y="193"/>
                    </a:moveTo>
                    <a:cubicBezTo>
                      <a:pt x="266" y="194"/>
                      <a:pt x="267" y="193"/>
                      <a:pt x="267" y="192"/>
                    </a:cubicBezTo>
                    <a:moveTo>
                      <a:pt x="267" y="192"/>
                    </a:moveTo>
                    <a:cubicBezTo>
                      <a:pt x="268" y="192"/>
                      <a:pt x="267" y="191"/>
                      <a:pt x="267" y="192"/>
                    </a:cubicBezTo>
                    <a:moveTo>
                      <a:pt x="265" y="261"/>
                    </a:moveTo>
                    <a:cubicBezTo>
                      <a:pt x="263" y="261"/>
                      <a:pt x="265" y="262"/>
                      <a:pt x="265" y="261"/>
                    </a:cubicBezTo>
                    <a:moveTo>
                      <a:pt x="265" y="261"/>
                    </a:moveTo>
                    <a:cubicBezTo>
                      <a:pt x="274" y="259"/>
                      <a:pt x="281" y="256"/>
                      <a:pt x="291" y="255"/>
                    </a:cubicBezTo>
                    <a:cubicBezTo>
                      <a:pt x="305" y="236"/>
                      <a:pt x="324" y="222"/>
                      <a:pt x="340" y="205"/>
                    </a:cubicBezTo>
                    <a:cubicBezTo>
                      <a:pt x="330" y="202"/>
                      <a:pt x="323" y="196"/>
                      <a:pt x="315" y="192"/>
                    </a:cubicBezTo>
                    <a:cubicBezTo>
                      <a:pt x="296" y="214"/>
                      <a:pt x="279" y="236"/>
                      <a:pt x="265" y="261"/>
                    </a:cubicBezTo>
                    <a:moveTo>
                      <a:pt x="1208" y="192"/>
                    </a:moveTo>
                    <a:cubicBezTo>
                      <a:pt x="1198" y="200"/>
                      <a:pt x="1184" y="204"/>
                      <a:pt x="1173" y="211"/>
                    </a:cubicBezTo>
                    <a:cubicBezTo>
                      <a:pt x="1184" y="223"/>
                      <a:pt x="1187" y="240"/>
                      <a:pt x="1203" y="247"/>
                    </a:cubicBezTo>
                    <a:cubicBezTo>
                      <a:pt x="1215" y="253"/>
                      <a:pt x="1231" y="253"/>
                      <a:pt x="1246" y="257"/>
                    </a:cubicBezTo>
                    <a:cubicBezTo>
                      <a:pt x="1260" y="261"/>
                      <a:pt x="1274" y="266"/>
                      <a:pt x="1287" y="269"/>
                    </a:cubicBezTo>
                    <a:cubicBezTo>
                      <a:pt x="1267" y="238"/>
                      <a:pt x="1237" y="216"/>
                      <a:pt x="1208" y="192"/>
                    </a:cubicBezTo>
                    <a:close/>
                    <a:moveTo>
                      <a:pt x="637" y="198"/>
                    </a:moveTo>
                    <a:cubicBezTo>
                      <a:pt x="636" y="202"/>
                      <a:pt x="630" y="210"/>
                      <a:pt x="633" y="212"/>
                    </a:cubicBezTo>
                    <a:cubicBezTo>
                      <a:pt x="638" y="210"/>
                      <a:pt x="636" y="203"/>
                      <a:pt x="637" y="198"/>
                    </a:cubicBezTo>
                    <a:moveTo>
                      <a:pt x="637" y="198"/>
                    </a:moveTo>
                    <a:cubicBezTo>
                      <a:pt x="640" y="198"/>
                      <a:pt x="636" y="194"/>
                      <a:pt x="637" y="198"/>
                    </a:cubicBezTo>
                    <a:moveTo>
                      <a:pt x="1072" y="226"/>
                    </a:moveTo>
                    <a:cubicBezTo>
                      <a:pt x="1076" y="226"/>
                      <a:pt x="1083" y="228"/>
                      <a:pt x="1085" y="227"/>
                    </a:cubicBezTo>
                    <a:cubicBezTo>
                      <a:pt x="1077" y="219"/>
                      <a:pt x="1070" y="209"/>
                      <a:pt x="1062" y="201"/>
                    </a:cubicBezTo>
                    <a:cubicBezTo>
                      <a:pt x="1065" y="210"/>
                      <a:pt x="1069" y="217"/>
                      <a:pt x="1072" y="226"/>
                    </a:cubicBezTo>
                    <a:close/>
                    <a:moveTo>
                      <a:pt x="342" y="207"/>
                    </a:moveTo>
                    <a:cubicBezTo>
                      <a:pt x="327" y="222"/>
                      <a:pt x="310" y="236"/>
                      <a:pt x="296" y="253"/>
                    </a:cubicBezTo>
                    <a:cubicBezTo>
                      <a:pt x="319" y="247"/>
                      <a:pt x="343" y="243"/>
                      <a:pt x="366" y="239"/>
                    </a:cubicBezTo>
                    <a:cubicBezTo>
                      <a:pt x="370" y="231"/>
                      <a:pt x="374" y="225"/>
                      <a:pt x="377" y="217"/>
                    </a:cubicBezTo>
                    <a:cubicBezTo>
                      <a:pt x="364" y="215"/>
                      <a:pt x="354" y="210"/>
                      <a:pt x="342" y="207"/>
                    </a:cubicBezTo>
                    <a:close/>
                    <a:moveTo>
                      <a:pt x="745" y="212"/>
                    </a:moveTo>
                    <a:cubicBezTo>
                      <a:pt x="745" y="226"/>
                      <a:pt x="744" y="240"/>
                      <a:pt x="743" y="254"/>
                    </a:cubicBezTo>
                    <a:cubicBezTo>
                      <a:pt x="757" y="253"/>
                      <a:pt x="774" y="255"/>
                      <a:pt x="786" y="253"/>
                    </a:cubicBezTo>
                    <a:cubicBezTo>
                      <a:pt x="784" y="241"/>
                      <a:pt x="786" y="224"/>
                      <a:pt x="784" y="212"/>
                    </a:cubicBezTo>
                    <a:cubicBezTo>
                      <a:pt x="773" y="210"/>
                      <a:pt x="756" y="210"/>
                      <a:pt x="745" y="212"/>
                    </a:cubicBezTo>
                    <a:close/>
                    <a:moveTo>
                      <a:pt x="1176" y="220"/>
                    </a:moveTo>
                    <a:cubicBezTo>
                      <a:pt x="1176" y="221"/>
                      <a:pt x="1176" y="221"/>
                      <a:pt x="1177" y="221"/>
                    </a:cubicBezTo>
                    <a:moveTo>
                      <a:pt x="1177" y="221"/>
                    </a:moveTo>
                    <a:cubicBezTo>
                      <a:pt x="1177" y="223"/>
                      <a:pt x="1178" y="221"/>
                      <a:pt x="1177" y="221"/>
                    </a:cubicBezTo>
                    <a:moveTo>
                      <a:pt x="1177" y="221"/>
                    </a:moveTo>
                    <a:cubicBezTo>
                      <a:pt x="1177" y="220"/>
                      <a:pt x="1176" y="220"/>
                      <a:pt x="1176" y="220"/>
                    </a:cubicBezTo>
                    <a:moveTo>
                      <a:pt x="1176" y="220"/>
                    </a:moveTo>
                    <a:cubicBezTo>
                      <a:pt x="1174" y="216"/>
                      <a:pt x="1171" y="207"/>
                      <a:pt x="1166" y="213"/>
                    </a:cubicBezTo>
                    <a:cubicBezTo>
                      <a:pt x="1170" y="214"/>
                      <a:pt x="1172" y="218"/>
                      <a:pt x="1176" y="220"/>
                    </a:cubicBezTo>
                    <a:moveTo>
                      <a:pt x="639" y="214"/>
                    </a:moveTo>
                    <a:cubicBezTo>
                      <a:pt x="637" y="225"/>
                      <a:pt x="635" y="238"/>
                      <a:pt x="633" y="251"/>
                    </a:cubicBezTo>
                    <a:cubicBezTo>
                      <a:pt x="669" y="252"/>
                      <a:pt x="704" y="254"/>
                      <a:pt x="741" y="254"/>
                    </a:cubicBezTo>
                    <a:cubicBezTo>
                      <a:pt x="741" y="239"/>
                      <a:pt x="742" y="225"/>
                      <a:pt x="743" y="212"/>
                    </a:cubicBezTo>
                    <a:cubicBezTo>
                      <a:pt x="707" y="211"/>
                      <a:pt x="673" y="213"/>
                      <a:pt x="639" y="214"/>
                    </a:cubicBezTo>
                    <a:close/>
                    <a:moveTo>
                      <a:pt x="787" y="212"/>
                    </a:moveTo>
                    <a:cubicBezTo>
                      <a:pt x="786" y="227"/>
                      <a:pt x="789" y="239"/>
                      <a:pt x="788" y="254"/>
                    </a:cubicBezTo>
                    <a:cubicBezTo>
                      <a:pt x="815" y="254"/>
                      <a:pt x="840" y="252"/>
                      <a:pt x="867" y="252"/>
                    </a:cubicBezTo>
                    <a:cubicBezTo>
                      <a:pt x="863" y="238"/>
                      <a:pt x="860" y="225"/>
                      <a:pt x="856" y="213"/>
                    </a:cubicBezTo>
                    <a:cubicBezTo>
                      <a:pt x="834" y="212"/>
                      <a:pt x="811" y="211"/>
                      <a:pt x="787" y="212"/>
                    </a:cubicBezTo>
                    <a:close/>
                    <a:moveTo>
                      <a:pt x="870" y="251"/>
                    </a:moveTo>
                    <a:cubicBezTo>
                      <a:pt x="891" y="251"/>
                      <a:pt x="917" y="249"/>
                      <a:pt x="938" y="247"/>
                    </a:cubicBezTo>
                    <a:cubicBezTo>
                      <a:pt x="937" y="236"/>
                      <a:pt x="934" y="227"/>
                      <a:pt x="932" y="216"/>
                    </a:cubicBezTo>
                    <a:cubicBezTo>
                      <a:pt x="909" y="214"/>
                      <a:pt x="884" y="214"/>
                      <a:pt x="861" y="213"/>
                    </a:cubicBezTo>
                    <a:cubicBezTo>
                      <a:pt x="864" y="226"/>
                      <a:pt x="868" y="237"/>
                      <a:pt x="870" y="251"/>
                    </a:cubicBezTo>
                    <a:close/>
                    <a:moveTo>
                      <a:pt x="1190" y="244"/>
                    </a:moveTo>
                    <a:cubicBezTo>
                      <a:pt x="1191" y="246"/>
                      <a:pt x="1191" y="244"/>
                      <a:pt x="1190" y="244"/>
                    </a:cubicBezTo>
                    <a:moveTo>
                      <a:pt x="1190" y="244"/>
                    </a:moveTo>
                    <a:cubicBezTo>
                      <a:pt x="1184" y="231"/>
                      <a:pt x="1173" y="222"/>
                      <a:pt x="1162" y="213"/>
                    </a:cubicBezTo>
                    <a:cubicBezTo>
                      <a:pt x="1143" y="221"/>
                      <a:pt x="1120" y="224"/>
                      <a:pt x="1099" y="230"/>
                    </a:cubicBezTo>
                    <a:cubicBezTo>
                      <a:pt x="1131" y="233"/>
                      <a:pt x="1160" y="239"/>
                      <a:pt x="1190" y="244"/>
                    </a:cubicBezTo>
                    <a:moveTo>
                      <a:pt x="632" y="214"/>
                    </a:moveTo>
                    <a:cubicBezTo>
                      <a:pt x="625" y="223"/>
                      <a:pt x="622" y="237"/>
                      <a:pt x="618" y="250"/>
                    </a:cubicBezTo>
                    <a:cubicBezTo>
                      <a:pt x="622" y="250"/>
                      <a:pt x="626" y="250"/>
                      <a:pt x="630" y="250"/>
                    </a:cubicBezTo>
                    <a:cubicBezTo>
                      <a:pt x="631" y="238"/>
                      <a:pt x="633" y="225"/>
                      <a:pt x="635" y="214"/>
                    </a:cubicBezTo>
                    <a:cubicBezTo>
                      <a:pt x="634" y="214"/>
                      <a:pt x="633" y="214"/>
                      <a:pt x="632" y="214"/>
                    </a:cubicBezTo>
                    <a:close/>
                    <a:moveTo>
                      <a:pt x="515" y="222"/>
                    </a:moveTo>
                    <a:cubicBezTo>
                      <a:pt x="512" y="228"/>
                      <a:pt x="507" y="233"/>
                      <a:pt x="505" y="239"/>
                    </a:cubicBezTo>
                    <a:cubicBezTo>
                      <a:pt x="541" y="243"/>
                      <a:pt x="576" y="248"/>
                      <a:pt x="615" y="249"/>
                    </a:cubicBezTo>
                    <a:cubicBezTo>
                      <a:pt x="619" y="237"/>
                      <a:pt x="623" y="226"/>
                      <a:pt x="628" y="215"/>
                    </a:cubicBezTo>
                    <a:cubicBezTo>
                      <a:pt x="589" y="216"/>
                      <a:pt x="552" y="218"/>
                      <a:pt x="515" y="222"/>
                    </a:cubicBezTo>
                    <a:close/>
                    <a:moveTo>
                      <a:pt x="941" y="247"/>
                    </a:moveTo>
                    <a:cubicBezTo>
                      <a:pt x="956" y="246"/>
                      <a:pt x="972" y="245"/>
                      <a:pt x="986" y="242"/>
                    </a:cubicBezTo>
                    <a:cubicBezTo>
                      <a:pt x="980" y="235"/>
                      <a:pt x="978" y="225"/>
                      <a:pt x="971" y="219"/>
                    </a:cubicBezTo>
                    <a:cubicBezTo>
                      <a:pt x="960" y="218"/>
                      <a:pt x="947" y="217"/>
                      <a:pt x="935" y="216"/>
                    </a:cubicBezTo>
                    <a:cubicBezTo>
                      <a:pt x="936" y="227"/>
                      <a:pt x="939" y="236"/>
                      <a:pt x="941" y="247"/>
                    </a:cubicBezTo>
                    <a:close/>
                    <a:moveTo>
                      <a:pt x="370" y="238"/>
                    </a:moveTo>
                    <a:cubicBezTo>
                      <a:pt x="369" y="238"/>
                      <a:pt x="370" y="239"/>
                      <a:pt x="370" y="238"/>
                    </a:cubicBezTo>
                    <a:moveTo>
                      <a:pt x="370" y="238"/>
                    </a:moveTo>
                    <a:cubicBezTo>
                      <a:pt x="384" y="235"/>
                      <a:pt x="401" y="237"/>
                      <a:pt x="406" y="225"/>
                    </a:cubicBezTo>
                    <a:cubicBezTo>
                      <a:pt x="396" y="224"/>
                      <a:pt x="389" y="220"/>
                      <a:pt x="379" y="219"/>
                    </a:cubicBezTo>
                    <a:cubicBezTo>
                      <a:pt x="377" y="226"/>
                      <a:pt x="372" y="230"/>
                      <a:pt x="370" y="238"/>
                    </a:cubicBezTo>
                    <a:moveTo>
                      <a:pt x="989" y="242"/>
                    </a:moveTo>
                    <a:cubicBezTo>
                      <a:pt x="1017" y="239"/>
                      <a:pt x="1047" y="238"/>
                      <a:pt x="1071" y="230"/>
                    </a:cubicBezTo>
                    <a:cubicBezTo>
                      <a:pt x="1042" y="224"/>
                      <a:pt x="1008" y="222"/>
                      <a:pt x="976" y="219"/>
                    </a:cubicBezTo>
                    <a:cubicBezTo>
                      <a:pt x="980" y="227"/>
                      <a:pt x="984" y="235"/>
                      <a:pt x="989" y="242"/>
                    </a:cubicBezTo>
                    <a:close/>
                    <a:moveTo>
                      <a:pt x="497" y="223"/>
                    </a:moveTo>
                    <a:cubicBezTo>
                      <a:pt x="494" y="227"/>
                      <a:pt x="494" y="233"/>
                      <a:pt x="491" y="238"/>
                    </a:cubicBezTo>
                    <a:cubicBezTo>
                      <a:pt x="495" y="237"/>
                      <a:pt x="497" y="239"/>
                      <a:pt x="502" y="239"/>
                    </a:cubicBezTo>
                    <a:cubicBezTo>
                      <a:pt x="504" y="232"/>
                      <a:pt x="509" y="228"/>
                      <a:pt x="511" y="222"/>
                    </a:cubicBezTo>
                    <a:cubicBezTo>
                      <a:pt x="507" y="223"/>
                      <a:pt x="503" y="224"/>
                      <a:pt x="497" y="223"/>
                    </a:cubicBezTo>
                    <a:close/>
                    <a:moveTo>
                      <a:pt x="1178" y="224"/>
                    </a:moveTo>
                    <a:cubicBezTo>
                      <a:pt x="1177" y="224"/>
                      <a:pt x="1178" y="225"/>
                      <a:pt x="1178" y="224"/>
                    </a:cubicBezTo>
                    <a:close/>
                    <a:moveTo>
                      <a:pt x="445" y="231"/>
                    </a:moveTo>
                    <a:cubicBezTo>
                      <a:pt x="460" y="233"/>
                      <a:pt x="475" y="235"/>
                      <a:pt x="489" y="238"/>
                    </a:cubicBezTo>
                    <a:cubicBezTo>
                      <a:pt x="490" y="232"/>
                      <a:pt x="492" y="229"/>
                      <a:pt x="493" y="224"/>
                    </a:cubicBezTo>
                    <a:cubicBezTo>
                      <a:pt x="477" y="226"/>
                      <a:pt x="459" y="226"/>
                      <a:pt x="445" y="231"/>
                    </a:cubicBezTo>
                    <a:close/>
                    <a:moveTo>
                      <a:pt x="421" y="230"/>
                    </a:moveTo>
                    <a:cubicBezTo>
                      <a:pt x="423" y="230"/>
                      <a:pt x="429" y="229"/>
                      <a:pt x="424" y="229"/>
                    </a:cubicBezTo>
                    <a:cubicBezTo>
                      <a:pt x="419" y="228"/>
                      <a:pt x="414" y="227"/>
                      <a:pt x="409" y="226"/>
                    </a:cubicBezTo>
                    <a:cubicBezTo>
                      <a:pt x="407" y="229"/>
                      <a:pt x="404" y="230"/>
                      <a:pt x="403" y="233"/>
                    </a:cubicBezTo>
                    <a:cubicBezTo>
                      <a:pt x="409" y="232"/>
                      <a:pt x="416" y="231"/>
                      <a:pt x="421" y="230"/>
                    </a:cubicBezTo>
                    <a:close/>
                    <a:moveTo>
                      <a:pt x="1079" y="230"/>
                    </a:moveTo>
                    <a:cubicBezTo>
                      <a:pt x="1078" y="229"/>
                      <a:pt x="1073" y="228"/>
                      <a:pt x="1073" y="230"/>
                    </a:cubicBezTo>
                    <a:cubicBezTo>
                      <a:pt x="1074" y="231"/>
                      <a:pt x="1078" y="232"/>
                      <a:pt x="1079" y="230"/>
                    </a:cubicBezTo>
                    <a:close/>
                    <a:moveTo>
                      <a:pt x="309" y="418"/>
                    </a:moveTo>
                    <a:cubicBezTo>
                      <a:pt x="307" y="419"/>
                      <a:pt x="309" y="419"/>
                      <a:pt x="309" y="418"/>
                    </a:cubicBezTo>
                    <a:moveTo>
                      <a:pt x="309" y="418"/>
                    </a:moveTo>
                    <a:cubicBezTo>
                      <a:pt x="345" y="412"/>
                      <a:pt x="381" y="406"/>
                      <a:pt x="418" y="401"/>
                    </a:cubicBezTo>
                    <a:cubicBezTo>
                      <a:pt x="436" y="359"/>
                      <a:pt x="455" y="318"/>
                      <a:pt x="477" y="281"/>
                    </a:cubicBezTo>
                    <a:cubicBezTo>
                      <a:pt x="479" y="266"/>
                      <a:pt x="484" y="253"/>
                      <a:pt x="488" y="239"/>
                    </a:cubicBezTo>
                    <a:cubicBezTo>
                      <a:pt x="458" y="236"/>
                      <a:pt x="431" y="227"/>
                      <a:pt x="401" y="236"/>
                    </a:cubicBezTo>
                    <a:cubicBezTo>
                      <a:pt x="376" y="263"/>
                      <a:pt x="355" y="294"/>
                      <a:pt x="333" y="324"/>
                    </a:cubicBezTo>
                    <a:cubicBezTo>
                      <a:pt x="324" y="355"/>
                      <a:pt x="314" y="384"/>
                      <a:pt x="309" y="418"/>
                    </a:cubicBezTo>
                    <a:moveTo>
                      <a:pt x="1092" y="232"/>
                    </a:moveTo>
                    <a:cubicBezTo>
                      <a:pt x="1137" y="288"/>
                      <a:pt x="1175" y="350"/>
                      <a:pt x="1208" y="417"/>
                    </a:cubicBezTo>
                    <a:cubicBezTo>
                      <a:pt x="1224" y="419"/>
                      <a:pt x="1240" y="426"/>
                      <a:pt x="1256" y="425"/>
                    </a:cubicBezTo>
                    <a:cubicBezTo>
                      <a:pt x="1244" y="360"/>
                      <a:pt x="1220" y="299"/>
                      <a:pt x="1192" y="247"/>
                    </a:cubicBezTo>
                    <a:cubicBezTo>
                      <a:pt x="1159" y="242"/>
                      <a:pt x="1128" y="235"/>
                      <a:pt x="1092" y="232"/>
                    </a:cubicBezTo>
                    <a:moveTo>
                      <a:pt x="1092" y="232"/>
                    </a:moveTo>
                    <a:cubicBezTo>
                      <a:pt x="1092" y="230"/>
                      <a:pt x="1091" y="232"/>
                      <a:pt x="1092" y="232"/>
                    </a:cubicBezTo>
                    <a:moveTo>
                      <a:pt x="1104" y="252"/>
                    </a:moveTo>
                    <a:cubicBezTo>
                      <a:pt x="1096" y="241"/>
                      <a:pt x="1089" y="225"/>
                      <a:pt x="1075" y="235"/>
                    </a:cubicBezTo>
                    <a:cubicBezTo>
                      <a:pt x="1096" y="285"/>
                      <a:pt x="1109" y="342"/>
                      <a:pt x="1119" y="403"/>
                    </a:cubicBezTo>
                    <a:cubicBezTo>
                      <a:pt x="1148" y="406"/>
                      <a:pt x="1178" y="413"/>
                      <a:pt x="1205" y="415"/>
                    </a:cubicBezTo>
                    <a:cubicBezTo>
                      <a:pt x="1178" y="360"/>
                      <a:pt x="1141" y="300"/>
                      <a:pt x="1104" y="252"/>
                    </a:cubicBezTo>
                    <a:close/>
                    <a:moveTo>
                      <a:pt x="990" y="245"/>
                    </a:moveTo>
                    <a:cubicBezTo>
                      <a:pt x="1015" y="293"/>
                      <a:pt x="1038" y="342"/>
                      <a:pt x="1057" y="395"/>
                    </a:cubicBezTo>
                    <a:cubicBezTo>
                      <a:pt x="1077" y="398"/>
                      <a:pt x="1097" y="399"/>
                      <a:pt x="1116" y="403"/>
                    </a:cubicBezTo>
                    <a:cubicBezTo>
                      <a:pt x="1108" y="349"/>
                      <a:pt x="1096" y="297"/>
                      <a:pt x="1080" y="252"/>
                    </a:cubicBezTo>
                    <a:cubicBezTo>
                      <a:pt x="1078" y="246"/>
                      <a:pt x="1076" y="238"/>
                      <a:pt x="1070" y="235"/>
                    </a:cubicBezTo>
                    <a:cubicBezTo>
                      <a:pt x="1044" y="239"/>
                      <a:pt x="1018" y="243"/>
                      <a:pt x="990" y="245"/>
                    </a:cubicBezTo>
                    <a:close/>
                    <a:moveTo>
                      <a:pt x="368" y="240"/>
                    </a:moveTo>
                    <a:cubicBezTo>
                      <a:pt x="357" y="263"/>
                      <a:pt x="345" y="288"/>
                      <a:pt x="339" y="312"/>
                    </a:cubicBezTo>
                    <a:cubicBezTo>
                      <a:pt x="353" y="289"/>
                      <a:pt x="373" y="265"/>
                      <a:pt x="390" y="245"/>
                    </a:cubicBezTo>
                    <a:cubicBezTo>
                      <a:pt x="392" y="243"/>
                      <a:pt x="395" y="239"/>
                      <a:pt x="394" y="237"/>
                    </a:cubicBezTo>
                    <a:cubicBezTo>
                      <a:pt x="386" y="238"/>
                      <a:pt x="378" y="240"/>
                      <a:pt x="368" y="240"/>
                    </a:cubicBezTo>
                    <a:close/>
                    <a:moveTo>
                      <a:pt x="483" y="268"/>
                    </a:moveTo>
                    <a:cubicBezTo>
                      <a:pt x="480" y="268"/>
                      <a:pt x="484" y="272"/>
                      <a:pt x="483" y="268"/>
                    </a:cubicBezTo>
                    <a:moveTo>
                      <a:pt x="483" y="268"/>
                    </a:moveTo>
                    <a:cubicBezTo>
                      <a:pt x="489" y="260"/>
                      <a:pt x="494" y="251"/>
                      <a:pt x="499" y="241"/>
                    </a:cubicBezTo>
                    <a:cubicBezTo>
                      <a:pt x="496" y="241"/>
                      <a:pt x="494" y="240"/>
                      <a:pt x="490" y="240"/>
                    </a:cubicBezTo>
                    <a:cubicBezTo>
                      <a:pt x="488" y="250"/>
                      <a:pt x="484" y="258"/>
                      <a:pt x="483" y="268"/>
                    </a:cubicBezTo>
                    <a:moveTo>
                      <a:pt x="327" y="249"/>
                    </a:moveTo>
                    <a:cubicBezTo>
                      <a:pt x="315" y="252"/>
                      <a:pt x="301" y="252"/>
                      <a:pt x="294" y="256"/>
                    </a:cubicBezTo>
                    <a:cubicBezTo>
                      <a:pt x="288" y="259"/>
                      <a:pt x="279" y="270"/>
                      <a:pt x="273" y="277"/>
                    </a:cubicBezTo>
                    <a:cubicBezTo>
                      <a:pt x="242" y="313"/>
                      <a:pt x="211" y="348"/>
                      <a:pt x="198" y="402"/>
                    </a:cubicBezTo>
                    <a:cubicBezTo>
                      <a:pt x="222" y="411"/>
                      <a:pt x="245" y="420"/>
                      <a:pt x="271" y="426"/>
                    </a:cubicBezTo>
                    <a:cubicBezTo>
                      <a:pt x="285" y="399"/>
                      <a:pt x="300" y="372"/>
                      <a:pt x="316" y="347"/>
                    </a:cubicBezTo>
                    <a:cubicBezTo>
                      <a:pt x="321" y="339"/>
                      <a:pt x="328" y="330"/>
                      <a:pt x="332" y="322"/>
                    </a:cubicBezTo>
                    <a:cubicBezTo>
                      <a:pt x="344" y="296"/>
                      <a:pt x="348" y="268"/>
                      <a:pt x="365" y="243"/>
                    </a:cubicBezTo>
                    <a:cubicBezTo>
                      <a:pt x="364" y="243"/>
                      <a:pt x="365" y="241"/>
                      <a:pt x="364" y="241"/>
                    </a:cubicBezTo>
                    <a:cubicBezTo>
                      <a:pt x="353" y="243"/>
                      <a:pt x="340" y="246"/>
                      <a:pt x="327" y="249"/>
                    </a:cubicBezTo>
                    <a:close/>
                    <a:moveTo>
                      <a:pt x="504" y="242"/>
                    </a:moveTo>
                    <a:cubicBezTo>
                      <a:pt x="472" y="274"/>
                      <a:pt x="465" y="338"/>
                      <a:pt x="457" y="396"/>
                    </a:cubicBezTo>
                    <a:cubicBezTo>
                      <a:pt x="495" y="392"/>
                      <a:pt x="535" y="389"/>
                      <a:pt x="575" y="385"/>
                    </a:cubicBezTo>
                    <a:cubicBezTo>
                      <a:pt x="587" y="340"/>
                      <a:pt x="599" y="294"/>
                      <a:pt x="614" y="252"/>
                    </a:cubicBezTo>
                    <a:cubicBezTo>
                      <a:pt x="576" y="250"/>
                      <a:pt x="540" y="246"/>
                      <a:pt x="504" y="242"/>
                    </a:cubicBezTo>
                    <a:close/>
                    <a:moveTo>
                      <a:pt x="1194" y="244"/>
                    </a:moveTo>
                    <a:cubicBezTo>
                      <a:pt x="1194" y="245"/>
                      <a:pt x="1194" y="245"/>
                      <a:pt x="1195" y="245"/>
                    </a:cubicBezTo>
                    <a:moveTo>
                      <a:pt x="1195" y="245"/>
                    </a:moveTo>
                    <a:cubicBezTo>
                      <a:pt x="1196" y="247"/>
                      <a:pt x="1196" y="245"/>
                      <a:pt x="1195" y="245"/>
                    </a:cubicBezTo>
                    <a:moveTo>
                      <a:pt x="1195" y="245"/>
                    </a:moveTo>
                    <a:cubicBezTo>
                      <a:pt x="1195" y="244"/>
                      <a:pt x="1195" y="244"/>
                      <a:pt x="1194" y="244"/>
                    </a:cubicBezTo>
                    <a:moveTo>
                      <a:pt x="1194" y="244"/>
                    </a:moveTo>
                    <a:cubicBezTo>
                      <a:pt x="1193" y="243"/>
                      <a:pt x="1193" y="244"/>
                      <a:pt x="1194" y="244"/>
                    </a:cubicBezTo>
                    <a:moveTo>
                      <a:pt x="942" y="250"/>
                    </a:moveTo>
                    <a:cubicBezTo>
                      <a:pt x="949" y="294"/>
                      <a:pt x="955" y="339"/>
                      <a:pt x="960" y="386"/>
                    </a:cubicBezTo>
                    <a:cubicBezTo>
                      <a:pt x="991" y="389"/>
                      <a:pt x="1024" y="391"/>
                      <a:pt x="1054" y="395"/>
                    </a:cubicBezTo>
                    <a:cubicBezTo>
                      <a:pt x="1035" y="342"/>
                      <a:pt x="1013" y="293"/>
                      <a:pt x="988" y="246"/>
                    </a:cubicBezTo>
                    <a:cubicBezTo>
                      <a:pt x="972" y="247"/>
                      <a:pt x="957" y="249"/>
                      <a:pt x="942" y="250"/>
                    </a:cubicBezTo>
                    <a:close/>
                    <a:moveTo>
                      <a:pt x="1259" y="424"/>
                    </a:moveTo>
                    <a:cubicBezTo>
                      <a:pt x="1279" y="419"/>
                      <a:pt x="1296" y="412"/>
                      <a:pt x="1314" y="407"/>
                    </a:cubicBezTo>
                    <a:cubicBezTo>
                      <a:pt x="1282" y="347"/>
                      <a:pt x="1242" y="296"/>
                      <a:pt x="1198" y="249"/>
                    </a:cubicBezTo>
                    <a:cubicBezTo>
                      <a:pt x="1197" y="249"/>
                      <a:pt x="1196" y="249"/>
                      <a:pt x="1196" y="250"/>
                    </a:cubicBezTo>
                    <a:cubicBezTo>
                      <a:pt x="1224" y="301"/>
                      <a:pt x="1245" y="359"/>
                      <a:pt x="1259" y="424"/>
                    </a:cubicBezTo>
                    <a:close/>
                    <a:moveTo>
                      <a:pt x="871" y="255"/>
                    </a:moveTo>
                    <a:cubicBezTo>
                      <a:pt x="883" y="296"/>
                      <a:pt x="891" y="339"/>
                      <a:pt x="899" y="383"/>
                    </a:cubicBezTo>
                    <a:cubicBezTo>
                      <a:pt x="918" y="384"/>
                      <a:pt x="938" y="384"/>
                      <a:pt x="957" y="386"/>
                    </a:cubicBezTo>
                    <a:cubicBezTo>
                      <a:pt x="953" y="345"/>
                      <a:pt x="948" y="301"/>
                      <a:pt x="942" y="264"/>
                    </a:cubicBezTo>
                    <a:cubicBezTo>
                      <a:pt x="941" y="260"/>
                      <a:pt x="941" y="252"/>
                      <a:pt x="936" y="250"/>
                    </a:cubicBezTo>
                    <a:cubicBezTo>
                      <a:pt x="915" y="253"/>
                      <a:pt x="892" y="252"/>
                      <a:pt x="871" y="255"/>
                    </a:cubicBezTo>
                    <a:close/>
                    <a:moveTo>
                      <a:pt x="1317" y="405"/>
                    </a:moveTo>
                    <a:cubicBezTo>
                      <a:pt x="1328" y="400"/>
                      <a:pt x="1340" y="395"/>
                      <a:pt x="1350" y="388"/>
                    </a:cubicBezTo>
                    <a:cubicBezTo>
                      <a:pt x="1332" y="347"/>
                      <a:pt x="1314" y="307"/>
                      <a:pt x="1289" y="273"/>
                    </a:cubicBezTo>
                    <a:cubicBezTo>
                      <a:pt x="1263" y="264"/>
                      <a:pt x="1231" y="255"/>
                      <a:pt x="1204" y="251"/>
                    </a:cubicBezTo>
                    <a:cubicBezTo>
                      <a:pt x="1247" y="297"/>
                      <a:pt x="1284" y="348"/>
                      <a:pt x="1317" y="405"/>
                    </a:cubicBezTo>
                    <a:close/>
                    <a:moveTo>
                      <a:pt x="616" y="253"/>
                    </a:moveTo>
                    <a:cubicBezTo>
                      <a:pt x="602" y="296"/>
                      <a:pt x="589" y="340"/>
                      <a:pt x="578" y="385"/>
                    </a:cubicBezTo>
                    <a:cubicBezTo>
                      <a:pt x="591" y="385"/>
                      <a:pt x="603" y="384"/>
                      <a:pt x="617" y="383"/>
                    </a:cubicBezTo>
                    <a:cubicBezTo>
                      <a:pt x="619" y="338"/>
                      <a:pt x="624" y="295"/>
                      <a:pt x="630" y="253"/>
                    </a:cubicBezTo>
                    <a:cubicBezTo>
                      <a:pt x="625" y="254"/>
                      <a:pt x="618" y="252"/>
                      <a:pt x="616" y="253"/>
                    </a:cubicBezTo>
                    <a:close/>
                    <a:moveTo>
                      <a:pt x="632" y="256"/>
                    </a:moveTo>
                    <a:cubicBezTo>
                      <a:pt x="628" y="298"/>
                      <a:pt x="623" y="339"/>
                      <a:pt x="621" y="383"/>
                    </a:cubicBezTo>
                    <a:cubicBezTo>
                      <a:pt x="658" y="381"/>
                      <a:pt x="697" y="381"/>
                      <a:pt x="735" y="380"/>
                    </a:cubicBezTo>
                    <a:cubicBezTo>
                      <a:pt x="737" y="339"/>
                      <a:pt x="739" y="298"/>
                      <a:pt x="740" y="257"/>
                    </a:cubicBezTo>
                    <a:cubicBezTo>
                      <a:pt x="704" y="257"/>
                      <a:pt x="670" y="255"/>
                      <a:pt x="634" y="254"/>
                    </a:cubicBezTo>
                    <a:cubicBezTo>
                      <a:pt x="634" y="252"/>
                      <a:pt x="632" y="254"/>
                      <a:pt x="632" y="256"/>
                    </a:cubicBezTo>
                    <a:close/>
                    <a:moveTo>
                      <a:pt x="788" y="257"/>
                    </a:moveTo>
                    <a:cubicBezTo>
                      <a:pt x="789" y="297"/>
                      <a:pt x="790" y="338"/>
                      <a:pt x="790" y="380"/>
                    </a:cubicBezTo>
                    <a:cubicBezTo>
                      <a:pt x="825" y="380"/>
                      <a:pt x="860" y="381"/>
                      <a:pt x="894" y="383"/>
                    </a:cubicBezTo>
                    <a:cubicBezTo>
                      <a:pt x="888" y="338"/>
                      <a:pt x="878" y="296"/>
                      <a:pt x="868" y="255"/>
                    </a:cubicBezTo>
                    <a:cubicBezTo>
                      <a:pt x="841" y="255"/>
                      <a:pt x="815" y="257"/>
                      <a:pt x="788" y="257"/>
                    </a:cubicBezTo>
                    <a:close/>
                    <a:moveTo>
                      <a:pt x="744" y="257"/>
                    </a:moveTo>
                    <a:cubicBezTo>
                      <a:pt x="740" y="296"/>
                      <a:pt x="740" y="339"/>
                      <a:pt x="738" y="380"/>
                    </a:cubicBezTo>
                    <a:cubicBezTo>
                      <a:pt x="755" y="380"/>
                      <a:pt x="771" y="380"/>
                      <a:pt x="788" y="380"/>
                    </a:cubicBezTo>
                    <a:cubicBezTo>
                      <a:pt x="788" y="338"/>
                      <a:pt x="786" y="298"/>
                      <a:pt x="786" y="257"/>
                    </a:cubicBezTo>
                    <a:cubicBezTo>
                      <a:pt x="772" y="257"/>
                      <a:pt x="758" y="257"/>
                      <a:pt x="744" y="257"/>
                    </a:cubicBezTo>
                    <a:close/>
                    <a:moveTo>
                      <a:pt x="286" y="259"/>
                    </a:moveTo>
                    <a:cubicBezTo>
                      <a:pt x="277" y="260"/>
                      <a:pt x="270" y="263"/>
                      <a:pt x="262" y="264"/>
                    </a:cubicBezTo>
                    <a:cubicBezTo>
                      <a:pt x="249" y="285"/>
                      <a:pt x="237" y="306"/>
                      <a:pt x="227" y="329"/>
                    </a:cubicBezTo>
                    <a:moveTo>
                      <a:pt x="227" y="329"/>
                    </a:moveTo>
                    <a:cubicBezTo>
                      <a:pt x="226" y="329"/>
                      <a:pt x="227" y="330"/>
                      <a:pt x="226" y="331"/>
                    </a:cubicBezTo>
                    <a:moveTo>
                      <a:pt x="226" y="331"/>
                    </a:moveTo>
                    <a:cubicBezTo>
                      <a:pt x="225" y="331"/>
                      <a:pt x="226" y="332"/>
                      <a:pt x="226" y="331"/>
                    </a:cubicBezTo>
                    <a:moveTo>
                      <a:pt x="226" y="331"/>
                    </a:moveTo>
                    <a:cubicBezTo>
                      <a:pt x="227" y="331"/>
                      <a:pt x="227" y="330"/>
                      <a:pt x="227" y="329"/>
                    </a:cubicBezTo>
                    <a:moveTo>
                      <a:pt x="286" y="259"/>
                    </a:moveTo>
                    <a:cubicBezTo>
                      <a:pt x="266" y="281"/>
                      <a:pt x="246" y="305"/>
                      <a:pt x="227" y="329"/>
                    </a:cubicBezTo>
                    <a:moveTo>
                      <a:pt x="286" y="259"/>
                    </a:moveTo>
                    <a:cubicBezTo>
                      <a:pt x="287" y="258"/>
                      <a:pt x="286" y="258"/>
                      <a:pt x="286" y="259"/>
                    </a:cubicBezTo>
                    <a:moveTo>
                      <a:pt x="257" y="266"/>
                    </a:moveTo>
                    <a:cubicBezTo>
                      <a:pt x="237" y="271"/>
                      <a:pt x="219" y="278"/>
                      <a:pt x="201" y="286"/>
                    </a:cubicBezTo>
                    <a:cubicBezTo>
                      <a:pt x="180" y="309"/>
                      <a:pt x="160" y="334"/>
                      <a:pt x="143" y="361"/>
                    </a:cubicBezTo>
                    <a:cubicBezTo>
                      <a:pt x="152" y="377"/>
                      <a:pt x="168" y="386"/>
                      <a:pt x="184" y="394"/>
                    </a:cubicBezTo>
                    <a:cubicBezTo>
                      <a:pt x="194" y="377"/>
                      <a:pt x="205" y="359"/>
                      <a:pt x="218" y="344"/>
                    </a:cubicBezTo>
                    <a:cubicBezTo>
                      <a:pt x="228" y="316"/>
                      <a:pt x="243" y="291"/>
                      <a:pt x="257" y="266"/>
                    </a:cubicBezTo>
                    <a:moveTo>
                      <a:pt x="257" y="266"/>
                    </a:moveTo>
                    <a:cubicBezTo>
                      <a:pt x="258" y="266"/>
                      <a:pt x="257" y="265"/>
                      <a:pt x="257" y="266"/>
                    </a:cubicBezTo>
                    <a:moveTo>
                      <a:pt x="1292" y="270"/>
                    </a:moveTo>
                    <a:cubicBezTo>
                      <a:pt x="1293" y="272"/>
                      <a:pt x="1293" y="270"/>
                      <a:pt x="1292" y="270"/>
                    </a:cubicBezTo>
                    <a:moveTo>
                      <a:pt x="1292" y="270"/>
                    </a:moveTo>
                    <a:cubicBezTo>
                      <a:pt x="1291" y="269"/>
                      <a:pt x="1291" y="270"/>
                      <a:pt x="1292" y="270"/>
                    </a:cubicBezTo>
                    <a:moveTo>
                      <a:pt x="1295" y="275"/>
                    </a:moveTo>
                    <a:cubicBezTo>
                      <a:pt x="1316" y="310"/>
                      <a:pt x="1336" y="347"/>
                      <a:pt x="1351" y="387"/>
                    </a:cubicBezTo>
                    <a:cubicBezTo>
                      <a:pt x="1360" y="383"/>
                      <a:pt x="1368" y="378"/>
                      <a:pt x="1373" y="371"/>
                    </a:cubicBezTo>
                    <a:cubicBezTo>
                      <a:pt x="1349" y="337"/>
                      <a:pt x="1324" y="306"/>
                      <a:pt x="1298" y="275"/>
                    </a:cubicBezTo>
                    <a:cubicBezTo>
                      <a:pt x="1297" y="275"/>
                      <a:pt x="1296" y="275"/>
                      <a:pt x="1295" y="275"/>
                    </a:cubicBezTo>
                    <a:moveTo>
                      <a:pt x="1295" y="275"/>
                    </a:moveTo>
                    <a:cubicBezTo>
                      <a:pt x="1294" y="274"/>
                      <a:pt x="1294" y="275"/>
                      <a:pt x="1295" y="275"/>
                    </a:cubicBezTo>
                    <a:moveTo>
                      <a:pt x="1375" y="370"/>
                    </a:moveTo>
                    <a:cubicBezTo>
                      <a:pt x="1380" y="364"/>
                      <a:pt x="1385" y="359"/>
                      <a:pt x="1387" y="350"/>
                    </a:cubicBezTo>
                    <a:cubicBezTo>
                      <a:pt x="1378" y="334"/>
                      <a:pt x="1367" y="319"/>
                      <a:pt x="1357" y="303"/>
                    </a:cubicBezTo>
                    <a:cubicBezTo>
                      <a:pt x="1341" y="294"/>
                      <a:pt x="1322" y="283"/>
                      <a:pt x="1303" y="279"/>
                    </a:cubicBezTo>
                    <a:cubicBezTo>
                      <a:pt x="1330" y="307"/>
                      <a:pt x="1352" y="339"/>
                      <a:pt x="1375" y="370"/>
                    </a:cubicBezTo>
                    <a:close/>
                    <a:moveTo>
                      <a:pt x="194" y="289"/>
                    </a:moveTo>
                    <a:cubicBezTo>
                      <a:pt x="177" y="295"/>
                      <a:pt x="173" y="313"/>
                      <a:pt x="164" y="326"/>
                    </a:cubicBezTo>
                    <a:moveTo>
                      <a:pt x="164" y="326"/>
                    </a:moveTo>
                    <a:cubicBezTo>
                      <a:pt x="163" y="326"/>
                      <a:pt x="163" y="326"/>
                      <a:pt x="163" y="327"/>
                    </a:cubicBezTo>
                    <a:moveTo>
                      <a:pt x="163" y="327"/>
                    </a:moveTo>
                    <a:cubicBezTo>
                      <a:pt x="162" y="327"/>
                      <a:pt x="162" y="328"/>
                      <a:pt x="162" y="329"/>
                    </a:cubicBezTo>
                    <a:moveTo>
                      <a:pt x="162" y="329"/>
                    </a:moveTo>
                    <a:cubicBezTo>
                      <a:pt x="161" y="329"/>
                      <a:pt x="162" y="330"/>
                      <a:pt x="162" y="329"/>
                    </a:cubicBezTo>
                    <a:moveTo>
                      <a:pt x="162" y="329"/>
                    </a:moveTo>
                    <a:cubicBezTo>
                      <a:pt x="163" y="329"/>
                      <a:pt x="163" y="328"/>
                      <a:pt x="163" y="327"/>
                    </a:cubicBezTo>
                    <a:moveTo>
                      <a:pt x="163" y="327"/>
                    </a:moveTo>
                    <a:cubicBezTo>
                      <a:pt x="164" y="327"/>
                      <a:pt x="164" y="326"/>
                      <a:pt x="164" y="326"/>
                    </a:cubicBezTo>
                    <a:moveTo>
                      <a:pt x="164" y="326"/>
                    </a:moveTo>
                    <a:cubicBezTo>
                      <a:pt x="174" y="314"/>
                      <a:pt x="184" y="302"/>
                      <a:pt x="194" y="289"/>
                    </a:cubicBezTo>
                    <a:moveTo>
                      <a:pt x="194" y="289"/>
                    </a:moveTo>
                    <a:cubicBezTo>
                      <a:pt x="195" y="289"/>
                      <a:pt x="194" y="288"/>
                      <a:pt x="194" y="289"/>
                    </a:cubicBezTo>
                    <a:moveTo>
                      <a:pt x="472" y="295"/>
                    </a:moveTo>
                    <a:cubicBezTo>
                      <a:pt x="472" y="295"/>
                      <a:pt x="471" y="295"/>
                      <a:pt x="471" y="295"/>
                    </a:cubicBezTo>
                    <a:cubicBezTo>
                      <a:pt x="454" y="329"/>
                      <a:pt x="436" y="362"/>
                      <a:pt x="422" y="400"/>
                    </a:cubicBezTo>
                    <a:moveTo>
                      <a:pt x="422" y="400"/>
                    </a:moveTo>
                    <a:cubicBezTo>
                      <a:pt x="421" y="400"/>
                      <a:pt x="422" y="401"/>
                      <a:pt x="422" y="400"/>
                    </a:cubicBezTo>
                    <a:moveTo>
                      <a:pt x="422" y="400"/>
                    </a:moveTo>
                    <a:cubicBezTo>
                      <a:pt x="434" y="400"/>
                      <a:pt x="442" y="397"/>
                      <a:pt x="454" y="397"/>
                    </a:cubicBezTo>
                    <a:cubicBezTo>
                      <a:pt x="458" y="361"/>
                      <a:pt x="466" y="329"/>
                      <a:pt x="472" y="295"/>
                    </a:cubicBezTo>
                    <a:moveTo>
                      <a:pt x="472" y="295"/>
                    </a:moveTo>
                    <a:cubicBezTo>
                      <a:pt x="475" y="295"/>
                      <a:pt x="471" y="291"/>
                      <a:pt x="472" y="295"/>
                    </a:cubicBezTo>
                    <a:moveTo>
                      <a:pt x="178" y="297"/>
                    </a:moveTo>
                    <a:cubicBezTo>
                      <a:pt x="158" y="308"/>
                      <a:pt x="126" y="328"/>
                      <a:pt x="141" y="359"/>
                    </a:cubicBezTo>
                    <a:cubicBezTo>
                      <a:pt x="153" y="338"/>
                      <a:pt x="165" y="317"/>
                      <a:pt x="178" y="297"/>
                    </a:cubicBezTo>
                    <a:moveTo>
                      <a:pt x="178" y="297"/>
                    </a:moveTo>
                    <a:cubicBezTo>
                      <a:pt x="180" y="296"/>
                      <a:pt x="178" y="296"/>
                      <a:pt x="178" y="297"/>
                    </a:cubicBezTo>
                    <a:moveTo>
                      <a:pt x="1364" y="309"/>
                    </a:moveTo>
                    <a:cubicBezTo>
                      <a:pt x="1364" y="309"/>
                      <a:pt x="1364" y="310"/>
                      <a:pt x="1365" y="310"/>
                    </a:cubicBezTo>
                    <a:moveTo>
                      <a:pt x="1365" y="310"/>
                    </a:moveTo>
                    <a:cubicBezTo>
                      <a:pt x="1365" y="310"/>
                      <a:pt x="1365" y="310"/>
                      <a:pt x="1366" y="311"/>
                    </a:cubicBezTo>
                    <a:moveTo>
                      <a:pt x="1366" y="311"/>
                    </a:moveTo>
                    <a:cubicBezTo>
                      <a:pt x="1366" y="312"/>
                      <a:pt x="1366" y="312"/>
                      <a:pt x="1367" y="312"/>
                    </a:cubicBezTo>
                    <a:moveTo>
                      <a:pt x="1367" y="312"/>
                    </a:moveTo>
                    <a:cubicBezTo>
                      <a:pt x="1367" y="313"/>
                      <a:pt x="1367" y="313"/>
                      <a:pt x="1368" y="313"/>
                    </a:cubicBezTo>
                    <a:moveTo>
                      <a:pt x="1368" y="313"/>
                    </a:moveTo>
                    <a:cubicBezTo>
                      <a:pt x="1374" y="324"/>
                      <a:pt x="1380" y="335"/>
                      <a:pt x="1388" y="345"/>
                    </a:cubicBezTo>
                    <a:cubicBezTo>
                      <a:pt x="1386" y="330"/>
                      <a:pt x="1375" y="324"/>
                      <a:pt x="1368" y="313"/>
                    </a:cubicBezTo>
                    <a:moveTo>
                      <a:pt x="1368" y="313"/>
                    </a:moveTo>
                    <a:cubicBezTo>
                      <a:pt x="1368" y="313"/>
                      <a:pt x="1367" y="312"/>
                      <a:pt x="1367" y="312"/>
                    </a:cubicBezTo>
                    <a:moveTo>
                      <a:pt x="1367" y="312"/>
                    </a:moveTo>
                    <a:cubicBezTo>
                      <a:pt x="1367" y="311"/>
                      <a:pt x="1367" y="311"/>
                      <a:pt x="1366" y="311"/>
                    </a:cubicBezTo>
                    <a:moveTo>
                      <a:pt x="1366" y="311"/>
                    </a:moveTo>
                    <a:cubicBezTo>
                      <a:pt x="1366" y="310"/>
                      <a:pt x="1365" y="310"/>
                      <a:pt x="1365" y="310"/>
                    </a:cubicBezTo>
                    <a:moveTo>
                      <a:pt x="1365" y="310"/>
                    </a:moveTo>
                    <a:cubicBezTo>
                      <a:pt x="1365" y="309"/>
                      <a:pt x="1365" y="309"/>
                      <a:pt x="1364" y="309"/>
                    </a:cubicBezTo>
                    <a:moveTo>
                      <a:pt x="1364" y="309"/>
                    </a:moveTo>
                    <a:cubicBezTo>
                      <a:pt x="1363" y="307"/>
                      <a:pt x="1363" y="309"/>
                      <a:pt x="1364" y="309"/>
                    </a:cubicBezTo>
                    <a:moveTo>
                      <a:pt x="1379" y="323"/>
                    </a:moveTo>
                    <a:cubicBezTo>
                      <a:pt x="1380" y="324"/>
                      <a:pt x="1380" y="323"/>
                      <a:pt x="1379" y="323"/>
                    </a:cubicBezTo>
                    <a:moveTo>
                      <a:pt x="1379" y="323"/>
                    </a:moveTo>
                    <a:cubicBezTo>
                      <a:pt x="1379" y="322"/>
                      <a:pt x="1378" y="323"/>
                      <a:pt x="1379" y="323"/>
                    </a:cubicBezTo>
                    <a:moveTo>
                      <a:pt x="160" y="332"/>
                    </a:moveTo>
                    <a:cubicBezTo>
                      <a:pt x="159" y="332"/>
                      <a:pt x="160" y="333"/>
                      <a:pt x="160" y="332"/>
                    </a:cubicBezTo>
                    <a:moveTo>
                      <a:pt x="160" y="332"/>
                    </a:moveTo>
                    <a:cubicBezTo>
                      <a:pt x="161" y="331"/>
                      <a:pt x="160" y="330"/>
                      <a:pt x="160" y="332"/>
                    </a:cubicBezTo>
                    <a:moveTo>
                      <a:pt x="224" y="334"/>
                    </a:moveTo>
                    <a:cubicBezTo>
                      <a:pt x="224" y="333"/>
                      <a:pt x="225" y="334"/>
                      <a:pt x="224" y="334"/>
                    </a:cubicBezTo>
                    <a:close/>
                    <a:moveTo>
                      <a:pt x="326" y="336"/>
                    </a:moveTo>
                    <a:cubicBezTo>
                      <a:pt x="307" y="364"/>
                      <a:pt x="290" y="395"/>
                      <a:pt x="274" y="426"/>
                    </a:cubicBezTo>
                    <a:cubicBezTo>
                      <a:pt x="285" y="423"/>
                      <a:pt x="296" y="421"/>
                      <a:pt x="306" y="419"/>
                    </a:cubicBezTo>
                    <a:cubicBezTo>
                      <a:pt x="311" y="390"/>
                      <a:pt x="319" y="364"/>
                      <a:pt x="326" y="336"/>
                    </a:cubicBezTo>
                    <a:moveTo>
                      <a:pt x="326" y="336"/>
                    </a:moveTo>
                    <a:cubicBezTo>
                      <a:pt x="329" y="336"/>
                      <a:pt x="325" y="332"/>
                      <a:pt x="326" y="336"/>
                    </a:cubicBezTo>
                    <a:moveTo>
                      <a:pt x="44" y="524"/>
                    </a:moveTo>
                    <a:cubicBezTo>
                      <a:pt x="49" y="523"/>
                      <a:pt x="54" y="514"/>
                      <a:pt x="59" y="510"/>
                    </a:cubicBezTo>
                    <a:cubicBezTo>
                      <a:pt x="80" y="455"/>
                      <a:pt x="109" y="407"/>
                      <a:pt x="139" y="360"/>
                    </a:cubicBezTo>
                    <a:cubicBezTo>
                      <a:pt x="134" y="356"/>
                      <a:pt x="135" y="347"/>
                      <a:pt x="133" y="339"/>
                    </a:cubicBezTo>
                    <a:cubicBezTo>
                      <a:pt x="97" y="394"/>
                      <a:pt x="66" y="454"/>
                      <a:pt x="44" y="524"/>
                    </a:cubicBezTo>
                    <a:close/>
                    <a:moveTo>
                      <a:pt x="1483" y="528"/>
                    </a:moveTo>
                    <a:cubicBezTo>
                      <a:pt x="1482" y="532"/>
                      <a:pt x="1486" y="529"/>
                      <a:pt x="1483" y="528"/>
                    </a:cubicBezTo>
                    <a:moveTo>
                      <a:pt x="1483" y="528"/>
                    </a:moveTo>
                    <a:cubicBezTo>
                      <a:pt x="1460" y="465"/>
                      <a:pt x="1432" y="396"/>
                      <a:pt x="1393" y="347"/>
                    </a:cubicBezTo>
                    <a:cubicBezTo>
                      <a:pt x="1393" y="347"/>
                      <a:pt x="1391" y="343"/>
                      <a:pt x="1390" y="345"/>
                    </a:cubicBezTo>
                    <a:cubicBezTo>
                      <a:pt x="1401" y="371"/>
                      <a:pt x="1415" y="395"/>
                      <a:pt x="1425" y="421"/>
                    </a:cubicBezTo>
                    <a:cubicBezTo>
                      <a:pt x="1436" y="447"/>
                      <a:pt x="1448" y="473"/>
                      <a:pt x="1455" y="503"/>
                    </a:cubicBezTo>
                    <a:cubicBezTo>
                      <a:pt x="1466" y="510"/>
                      <a:pt x="1474" y="519"/>
                      <a:pt x="1483" y="528"/>
                    </a:cubicBezTo>
                    <a:moveTo>
                      <a:pt x="1376" y="374"/>
                    </a:moveTo>
                    <a:cubicBezTo>
                      <a:pt x="1396" y="402"/>
                      <a:pt x="1417" y="437"/>
                      <a:pt x="1432" y="470"/>
                    </a:cubicBezTo>
                    <a:cubicBezTo>
                      <a:pt x="1437" y="481"/>
                      <a:pt x="1440" y="496"/>
                      <a:pt x="1452" y="499"/>
                    </a:cubicBezTo>
                    <a:cubicBezTo>
                      <a:pt x="1435" y="446"/>
                      <a:pt x="1415" y="397"/>
                      <a:pt x="1389" y="354"/>
                    </a:cubicBezTo>
                    <a:cubicBezTo>
                      <a:pt x="1386" y="362"/>
                      <a:pt x="1380" y="367"/>
                      <a:pt x="1376" y="374"/>
                    </a:cubicBezTo>
                    <a:close/>
                    <a:moveTo>
                      <a:pt x="212" y="356"/>
                    </a:moveTo>
                    <a:cubicBezTo>
                      <a:pt x="212" y="355"/>
                      <a:pt x="213" y="356"/>
                      <a:pt x="212" y="356"/>
                    </a:cubicBezTo>
                    <a:close/>
                    <a:moveTo>
                      <a:pt x="211" y="358"/>
                    </a:moveTo>
                    <a:cubicBezTo>
                      <a:pt x="202" y="370"/>
                      <a:pt x="193" y="382"/>
                      <a:pt x="186" y="396"/>
                    </a:cubicBezTo>
                    <a:cubicBezTo>
                      <a:pt x="190" y="396"/>
                      <a:pt x="192" y="399"/>
                      <a:pt x="196" y="400"/>
                    </a:cubicBezTo>
                    <a:cubicBezTo>
                      <a:pt x="201" y="386"/>
                      <a:pt x="206" y="372"/>
                      <a:pt x="211" y="358"/>
                    </a:cubicBezTo>
                    <a:moveTo>
                      <a:pt x="211" y="358"/>
                    </a:moveTo>
                    <a:cubicBezTo>
                      <a:pt x="212" y="357"/>
                      <a:pt x="211" y="356"/>
                      <a:pt x="211" y="358"/>
                    </a:cubicBezTo>
                    <a:moveTo>
                      <a:pt x="94" y="487"/>
                    </a:moveTo>
                    <a:cubicBezTo>
                      <a:pt x="109" y="477"/>
                      <a:pt x="127" y="470"/>
                      <a:pt x="146" y="463"/>
                    </a:cubicBezTo>
                    <a:cubicBezTo>
                      <a:pt x="156" y="439"/>
                      <a:pt x="170" y="418"/>
                      <a:pt x="182" y="396"/>
                    </a:cubicBezTo>
                    <a:cubicBezTo>
                      <a:pt x="166" y="389"/>
                      <a:pt x="152" y="378"/>
                      <a:pt x="141" y="365"/>
                    </a:cubicBezTo>
                    <a:cubicBezTo>
                      <a:pt x="123" y="403"/>
                      <a:pt x="103" y="444"/>
                      <a:pt x="94" y="487"/>
                    </a:cubicBezTo>
                    <a:close/>
                    <a:moveTo>
                      <a:pt x="132" y="376"/>
                    </a:moveTo>
                    <a:cubicBezTo>
                      <a:pt x="132" y="375"/>
                      <a:pt x="133" y="376"/>
                      <a:pt x="132" y="376"/>
                    </a:cubicBezTo>
                    <a:close/>
                    <a:moveTo>
                      <a:pt x="1374" y="375"/>
                    </a:moveTo>
                    <a:cubicBezTo>
                      <a:pt x="1368" y="382"/>
                      <a:pt x="1359" y="386"/>
                      <a:pt x="1352" y="391"/>
                    </a:cubicBezTo>
                    <a:cubicBezTo>
                      <a:pt x="1362" y="413"/>
                      <a:pt x="1369" y="437"/>
                      <a:pt x="1375" y="462"/>
                    </a:cubicBezTo>
                    <a:cubicBezTo>
                      <a:pt x="1398" y="469"/>
                      <a:pt x="1420" y="482"/>
                      <a:pt x="1439" y="490"/>
                    </a:cubicBezTo>
                    <a:cubicBezTo>
                      <a:pt x="1419" y="450"/>
                      <a:pt x="1399" y="409"/>
                      <a:pt x="1374" y="375"/>
                    </a:cubicBezTo>
                    <a:close/>
                    <a:moveTo>
                      <a:pt x="131" y="378"/>
                    </a:moveTo>
                    <a:cubicBezTo>
                      <a:pt x="131" y="378"/>
                      <a:pt x="131" y="378"/>
                      <a:pt x="130" y="378"/>
                    </a:cubicBezTo>
                    <a:cubicBezTo>
                      <a:pt x="106" y="418"/>
                      <a:pt x="82" y="459"/>
                      <a:pt x="64" y="505"/>
                    </a:cubicBezTo>
                    <a:moveTo>
                      <a:pt x="64" y="505"/>
                    </a:moveTo>
                    <a:cubicBezTo>
                      <a:pt x="63" y="506"/>
                      <a:pt x="64" y="507"/>
                      <a:pt x="64" y="505"/>
                    </a:cubicBezTo>
                    <a:moveTo>
                      <a:pt x="64" y="505"/>
                    </a:moveTo>
                    <a:cubicBezTo>
                      <a:pt x="73" y="500"/>
                      <a:pt x="80" y="494"/>
                      <a:pt x="90" y="489"/>
                    </a:cubicBezTo>
                    <a:cubicBezTo>
                      <a:pt x="100" y="448"/>
                      <a:pt x="116" y="413"/>
                      <a:pt x="131" y="378"/>
                    </a:cubicBezTo>
                    <a:moveTo>
                      <a:pt x="131" y="378"/>
                    </a:moveTo>
                    <a:cubicBezTo>
                      <a:pt x="133" y="377"/>
                      <a:pt x="131" y="377"/>
                      <a:pt x="131" y="378"/>
                    </a:cubicBezTo>
                    <a:moveTo>
                      <a:pt x="620" y="385"/>
                    </a:moveTo>
                    <a:cubicBezTo>
                      <a:pt x="619" y="415"/>
                      <a:pt x="617" y="444"/>
                      <a:pt x="616" y="473"/>
                    </a:cubicBezTo>
                    <a:cubicBezTo>
                      <a:pt x="654" y="475"/>
                      <a:pt x="693" y="476"/>
                      <a:pt x="732" y="477"/>
                    </a:cubicBezTo>
                    <a:cubicBezTo>
                      <a:pt x="733" y="445"/>
                      <a:pt x="734" y="414"/>
                      <a:pt x="735" y="383"/>
                    </a:cubicBezTo>
                    <a:cubicBezTo>
                      <a:pt x="695" y="382"/>
                      <a:pt x="658" y="384"/>
                      <a:pt x="620" y="385"/>
                    </a:cubicBezTo>
                    <a:close/>
                    <a:moveTo>
                      <a:pt x="739" y="383"/>
                    </a:moveTo>
                    <a:cubicBezTo>
                      <a:pt x="736" y="412"/>
                      <a:pt x="736" y="445"/>
                      <a:pt x="735" y="477"/>
                    </a:cubicBezTo>
                    <a:cubicBezTo>
                      <a:pt x="753" y="477"/>
                      <a:pt x="771" y="477"/>
                      <a:pt x="789" y="477"/>
                    </a:cubicBezTo>
                    <a:cubicBezTo>
                      <a:pt x="789" y="445"/>
                      <a:pt x="787" y="415"/>
                      <a:pt x="788" y="383"/>
                    </a:cubicBezTo>
                    <a:cubicBezTo>
                      <a:pt x="772" y="383"/>
                      <a:pt x="755" y="383"/>
                      <a:pt x="739" y="383"/>
                    </a:cubicBezTo>
                    <a:close/>
                    <a:moveTo>
                      <a:pt x="792" y="383"/>
                    </a:moveTo>
                    <a:cubicBezTo>
                      <a:pt x="790" y="412"/>
                      <a:pt x="791" y="446"/>
                      <a:pt x="791" y="477"/>
                    </a:cubicBezTo>
                    <a:cubicBezTo>
                      <a:pt x="831" y="476"/>
                      <a:pt x="871" y="475"/>
                      <a:pt x="910" y="473"/>
                    </a:cubicBezTo>
                    <a:cubicBezTo>
                      <a:pt x="905" y="443"/>
                      <a:pt x="901" y="414"/>
                      <a:pt x="895" y="385"/>
                    </a:cubicBezTo>
                    <a:cubicBezTo>
                      <a:pt x="862" y="384"/>
                      <a:pt x="827" y="382"/>
                      <a:pt x="792" y="383"/>
                    </a:cubicBezTo>
                    <a:close/>
                    <a:moveTo>
                      <a:pt x="616" y="385"/>
                    </a:moveTo>
                    <a:cubicBezTo>
                      <a:pt x="616" y="385"/>
                      <a:pt x="615" y="385"/>
                      <a:pt x="615" y="385"/>
                    </a:cubicBezTo>
                    <a:cubicBezTo>
                      <a:pt x="603" y="387"/>
                      <a:pt x="589" y="387"/>
                      <a:pt x="577" y="388"/>
                    </a:cubicBezTo>
                    <a:cubicBezTo>
                      <a:pt x="571" y="416"/>
                      <a:pt x="564" y="441"/>
                      <a:pt x="559" y="470"/>
                    </a:cubicBezTo>
                    <a:cubicBezTo>
                      <a:pt x="578" y="470"/>
                      <a:pt x="595" y="472"/>
                      <a:pt x="613" y="473"/>
                    </a:cubicBezTo>
                    <a:cubicBezTo>
                      <a:pt x="612" y="443"/>
                      <a:pt x="617" y="409"/>
                      <a:pt x="616" y="385"/>
                    </a:cubicBezTo>
                    <a:close/>
                    <a:moveTo>
                      <a:pt x="914" y="473"/>
                    </a:moveTo>
                    <a:cubicBezTo>
                      <a:pt x="930" y="472"/>
                      <a:pt x="946" y="470"/>
                      <a:pt x="963" y="470"/>
                    </a:cubicBezTo>
                    <a:cubicBezTo>
                      <a:pt x="960" y="443"/>
                      <a:pt x="960" y="414"/>
                      <a:pt x="957" y="388"/>
                    </a:cubicBezTo>
                    <a:cubicBezTo>
                      <a:pt x="937" y="388"/>
                      <a:pt x="919" y="386"/>
                      <a:pt x="900" y="385"/>
                    </a:cubicBezTo>
                    <a:cubicBezTo>
                      <a:pt x="904" y="415"/>
                      <a:pt x="910" y="442"/>
                      <a:pt x="914" y="473"/>
                    </a:cubicBezTo>
                    <a:close/>
                    <a:moveTo>
                      <a:pt x="456" y="399"/>
                    </a:moveTo>
                    <a:cubicBezTo>
                      <a:pt x="454" y="419"/>
                      <a:pt x="451" y="438"/>
                      <a:pt x="450" y="459"/>
                    </a:cubicBezTo>
                    <a:cubicBezTo>
                      <a:pt x="486" y="462"/>
                      <a:pt x="520" y="467"/>
                      <a:pt x="557" y="469"/>
                    </a:cubicBezTo>
                    <a:cubicBezTo>
                      <a:pt x="561" y="441"/>
                      <a:pt x="569" y="416"/>
                      <a:pt x="574" y="388"/>
                    </a:cubicBezTo>
                    <a:cubicBezTo>
                      <a:pt x="534" y="391"/>
                      <a:pt x="494" y="394"/>
                      <a:pt x="456" y="399"/>
                    </a:cubicBezTo>
                    <a:close/>
                    <a:moveTo>
                      <a:pt x="960" y="389"/>
                    </a:moveTo>
                    <a:cubicBezTo>
                      <a:pt x="962" y="415"/>
                      <a:pt x="964" y="441"/>
                      <a:pt x="965" y="469"/>
                    </a:cubicBezTo>
                    <a:cubicBezTo>
                      <a:pt x="1003" y="467"/>
                      <a:pt x="1042" y="464"/>
                      <a:pt x="1076" y="457"/>
                    </a:cubicBezTo>
                    <a:cubicBezTo>
                      <a:pt x="1068" y="438"/>
                      <a:pt x="1062" y="417"/>
                      <a:pt x="1055" y="397"/>
                    </a:cubicBezTo>
                    <a:cubicBezTo>
                      <a:pt x="1023" y="395"/>
                      <a:pt x="993" y="391"/>
                      <a:pt x="960" y="389"/>
                    </a:cubicBezTo>
                    <a:close/>
                    <a:moveTo>
                      <a:pt x="1349" y="392"/>
                    </a:moveTo>
                    <a:cubicBezTo>
                      <a:pt x="1340" y="398"/>
                      <a:pt x="1329" y="402"/>
                      <a:pt x="1319" y="407"/>
                    </a:cubicBezTo>
                    <a:cubicBezTo>
                      <a:pt x="1327" y="421"/>
                      <a:pt x="1335" y="436"/>
                      <a:pt x="1343" y="451"/>
                    </a:cubicBezTo>
                    <a:cubicBezTo>
                      <a:pt x="1354" y="453"/>
                      <a:pt x="1362" y="458"/>
                      <a:pt x="1373" y="460"/>
                    </a:cubicBezTo>
                    <a:cubicBezTo>
                      <a:pt x="1366" y="439"/>
                      <a:pt x="1359" y="407"/>
                      <a:pt x="1349" y="392"/>
                    </a:cubicBezTo>
                    <a:close/>
                    <a:moveTo>
                      <a:pt x="184" y="398"/>
                    </a:moveTo>
                    <a:cubicBezTo>
                      <a:pt x="173" y="419"/>
                      <a:pt x="160" y="439"/>
                      <a:pt x="150" y="461"/>
                    </a:cubicBezTo>
                    <a:cubicBezTo>
                      <a:pt x="160" y="458"/>
                      <a:pt x="170" y="454"/>
                      <a:pt x="181" y="451"/>
                    </a:cubicBezTo>
                    <a:cubicBezTo>
                      <a:pt x="185" y="434"/>
                      <a:pt x="190" y="419"/>
                      <a:pt x="195" y="403"/>
                    </a:cubicBezTo>
                    <a:cubicBezTo>
                      <a:pt x="191" y="401"/>
                      <a:pt x="188" y="399"/>
                      <a:pt x="184" y="398"/>
                    </a:cubicBezTo>
                    <a:close/>
                    <a:moveTo>
                      <a:pt x="1079" y="458"/>
                    </a:moveTo>
                    <a:cubicBezTo>
                      <a:pt x="1094" y="457"/>
                      <a:pt x="1108" y="454"/>
                      <a:pt x="1123" y="453"/>
                    </a:cubicBezTo>
                    <a:cubicBezTo>
                      <a:pt x="1122" y="436"/>
                      <a:pt x="1119" y="421"/>
                      <a:pt x="1117" y="405"/>
                    </a:cubicBezTo>
                    <a:cubicBezTo>
                      <a:pt x="1097" y="404"/>
                      <a:pt x="1077" y="398"/>
                      <a:pt x="1058" y="399"/>
                    </a:cubicBezTo>
                    <a:cubicBezTo>
                      <a:pt x="1066" y="417"/>
                      <a:pt x="1071" y="439"/>
                      <a:pt x="1079" y="458"/>
                    </a:cubicBezTo>
                    <a:close/>
                    <a:moveTo>
                      <a:pt x="420" y="403"/>
                    </a:moveTo>
                    <a:cubicBezTo>
                      <a:pt x="414" y="419"/>
                      <a:pt x="407" y="435"/>
                      <a:pt x="401" y="453"/>
                    </a:cubicBezTo>
                    <a:cubicBezTo>
                      <a:pt x="417" y="454"/>
                      <a:pt x="431" y="457"/>
                      <a:pt x="447" y="458"/>
                    </a:cubicBezTo>
                    <a:cubicBezTo>
                      <a:pt x="449" y="438"/>
                      <a:pt x="451" y="418"/>
                      <a:pt x="454" y="399"/>
                    </a:cubicBezTo>
                    <a:cubicBezTo>
                      <a:pt x="453" y="399"/>
                      <a:pt x="453" y="399"/>
                      <a:pt x="452" y="399"/>
                    </a:cubicBezTo>
                    <a:cubicBezTo>
                      <a:pt x="442" y="401"/>
                      <a:pt x="431" y="402"/>
                      <a:pt x="420" y="403"/>
                    </a:cubicBezTo>
                    <a:close/>
                    <a:moveTo>
                      <a:pt x="185" y="450"/>
                    </a:moveTo>
                    <a:cubicBezTo>
                      <a:pt x="210" y="440"/>
                      <a:pt x="240" y="435"/>
                      <a:pt x="266" y="427"/>
                    </a:cubicBezTo>
                    <a:cubicBezTo>
                      <a:pt x="241" y="421"/>
                      <a:pt x="219" y="413"/>
                      <a:pt x="198" y="404"/>
                    </a:cubicBezTo>
                    <a:cubicBezTo>
                      <a:pt x="193" y="418"/>
                      <a:pt x="187" y="436"/>
                      <a:pt x="185" y="450"/>
                    </a:cubicBezTo>
                    <a:close/>
                    <a:moveTo>
                      <a:pt x="308" y="421"/>
                    </a:moveTo>
                    <a:cubicBezTo>
                      <a:pt x="307" y="425"/>
                      <a:pt x="307" y="430"/>
                      <a:pt x="305" y="434"/>
                    </a:cubicBezTo>
                    <a:cubicBezTo>
                      <a:pt x="335" y="441"/>
                      <a:pt x="366" y="447"/>
                      <a:pt x="398" y="452"/>
                    </a:cubicBezTo>
                    <a:cubicBezTo>
                      <a:pt x="401" y="444"/>
                      <a:pt x="405" y="436"/>
                      <a:pt x="408" y="428"/>
                    </a:cubicBezTo>
                    <a:cubicBezTo>
                      <a:pt x="411" y="419"/>
                      <a:pt x="416" y="410"/>
                      <a:pt x="414" y="404"/>
                    </a:cubicBezTo>
                    <a:cubicBezTo>
                      <a:pt x="378" y="409"/>
                      <a:pt x="343" y="415"/>
                      <a:pt x="308" y="421"/>
                    </a:cubicBezTo>
                    <a:close/>
                    <a:moveTo>
                      <a:pt x="1126" y="452"/>
                    </a:moveTo>
                    <a:cubicBezTo>
                      <a:pt x="1156" y="447"/>
                      <a:pt x="1185" y="442"/>
                      <a:pt x="1213" y="435"/>
                    </a:cubicBezTo>
                    <a:cubicBezTo>
                      <a:pt x="1212" y="429"/>
                      <a:pt x="1208" y="425"/>
                      <a:pt x="1206" y="419"/>
                    </a:cubicBezTo>
                    <a:cubicBezTo>
                      <a:pt x="1178" y="415"/>
                      <a:pt x="1148" y="407"/>
                      <a:pt x="1119" y="407"/>
                    </a:cubicBezTo>
                    <a:cubicBezTo>
                      <a:pt x="1123" y="420"/>
                      <a:pt x="1123" y="437"/>
                      <a:pt x="1126" y="452"/>
                    </a:cubicBezTo>
                    <a:close/>
                    <a:moveTo>
                      <a:pt x="1317" y="408"/>
                    </a:moveTo>
                    <a:cubicBezTo>
                      <a:pt x="1298" y="416"/>
                      <a:pt x="1277" y="420"/>
                      <a:pt x="1260" y="429"/>
                    </a:cubicBezTo>
                    <a:cubicBezTo>
                      <a:pt x="1288" y="434"/>
                      <a:pt x="1313" y="441"/>
                      <a:pt x="1338" y="449"/>
                    </a:cubicBezTo>
                    <a:cubicBezTo>
                      <a:pt x="1332" y="434"/>
                      <a:pt x="1323" y="423"/>
                      <a:pt x="1317" y="408"/>
                    </a:cubicBezTo>
                    <a:close/>
                    <a:moveTo>
                      <a:pt x="1216" y="434"/>
                    </a:moveTo>
                    <a:cubicBezTo>
                      <a:pt x="1226" y="433"/>
                      <a:pt x="1237" y="431"/>
                      <a:pt x="1245" y="427"/>
                    </a:cubicBezTo>
                    <a:cubicBezTo>
                      <a:pt x="1232" y="426"/>
                      <a:pt x="1220" y="420"/>
                      <a:pt x="1209" y="421"/>
                    </a:cubicBezTo>
                    <a:cubicBezTo>
                      <a:pt x="1213" y="424"/>
                      <a:pt x="1214" y="430"/>
                      <a:pt x="1216" y="434"/>
                    </a:cubicBezTo>
                    <a:close/>
                    <a:moveTo>
                      <a:pt x="279" y="427"/>
                    </a:moveTo>
                    <a:cubicBezTo>
                      <a:pt x="285" y="431"/>
                      <a:pt x="295" y="431"/>
                      <a:pt x="303" y="433"/>
                    </a:cubicBezTo>
                    <a:cubicBezTo>
                      <a:pt x="303" y="429"/>
                      <a:pt x="305" y="426"/>
                      <a:pt x="305" y="422"/>
                    </a:cubicBezTo>
                    <a:cubicBezTo>
                      <a:pt x="296" y="423"/>
                      <a:pt x="289" y="426"/>
                      <a:pt x="279" y="427"/>
                    </a:cubicBezTo>
                    <a:close/>
                    <a:moveTo>
                      <a:pt x="1218" y="437"/>
                    </a:moveTo>
                    <a:cubicBezTo>
                      <a:pt x="1240" y="486"/>
                      <a:pt x="1259" y="538"/>
                      <a:pt x="1277" y="593"/>
                    </a:cubicBezTo>
                    <a:cubicBezTo>
                      <a:pt x="1275" y="533"/>
                      <a:pt x="1270" y="478"/>
                      <a:pt x="1257" y="430"/>
                    </a:cubicBezTo>
                    <a:cubicBezTo>
                      <a:pt x="1244" y="429"/>
                      <a:pt x="1232" y="435"/>
                      <a:pt x="1218" y="437"/>
                    </a:cubicBezTo>
                    <a:close/>
                    <a:moveTo>
                      <a:pt x="183" y="453"/>
                    </a:moveTo>
                    <a:cubicBezTo>
                      <a:pt x="169" y="514"/>
                      <a:pt x="159" y="583"/>
                      <a:pt x="163" y="659"/>
                    </a:cubicBezTo>
                    <a:cubicBezTo>
                      <a:pt x="171" y="655"/>
                      <a:pt x="179" y="652"/>
                      <a:pt x="188" y="650"/>
                    </a:cubicBezTo>
                    <a:cubicBezTo>
                      <a:pt x="208" y="570"/>
                      <a:pt x="235" y="496"/>
                      <a:pt x="270" y="430"/>
                    </a:cubicBezTo>
                    <a:cubicBezTo>
                      <a:pt x="269" y="430"/>
                      <a:pt x="268" y="430"/>
                      <a:pt x="268" y="430"/>
                    </a:cubicBezTo>
                    <a:cubicBezTo>
                      <a:pt x="239" y="437"/>
                      <a:pt x="210" y="444"/>
                      <a:pt x="183" y="453"/>
                    </a:cubicBezTo>
                    <a:close/>
                    <a:moveTo>
                      <a:pt x="192" y="648"/>
                    </a:moveTo>
                    <a:cubicBezTo>
                      <a:pt x="190" y="649"/>
                      <a:pt x="192" y="650"/>
                      <a:pt x="192" y="648"/>
                    </a:cubicBezTo>
                    <a:moveTo>
                      <a:pt x="192" y="648"/>
                    </a:moveTo>
                    <a:cubicBezTo>
                      <a:pt x="223" y="640"/>
                      <a:pt x="254" y="630"/>
                      <a:pt x="289" y="623"/>
                    </a:cubicBezTo>
                    <a:cubicBezTo>
                      <a:pt x="287" y="555"/>
                      <a:pt x="293" y="494"/>
                      <a:pt x="302" y="436"/>
                    </a:cubicBezTo>
                    <a:cubicBezTo>
                      <a:pt x="292" y="434"/>
                      <a:pt x="283" y="431"/>
                      <a:pt x="272" y="430"/>
                    </a:cubicBezTo>
                    <a:cubicBezTo>
                      <a:pt x="239" y="496"/>
                      <a:pt x="211" y="568"/>
                      <a:pt x="192" y="648"/>
                    </a:cubicBezTo>
                    <a:moveTo>
                      <a:pt x="1275" y="515"/>
                    </a:moveTo>
                    <a:cubicBezTo>
                      <a:pt x="1279" y="557"/>
                      <a:pt x="1276" y="605"/>
                      <a:pt x="1288" y="636"/>
                    </a:cubicBezTo>
                    <a:cubicBezTo>
                      <a:pt x="1316" y="643"/>
                      <a:pt x="1341" y="652"/>
                      <a:pt x="1367" y="660"/>
                    </a:cubicBezTo>
                    <a:cubicBezTo>
                      <a:pt x="1377" y="657"/>
                      <a:pt x="1386" y="652"/>
                      <a:pt x="1397" y="648"/>
                    </a:cubicBezTo>
                    <a:cubicBezTo>
                      <a:pt x="1395" y="622"/>
                      <a:pt x="1398" y="600"/>
                      <a:pt x="1394" y="577"/>
                    </a:cubicBezTo>
                    <a:cubicBezTo>
                      <a:pt x="1392" y="567"/>
                      <a:pt x="1386" y="555"/>
                      <a:pt x="1382" y="545"/>
                    </a:cubicBezTo>
                    <a:cubicBezTo>
                      <a:pt x="1370" y="512"/>
                      <a:pt x="1354" y="481"/>
                      <a:pt x="1340" y="452"/>
                    </a:cubicBezTo>
                    <a:cubicBezTo>
                      <a:pt x="1314" y="444"/>
                      <a:pt x="1288" y="437"/>
                      <a:pt x="1261" y="431"/>
                    </a:cubicBezTo>
                    <a:cubicBezTo>
                      <a:pt x="1266" y="456"/>
                      <a:pt x="1272" y="485"/>
                      <a:pt x="1275" y="515"/>
                    </a:cubicBezTo>
                    <a:close/>
                    <a:moveTo>
                      <a:pt x="305" y="437"/>
                    </a:moveTo>
                    <a:cubicBezTo>
                      <a:pt x="295" y="493"/>
                      <a:pt x="288" y="559"/>
                      <a:pt x="293" y="623"/>
                    </a:cubicBezTo>
                    <a:cubicBezTo>
                      <a:pt x="311" y="617"/>
                      <a:pt x="332" y="615"/>
                      <a:pt x="351" y="610"/>
                    </a:cubicBezTo>
                    <a:cubicBezTo>
                      <a:pt x="364" y="556"/>
                      <a:pt x="379" y="504"/>
                      <a:pt x="397" y="455"/>
                    </a:cubicBezTo>
                    <a:cubicBezTo>
                      <a:pt x="366" y="449"/>
                      <a:pt x="335" y="444"/>
                      <a:pt x="305" y="437"/>
                    </a:cubicBezTo>
                    <a:close/>
                    <a:moveTo>
                      <a:pt x="1126" y="455"/>
                    </a:moveTo>
                    <a:cubicBezTo>
                      <a:pt x="1131" y="501"/>
                      <a:pt x="1133" y="551"/>
                      <a:pt x="1133" y="603"/>
                    </a:cubicBezTo>
                    <a:cubicBezTo>
                      <a:pt x="1182" y="612"/>
                      <a:pt x="1231" y="620"/>
                      <a:pt x="1277" y="633"/>
                    </a:cubicBezTo>
                    <a:cubicBezTo>
                      <a:pt x="1279" y="602"/>
                      <a:pt x="1270" y="583"/>
                      <a:pt x="1263" y="561"/>
                    </a:cubicBezTo>
                    <a:cubicBezTo>
                      <a:pt x="1248" y="517"/>
                      <a:pt x="1234" y="477"/>
                      <a:pt x="1215" y="438"/>
                    </a:cubicBezTo>
                    <a:cubicBezTo>
                      <a:pt x="1214" y="438"/>
                      <a:pt x="1214" y="438"/>
                      <a:pt x="1213" y="438"/>
                    </a:cubicBezTo>
                    <a:cubicBezTo>
                      <a:pt x="1185" y="445"/>
                      <a:pt x="1156" y="450"/>
                      <a:pt x="1126" y="455"/>
                    </a:cubicBezTo>
                    <a:close/>
                    <a:moveTo>
                      <a:pt x="179" y="454"/>
                    </a:moveTo>
                    <a:cubicBezTo>
                      <a:pt x="168" y="457"/>
                      <a:pt x="158" y="461"/>
                      <a:pt x="147" y="465"/>
                    </a:cubicBezTo>
                    <a:cubicBezTo>
                      <a:pt x="123" y="516"/>
                      <a:pt x="101" y="568"/>
                      <a:pt x="85" y="627"/>
                    </a:cubicBezTo>
                    <a:cubicBezTo>
                      <a:pt x="108" y="640"/>
                      <a:pt x="131" y="652"/>
                      <a:pt x="159" y="660"/>
                    </a:cubicBezTo>
                    <a:cubicBezTo>
                      <a:pt x="157" y="583"/>
                      <a:pt x="168" y="513"/>
                      <a:pt x="179" y="454"/>
                    </a:cubicBezTo>
                    <a:close/>
                    <a:moveTo>
                      <a:pt x="1392" y="564"/>
                    </a:moveTo>
                    <a:cubicBezTo>
                      <a:pt x="1388" y="528"/>
                      <a:pt x="1381" y="495"/>
                      <a:pt x="1374" y="463"/>
                    </a:cubicBezTo>
                    <a:cubicBezTo>
                      <a:pt x="1363" y="461"/>
                      <a:pt x="1354" y="457"/>
                      <a:pt x="1345" y="454"/>
                    </a:cubicBezTo>
                    <a:cubicBezTo>
                      <a:pt x="1362" y="489"/>
                      <a:pt x="1378" y="525"/>
                      <a:pt x="1392" y="564"/>
                    </a:cubicBezTo>
                    <a:close/>
                    <a:moveTo>
                      <a:pt x="401" y="455"/>
                    </a:moveTo>
                    <a:cubicBezTo>
                      <a:pt x="382" y="503"/>
                      <a:pt x="367" y="556"/>
                      <a:pt x="354" y="610"/>
                    </a:cubicBezTo>
                    <a:cubicBezTo>
                      <a:pt x="383" y="605"/>
                      <a:pt x="412" y="600"/>
                      <a:pt x="442" y="597"/>
                    </a:cubicBezTo>
                    <a:cubicBezTo>
                      <a:pt x="442" y="550"/>
                      <a:pt x="443" y="504"/>
                      <a:pt x="447" y="461"/>
                    </a:cubicBezTo>
                    <a:cubicBezTo>
                      <a:pt x="432" y="459"/>
                      <a:pt x="415" y="458"/>
                      <a:pt x="401" y="455"/>
                    </a:cubicBezTo>
                    <a:close/>
                    <a:moveTo>
                      <a:pt x="1080" y="461"/>
                    </a:moveTo>
                    <a:cubicBezTo>
                      <a:pt x="1093" y="507"/>
                      <a:pt x="1106" y="553"/>
                      <a:pt x="1116" y="601"/>
                    </a:cubicBezTo>
                    <a:cubicBezTo>
                      <a:pt x="1121" y="602"/>
                      <a:pt x="1125" y="602"/>
                      <a:pt x="1130" y="603"/>
                    </a:cubicBezTo>
                    <a:cubicBezTo>
                      <a:pt x="1130" y="551"/>
                      <a:pt x="1129" y="501"/>
                      <a:pt x="1123" y="455"/>
                    </a:cubicBezTo>
                    <a:cubicBezTo>
                      <a:pt x="1108" y="457"/>
                      <a:pt x="1094" y="459"/>
                      <a:pt x="1080" y="461"/>
                    </a:cubicBezTo>
                    <a:close/>
                    <a:moveTo>
                      <a:pt x="445" y="596"/>
                    </a:moveTo>
                    <a:cubicBezTo>
                      <a:pt x="475" y="592"/>
                      <a:pt x="505" y="589"/>
                      <a:pt x="535" y="586"/>
                    </a:cubicBezTo>
                    <a:cubicBezTo>
                      <a:pt x="542" y="548"/>
                      <a:pt x="548" y="509"/>
                      <a:pt x="556" y="472"/>
                    </a:cubicBezTo>
                    <a:cubicBezTo>
                      <a:pt x="519" y="469"/>
                      <a:pt x="483" y="466"/>
                      <a:pt x="449" y="461"/>
                    </a:cubicBezTo>
                    <a:cubicBezTo>
                      <a:pt x="446" y="504"/>
                      <a:pt x="444" y="549"/>
                      <a:pt x="445" y="596"/>
                    </a:cubicBezTo>
                    <a:close/>
                    <a:moveTo>
                      <a:pt x="965" y="472"/>
                    </a:moveTo>
                    <a:cubicBezTo>
                      <a:pt x="967" y="507"/>
                      <a:pt x="966" y="546"/>
                      <a:pt x="966" y="584"/>
                    </a:cubicBezTo>
                    <a:cubicBezTo>
                      <a:pt x="1016" y="589"/>
                      <a:pt x="1065" y="594"/>
                      <a:pt x="1113" y="600"/>
                    </a:cubicBezTo>
                    <a:cubicBezTo>
                      <a:pt x="1102" y="553"/>
                      <a:pt x="1092" y="503"/>
                      <a:pt x="1075" y="461"/>
                    </a:cubicBezTo>
                    <a:cubicBezTo>
                      <a:pt x="1039" y="466"/>
                      <a:pt x="1003" y="470"/>
                      <a:pt x="965" y="472"/>
                    </a:cubicBezTo>
                    <a:close/>
                    <a:moveTo>
                      <a:pt x="1388" y="521"/>
                    </a:moveTo>
                    <a:cubicBezTo>
                      <a:pt x="1391" y="540"/>
                      <a:pt x="1392" y="559"/>
                      <a:pt x="1396" y="577"/>
                    </a:cubicBezTo>
                    <a:cubicBezTo>
                      <a:pt x="1400" y="600"/>
                      <a:pt x="1412" y="620"/>
                      <a:pt x="1416" y="640"/>
                    </a:cubicBezTo>
                    <a:cubicBezTo>
                      <a:pt x="1437" y="628"/>
                      <a:pt x="1459" y="617"/>
                      <a:pt x="1473" y="599"/>
                    </a:cubicBezTo>
                    <a:cubicBezTo>
                      <a:pt x="1470" y="557"/>
                      <a:pt x="1454" y="529"/>
                      <a:pt x="1442" y="496"/>
                    </a:cubicBezTo>
                    <a:cubicBezTo>
                      <a:pt x="1421" y="484"/>
                      <a:pt x="1400" y="473"/>
                      <a:pt x="1376" y="465"/>
                    </a:cubicBezTo>
                    <a:cubicBezTo>
                      <a:pt x="1381" y="483"/>
                      <a:pt x="1385" y="502"/>
                      <a:pt x="1388" y="521"/>
                    </a:cubicBezTo>
                    <a:close/>
                    <a:moveTo>
                      <a:pt x="91" y="491"/>
                    </a:moveTo>
                    <a:cubicBezTo>
                      <a:pt x="82" y="531"/>
                      <a:pt x="72" y="570"/>
                      <a:pt x="69" y="616"/>
                    </a:cubicBezTo>
                    <a:cubicBezTo>
                      <a:pt x="73" y="619"/>
                      <a:pt x="78" y="623"/>
                      <a:pt x="83" y="625"/>
                    </a:cubicBezTo>
                    <a:cubicBezTo>
                      <a:pt x="98" y="568"/>
                      <a:pt x="121" y="515"/>
                      <a:pt x="142" y="467"/>
                    </a:cubicBezTo>
                    <a:cubicBezTo>
                      <a:pt x="124" y="474"/>
                      <a:pt x="107" y="482"/>
                      <a:pt x="91" y="491"/>
                    </a:cubicBezTo>
                    <a:close/>
                    <a:moveTo>
                      <a:pt x="558" y="472"/>
                    </a:moveTo>
                    <a:cubicBezTo>
                      <a:pt x="551" y="509"/>
                      <a:pt x="545" y="548"/>
                      <a:pt x="538" y="586"/>
                    </a:cubicBezTo>
                    <a:cubicBezTo>
                      <a:pt x="562" y="584"/>
                      <a:pt x="586" y="582"/>
                      <a:pt x="611" y="581"/>
                    </a:cubicBezTo>
                    <a:cubicBezTo>
                      <a:pt x="611" y="545"/>
                      <a:pt x="613" y="511"/>
                      <a:pt x="612" y="476"/>
                    </a:cubicBezTo>
                    <a:cubicBezTo>
                      <a:pt x="594" y="474"/>
                      <a:pt x="576" y="474"/>
                      <a:pt x="558" y="472"/>
                    </a:cubicBezTo>
                    <a:close/>
                    <a:moveTo>
                      <a:pt x="915" y="476"/>
                    </a:moveTo>
                    <a:cubicBezTo>
                      <a:pt x="919" y="511"/>
                      <a:pt x="925" y="546"/>
                      <a:pt x="928" y="582"/>
                    </a:cubicBezTo>
                    <a:cubicBezTo>
                      <a:pt x="941" y="582"/>
                      <a:pt x="952" y="584"/>
                      <a:pt x="965" y="584"/>
                    </a:cubicBezTo>
                    <a:cubicBezTo>
                      <a:pt x="965" y="546"/>
                      <a:pt x="963" y="510"/>
                      <a:pt x="963" y="473"/>
                    </a:cubicBezTo>
                    <a:cubicBezTo>
                      <a:pt x="946" y="473"/>
                      <a:pt x="930" y="474"/>
                      <a:pt x="915" y="476"/>
                    </a:cubicBezTo>
                    <a:close/>
                    <a:moveTo>
                      <a:pt x="617" y="476"/>
                    </a:moveTo>
                    <a:cubicBezTo>
                      <a:pt x="614" y="508"/>
                      <a:pt x="615" y="545"/>
                      <a:pt x="615" y="580"/>
                    </a:cubicBezTo>
                    <a:cubicBezTo>
                      <a:pt x="653" y="579"/>
                      <a:pt x="691" y="577"/>
                      <a:pt x="729" y="576"/>
                    </a:cubicBezTo>
                    <a:cubicBezTo>
                      <a:pt x="731" y="545"/>
                      <a:pt x="731" y="511"/>
                      <a:pt x="732" y="479"/>
                    </a:cubicBezTo>
                    <a:cubicBezTo>
                      <a:pt x="693" y="479"/>
                      <a:pt x="654" y="478"/>
                      <a:pt x="617" y="476"/>
                    </a:cubicBezTo>
                    <a:close/>
                    <a:moveTo>
                      <a:pt x="791" y="479"/>
                    </a:moveTo>
                    <a:cubicBezTo>
                      <a:pt x="791" y="513"/>
                      <a:pt x="791" y="544"/>
                      <a:pt x="791" y="576"/>
                    </a:cubicBezTo>
                    <a:cubicBezTo>
                      <a:pt x="836" y="577"/>
                      <a:pt x="881" y="579"/>
                      <a:pt x="924" y="581"/>
                    </a:cubicBezTo>
                    <a:cubicBezTo>
                      <a:pt x="920" y="546"/>
                      <a:pt x="915" y="511"/>
                      <a:pt x="911" y="476"/>
                    </a:cubicBezTo>
                    <a:cubicBezTo>
                      <a:pt x="872" y="478"/>
                      <a:pt x="831" y="479"/>
                      <a:pt x="791" y="479"/>
                    </a:cubicBezTo>
                    <a:close/>
                    <a:moveTo>
                      <a:pt x="736" y="479"/>
                    </a:moveTo>
                    <a:cubicBezTo>
                      <a:pt x="732" y="509"/>
                      <a:pt x="734" y="545"/>
                      <a:pt x="732" y="576"/>
                    </a:cubicBezTo>
                    <a:cubicBezTo>
                      <a:pt x="751" y="576"/>
                      <a:pt x="770" y="576"/>
                      <a:pt x="789" y="576"/>
                    </a:cubicBezTo>
                    <a:cubicBezTo>
                      <a:pt x="789" y="544"/>
                      <a:pt x="789" y="512"/>
                      <a:pt x="789" y="479"/>
                    </a:cubicBezTo>
                    <a:cubicBezTo>
                      <a:pt x="771" y="479"/>
                      <a:pt x="754" y="479"/>
                      <a:pt x="736" y="479"/>
                    </a:cubicBezTo>
                    <a:close/>
                    <a:moveTo>
                      <a:pt x="60" y="512"/>
                    </a:moveTo>
                    <a:cubicBezTo>
                      <a:pt x="53" y="535"/>
                      <a:pt x="44" y="556"/>
                      <a:pt x="37" y="580"/>
                    </a:cubicBezTo>
                    <a:cubicBezTo>
                      <a:pt x="45" y="593"/>
                      <a:pt x="53" y="606"/>
                      <a:pt x="67" y="613"/>
                    </a:cubicBezTo>
                    <a:cubicBezTo>
                      <a:pt x="69" y="569"/>
                      <a:pt x="81" y="529"/>
                      <a:pt x="87" y="493"/>
                    </a:cubicBezTo>
                    <a:cubicBezTo>
                      <a:pt x="78" y="499"/>
                      <a:pt x="69" y="505"/>
                      <a:pt x="60" y="512"/>
                    </a:cubicBezTo>
                    <a:close/>
                    <a:moveTo>
                      <a:pt x="1462" y="539"/>
                    </a:moveTo>
                    <a:cubicBezTo>
                      <a:pt x="1461" y="543"/>
                      <a:pt x="1465" y="539"/>
                      <a:pt x="1462" y="539"/>
                    </a:cubicBezTo>
                    <a:moveTo>
                      <a:pt x="1462" y="539"/>
                    </a:moveTo>
                    <a:cubicBezTo>
                      <a:pt x="1458" y="526"/>
                      <a:pt x="1458" y="502"/>
                      <a:pt x="1446" y="501"/>
                    </a:cubicBezTo>
                    <a:cubicBezTo>
                      <a:pt x="1452" y="512"/>
                      <a:pt x="1456" y="526"/>
                      <a:pt x="1462" y="539"/>
                    </a:cubicBezTo>
                    <a:moveTo>
                      <a:pt x="1480" y="592"/>
                    </a:moveTo>
                    <a:cubicBezTo>
                      <a:pt x="1504" y="563"/>
                      <a:pt x="1482" y="521"/>
                      <a:pt x="1457" y="507"/>
                    </a:cubicBezTo>
                    <a:cubicBezTo>
                      <a:pt x="1465" y="535"/>
                      <a:pt x="1469" y="567"/>
                      <a:pt x="1480" y="592"/>
                    </a:cubicBezTo>
                    <a:close/>
                    <a:moveTo>
                      <a:pt x="36" y="575"/>
                    </a:moveTo>
                    <a:cubicBezTo>
                      <a:pt x="40" y="555"/>
                      <a:pt x="51" y="536"/>
                      <a:pt x="54" y="517"/>
                    </a:cubicBezTo>
                    <a:cubicBezTo>
                      <a:pt x="42" y="529"/>
                      <a:pt x="28" y="553"/>
                      <a:pt x="36" y="575"/>
                    </a:cubicBezTo>
                    <a:close/>
                    <a:moveTo>
                      <a:pt x="1463" y="544"/>
                    </a:moveTo>
                    <a:cubicBezTo>
                      <a:pt x="1462" y="543"/>
                      <a:pt x="1463" y="544"/>
                      <a:pt x="1463" y="544"/>
                    </a:cubicBezTo>
                    <a:close/>
                    <a:moveTo>
                      <a:pt x="1480" y="597"/>
                    </a:moveTo>
                    <a:cubicBezTo>
                      <a:pt x="1494" y="642"/>
                      <a:pt x="1503" y="692"/>
                      <a:pt x="1508" y="747"/>
                    </a:cubicBezTo>
                    <a:cubicBezTo>
                      <a:pt x="1512" y="753"/>
                      <a:pt x="1516" y="760"/>
                      <a:pt x="1519" y="767"/>
                    </a:cubicBezTo>
                    <a:cubicBezTo>
                      <a:pt x="1521" y="690"/>
                      <a:pt x="1511" y="622"/>
                      <a:pt x="1494" y="563"/>
                    </a:cubicBezTo>
                    <a:cubicBezTo>
                      <a:pt x="1493" y="578"/>
                      <a:pt x="1486" y="587"/>
                      <a:pt x="1480" y="597"/>
                    </a:cubicBezTo>
                    <a:close/>
                    <a:moveTo>
                      <a:pt x="17" y="654"/>
                    </a:moveTo>
                    <a:cubicBezTo>
                      <a:pt x="21" y="628"/>
                      <a:pt x="28" y="604"/>
                      <a:pt x="34" y="580"/>
                    </a:cubicBezTo>
                    <a:cubicBezTo>
                      <a:pt x="33" y="577"/>
                      <a:pt x="32" y="573"/>
                      <a:pt x="30" y="570"/>
                    </a:cubicBezTo>
                    <a:cubicBezTo>
                      <a:pt x="26" y="597"/>
                      <a:pt x="18" y="626"/>
                      <a:pt x="17" y="654"/>
                    </a:cubicBezTo>
                    <a:close/>
                    <a:moveTo>
                      <a:pt x="615" y="583"/>
                    </a:moveTo>
                    <a:cubicBezTo>
                      <a:pt x="616" y="635"/>
                      <a:pt x="617" y="686"/>
                      <a:pt x="620" y="736"/>
                    </a:cubicBezTo>
                    <a:cubicBezTo>
                      <a:pt x="655" y="737"/>
                      <a:pt x="690" y="739"/>
                      <a:pt x="726" y="739"/>
                    </a:cubicBezTo>
                    <a:cubicBezTo>
                      <a:pt x="728" y="686"/>
                      <a:pt x="729" y="633"/>
                      <a:pt x="729" y="579"/>
                    </a:cubicBezTo>
                    <a:cubicBezTo>
                      <a:pt x="690" y="580"/>
                      <a:pt x="652" y="581"/>
                      <a:pt x="615" y="583"/>
                    </a:cubicBezTo>
                    <a:close/>
                    <a:moveTo>
                      <a:pt x="729" y="739"/>
                    </a:moveTo>
                    <a:cubicBezTo>
                      <a:pt x="750" y="738"/>
                      <a:pt x="769" y="740"/>
                      <a:pt x="788" y="739"/>
                    </a:cubicBezTo>
                    <a:cubicBezTo>
                      <a:pt x="788" y="685"/>
                      <a:pt x="790" y="633"/>
                      <a:pt x="789" y="579"/>
                    </a:cubicBezTo>
                    <a:cubicBezTo>
                      <a:pt x="770" y="579"/>
                      <a:pt x="752" y="579"/>
                      <a:pt x="733" y="579"/>
                    </a:cubicBezTo>
                    <a:cubicBezTo>
                      <a:pt x="730" y="630"/>
                      <a:pt x="731" y="686"/>
                      <a:pt x="729" y="739"/>
                    </a:cubicBezTo>
                    <a:close/>
                    <a:moveTo>
                      <a:pt x="791" y="582"/>
                    </a:moveTo>
                    <a:cubicBezTo>
                      <a:pt x="791" y="634"/>
                      <a:pt x="791" y="687"/>
                      <a:pt x="791" y="739"/>
                    </a:cubicBezTo>
                    <a:cubicBezTo>
                      <a:pt x="842" y="739"/>
                      <a:pt x="890" y="736"/>
                      <a:pt x="938" y="734"/>
                    </a:cubicBezTo>
                    <a:cubicBezTo>
                      <a:pt x="934" y="683"/>
                      <a:pt x="930" y="633"/>
                      <a:pt x="924" y="584"/>
                    </a:cubicBezTo>
                    <a:cubicBezTo>
                      <a:pt x="881" y="581"/>
                      <a:pt x="837" y="580"/>
                      <a:pt x="792" y="579"/>
                    </a:cubicBezTo>
                    <a:cubicBezTo>
                      <a:pt x="791" y="579"/>
                      <a:pt x="791" y="581"/>
                      <a:pt x="791" y="582"/>
                    </a:cubicBezTo>
                    <a:close/>
                    <a:moveTo>
                      <a:pt x="538" y="588"/>
                    </a:moveTo>
                    <a:cubicBezTo>
                      <a:pt x="531" y="634"/>
                      <a:pt x="526" y="681"/>
                      <a:pt x="521" y="729"/>
                    </a:cubicBezTo>
                    <a:cubicBezTo>
                      <a:pt x="552" y="732"/>
                      <a:pt x="584" y="734"/>
                      <a:pt x="616" y="736"/>
                    </a:cubicBezTo>
                    <a:cubicBezTo>
                      <a:pt x="612" y="686"/>
                      <a:pt x="615" y="630"/>
                      <a:pt x="609" y="583"/>
                    </a:cubicBezTo>
                    <a:cubicBezTo>
                      <a:pt x="586" y="585"/>
                      <a:pt x="562" y="587"/>
                      <a:pt x="538" y="588"/>
                    </a:cubicBezTo>
                    <a:close/>
                    <a:moveTo>
                      <a:pt x="929" y="584"/>
                    </a:moveTo>
                    <a:cubicBezTo>
                      <a:pt x="933" y="634"/>
                      <a:pt x="939" y="682"/>
                      <a:pt x="942" y="734"/>
                    </a:cubicBezTo>
                    <a:cubicBezTo>
                      <a:pt x="946" y="733"/>
                      <a:pt x="953" y="733"/>
                      <a:pt x="959" y="733"/>
                    </a:cubicBezTo>
                    <a:cubicBezTo>
                      <a:pt x="962" y="685"/>
                      <a:pt x="963" y="636"/>
                      <a:pt x="965" y="587"/>
                    </a:cubicBezTo>
                    <a:cubicBezTo>
                      <a:pt x="953" y="585"/>
                      <a:pt x="941" y="585"/>
                      <a:pt x="929" y="584"/>
                    </a:cubicBezTo>
                    <a:close/>
                    <a:moveTo>
                      <a:pt x="13" y="752"/>
                    </a:moveTo>
                    <a:cubicBezTo>
                      <a:pt x="25" y="732"/>
                      <a:pt x="46" y="719"/>
                      <a:pt x="63" y="704"/>
                    </a:cubicBezTo>
                    <a:cubicBezTo>
                      <a:pt x="63" y="674"/>
                      <a:pt x="63" y="645"/>
                      <a:pt x="66" y="618"/>
                    </a:cubicBezTo>
                    <a:cubicBezTo>
                      <a:pt x="54" y="609"/>
                      <a:pt x="45" y="597"/>
                      <a:pt x="35" y="585"/>
                    </a:cubicBezTo>
                    <a:cubicBezTo>
                      <a:pt x="23" y="635"/>
                      <a:pt x="7" y="690"/>
                      <a:pt x="13" y="752"/>
                    </a:cubicBezTo>
                    <a:close/>
                    <a:moveTo>
                      <a:pt x="967" y="587"/>
                    </a:moveTo>
                    <a:cubicBezTo>
                      <a:pt x="965" y="635"/>
                      <a:pt x="965" y="686"/>
                      <a:pt x="961" y="732"/>
                    </a:cubicBezTo>
                    <a:cubicBezTo>
                      <a:pt x="1017" y="729"/>
                      <a:pt x="1071" y="723"/>
                      <a:pt x="1123" y="716"/>
                    </a:cubicBezTo>
                    <a:cubicBezTo>
                      <a:pt x="1132" y="675"/>
                      <a:pt x="1121" y="639"/>
                      <a:pt x="1114" y="603"/>
                    </a:cubicBezTo>
                    <a:cubicBezTo>
                      <a:pt x="1067" y="597"/>
                      <a:pt x="1018" y="591"/>
                      <a:pt x="967" y="587"/>
                    </a:cubicBezTo>
                    <a:close/>
                    <a:moveTo>
                      <a:pt x="1476" y="597"/>
                    </a:moveTo>
                    <a:cubicBezTo>
                      <a:pt x="1478" y="594"/>
                      <a:pt x="1476" y="589"/>
                      <a:pt x="1474" y="587"/>
                    </a:cubicBezTo>
                    <a:cubicBezTo>
                      <a:pt x="1475" y="590"/>
                      <a:pt x="1475" y="594"/>
                      <a:pt x="1476" y="597"/>
                    </a:cubicBezTo>
                    <a:close/>
                    <a:moveTo>
                      <a:pt x="445" y="599"/>
                    </a:moveTo>
                    <a:cubicBezTo>
                      <a:pt x="446" y="641"/>
                      <a:pt x="448" y="683"/>
                      <a:pt x="452" y="722"/>
                    </a:cubicBezTo>
                    <a:cubicBezTo>
                      <a:pt x="474" y="725"/>
                      <a:pt x="496" y="727"/>
                      <a:pt x="518" y="729"/>
                    </a:cubicBezTo>
                    <a:cubicBezTo>
                      <a:pt x="523" y="682"/>
                      <a:pt x="528" y="634"/>
                      <a:pt x="535" y="589"/>
                    </a:cubicBezTo>
                    <a:cubicBezTo>
                      <a:pt x="504" y="591"/>
                      <a:pt x="475" y="595"/>
                      <a:pt x="445" y="599"/>
                    </a:cubicBezTo>
                    <a:close/>
                    <a:moveTo>
                      <a:pt x="1398" y="592"/>
                    </a:moveTo>
                    <a:cubicBezTo>
                      <a:pt x="1398" y="610"/>
                      <a:pt x="1399" y="628"/>
                      <a:pt x="1399" y="647"/>
                    </a:cubicBezTo>
                    <a:cubicBezTo>
                      <a:pt x="1404" y="644"/>
                      <a:pt x="1410" y="644"/>
                      <a:pt x="1412" y="640"/>
                    </a:cubicBezTo>
                    <a:cubicBezTo>
                      <a:pt x="1407" y="624"/>
                      <a:pt x="1403" y="607"/>
                      <a:pt x="1398" y="592"/>
                    </a:cubicBezTo>
                    <a:moveTo>
                      <a:pt x="1398" y="592"/>
                    </a:moveTo>
                    <a:cubicBezTo>
                      <a:pt x="1399" y="587"/>
                      <a:pt x="1395" y="591"/>
                      <a:pt x="1398" y="592"/>
                    </a:cubicBezTo>
                    <a:moveTo>
                      <a:pt x="354" y="612"/>
                    </a:moveTo>
                    <a:cubicBezTo>
                      <a:pt x="346" y="641"/>
                      <a:pt x="341" y="673"/>
                      <a:pt x="335" y="705"/>
                    </a:cubicBezTo>
                    <a:cubicBezTo>
                      <a:pt x="372" y="712"/>
                      <a:pt x="409" y="718"/>
                      <a:pt x="449" y="721"/>
                    </a:cubicBezTo>
                    <a:cubicBezTo>
                      <a:pt x="445" y="682"/>
                      <a:pt x="445" y="639"/>
                      <a:pt x="441" y="599"/>
                    </a:cubicBezTo>
                    <a:cubicBezTo>
                      <a:pt x="412" y="603"/>
                      <a:pt x="383" y="607"/>
                      <a:pt x="354" y="612"/>
                    </a:cubicBezTo>
                    <a:close/>
                    <a:moveTo>
                      <a:pt x="1483" y="721"/>
                    </a:moveTo>
                    <a:cubicBezTo>
                      <a:pt x="1487" y="724"/>
                      <a:pt x="1490" y="729"/>
                      <a:pt x="1494" y="733"/>
                    </a:cubicBezTo>
                    <a:cubicBezTo>
                      <a:pt x="1498" y="736"/>
                      <a:pt x="1504" y="743"/>
                      <a:pt x="1505" y="742"/>
                    </a:cubicBezTo>
                    <a:cubicBezTo>
                      <a:pt x="1499" y="690"/>
                      <a:pt x="1492" y="641"/>
                      <a:pt x="1477" y="599"/>
                    </a:cubicBezTo>
                    <a:cubicBezTo>
                      <a:pt x="1480" y="635"/>
                      <a:pt x="1484" y="678"/>
                      <a:pt x="1483" y="721"/>
                    </a:cubicBezTo>
                    <a:close/>
                    <a:moveTo>
                      <a:pt x="1416" y="642"/>
                    </a:moveTo>
                    <a:cubicBezTo>
                      <a:pt x="1419" y="657"/>
                      <a:pt x="1423" y="671"/>
                      <a:pt x="1425" y="686"/>
                    </a:cubicBezTo>
                    <a:cubicBezTo>
                      <a:pt x="1441" y="692"/>
                      <a:pt x="1456" y="703"/>
                      <a:pt x="1468" y="711"/>
                    </a:cubicBezTo>
                    <a:cubicBezTo>
                      <a:pt x="1472" y="714"/>
                      <a:pt x="1478" y="718"/>
                      <a:pt x="1480" y="718"/>
                    </a:cubicBezTo>
                    <a:cubicBezTo>
                      <a:pt x="1480" y="677"/>
                      <a:pt x="1480" y="637"/>
                      <a:pt x="1473" y="603"/>
                    </a:cubicBezTo>
                    <a:cubicBezTo>
                      <a:pt x="1457" y="619"/>
                      <a:pt x="1438" y="632"/>
                      <a:pt x="1416" y="642"/>
                    </a:cubicBezTo>
                    <a:close/>
                    <a:moveTo>
                      <a:pt x="1128" y="658"/>
                    </a:moveTo>
                    <a:cubicBezTo>
                      <a:pt x="1128" y="640"/>
                      <a:pt x="1129" y="623"/>
                      <a:pt x="1130" y="605"/>
                    </a:cubicBezTo>
                    <a:cubicBezTo>
                      <a:pt x="1124" y="606"/>
                      <a:pt x="1122" y="604"/>
                      <a:pt x="1117" y="604"/>
                    </a:cubicBezTo>
                    <a:cubicBezTo>
                      <a:pt x="1120" y="623"/>
                      <a:pt x="1124" y="640"/>
                      <a:pt x="1128" y="658"/>
                    </a:cubicBezTo>
                    <a:close/>
                    <a:moveTo>
                      <a:pt x="1134" y="606"/>
                    </a:moveTo>
                    <a:cubicBezTo>
                      <a:pt x="1132" y="607"/>
                      <a:pt x="1132" y="607"/>
                      <a:pt x="1132" y="609"/>
                    </a:cubicBezTo>
                    <a:cubicBezTo>
                      <a:pt x="1131" y="648"/>
                      <a:pt x="1128" y="682"/>
                      <a:pt x="1136" y="714"/>
                    </a:cubicBezTo>
                    <a:cubicBezTo>
                      <a:pt x="1184" y="707"/>
                      <a:pt x="1230" y="698"/>
                      <a:pt x="1274" y="688"/>
                    </a:cubicBezTo>
                    <a:cubicBezTo>
                      <a:pt x="1276" y="671"/>
                      <a:pt x="1276" y="653"/>
                      <a:pt x="1277" y="635"/>
                    </a:cubicBezTo>
                    <a:cubicBezTo>
                      <a:pt x="1230" y="624"/>
                      <a:pt x="1183" y="614"/>
                      <a:pt x="1134" y="606"/>
                    </a:cubicBezTo>
                    <a:close/>
                    <a:moveTo>
                      <a:pt x="349" y="613"/>
                    </a:moveTo>
                    <a:cubicBezTo>
                      <a:pt x="330" y="617"/>
                      <a:pt x="311" y="621"/>
                      <a:pt x="292" y="624"/>
                    </a:cubicBezTo>
                    <a:cubicBezTo>
                      <a:pt x="292" y="650"/>
                      <a:pt x="293" y="674"/>
                      <a:pt x="295" y="697"/>
                    </a:cubicBezTo>
                    <a:cubicBezTo>
                      <a:pt x="307" y="700"/>
                      <a:pt x="319" y="703"/>
                      <a:pt x="332" y="704"/>
                    </a:cubicBezTo>
                    <a:cubicBezTo>
                      <a:pt x="337" y="674"/>
                      <a:pt x="345" y="641"/>
                      <a:pt x="349" y="613"/>
                    </a:cubicBezTo>
                    <a:close/>
                    <a:moveTo>
                      <a:pt x="1279" y="634"/>
                    </a:moveTo>
                    <a:cubicBezTo>
                      <a:pt x="1282" y="634"/>
                      <a:pt x="1283" y="634"/>
                      <a:pt x="1284" y="635"/>
                    </a:cubicBezTo>
                    <a:cubicBezTo>
                      <a:pt x="1283" y="628"/>
                      <a:pt x="1282" y="622"/>
                      <a:pt x="1279" y="617"/>
                    </a:cubicBezTo>
                    <a:cubicBezTo>
                      <a:pt x="1279" y="623"/>
                      <a:pt x="1279" y="628"/>
                      <a:pt x="1279" y="634"/>
                    </a:cubicBezTo>
                    <a:close/>
                    <a:moveTo>
                      <a:pt x="67" y="699"/>
                    </a:moveTo>
                    <a:cubicBezTo>
                      <a:pt x="70" y="674"/>
                      <a:pt x="76" y="651"/>
                      <a:pt x="82" y="628"/>
                    </a:cubicBezTo>
                    <a:cubicBezTo>
                      <a:pt x="77" y="626"/>
                      <a:pt x="74" y="621"/>
                      <a:pt x="68" y="620"/>
                    </a:cubicBezTo>
                    <a:cubicBezTo>
                      <a:pt x="67" y="645"/>
                      <a:pt x="64" y="674"/>
                      <a:pt x="67" y="699"/>
                    </a:cubicBezTo>
                    <a:close/>
                    <a:moveTo>
                      <a:pt x="288" y="625"/>
                    </a:moveTo>
                    <a:cubicBezTo>
                      <a:pt x="255" y="634"/>
                      <a:pt x="221" y="642"/>
                      <a:pt x="190" y="652"/>
                    </a:cubicBezTo>
                    <a:cubicBezTo>
                      <a:pt x="189" y="659"/>
                      <a:pt x="188" y="664"/>
                      <a:pt x="186" y="670"/>
                    </a:cubicBezTo>
                    <a:cubicBezTo>
                      <a:pt x="220" y="680"/>
                      <a:pt x="255" y="690"/>
                      <a:pt x="293" y="696"/>
                    </a:cubicBezTo>
                    <a:cubicBezTo>
                      <a:pt x="290" y="673"/>
                      <a:pt x="291" y="648"/>
                      <a:pt x="288" y="625"/>
                    </a:cubicBezTo>
                    <a:close/>
                    <a:moveTo>
                      <a:pt x="69" y="701"/>
                    </a:moveTo>
                    <a:cubicBezTo>
                      <a:pt x="95" y="687"/>
                      <a:pt x="122" y="673"/>
                      <a:pt x="152" y="663"/>
                    </a:cubicBezTo>
                    <a:cubicBezTo>
                      <a:pt x="130" y="651"/>
                      <a:pt x="104" y="643"/>
                      <a:pt x="84" y="629"/>
                    </a:cubicBezTo>
                    <a:cubicBezTo>
                      <a:pt x="79" y="653"/>
                      <a:pt x="73" y="676"/>
                      <a:pt x="69" y="701"/>
                    </a:cubicBezTo>
                    <a:close/>
                    <a:moveTo>
                      <a:pt x="1277" y="687"/>
                    </a:moveTo>
                    <a:cubicBezTo>
                      <a:pt x="1283" y="685"/>
                      <a:pt x="1289" y="684"/>
                      <a:pt x="1296" y="682"/>
                    </a:cubicBezTo>
                    <a:cubicBezTo>
                      <a:pt x="1292" y="667"/>
                      <a:pt x="1290" y="652"/>
                      <a:pt x="1285" y="638"/>
                    </a:cubicBezTo>
                    <a:cubicBezTo>
                      <a:pt x="1284" y="637"/>
                      <a:pt x="1281" y="637"/>
                      <a:pt x="1279" y="636"/>
                    </a:cubicBezTo>
                    <a:cubicBezTo>
                      <a:pt x="1278" y="652"/>
                      <a:pt x="1278" y="670"/>
                      <a:pt x="1277" y="687"/>
                    </a:cubicBezTo>
                    <a:close/>
                    <a:moveTo>
                      <a:pt x="1298" y="681"/>
                    </a:moveTo>
                    <a:cubicBezTo>
                      <a:pt x="1320" y="675"/>
                      <a:pt x="1342" y="670"/>
                      <a:pt x="1362" y="661"/>
                    </a:cubicBezTo>
                    <a:cubicBezTo>
                      <a:pt x="1338" y="654"/>
                      <a:pt x="1315" y="645"/>
                      <a:pt x="1289" y="639"/>
                    </a:cubicBezTo>
                    <a:cubicBezTo>
                      <a:pt x="1291" y="653"/>
                      <a:pt x="1296" y="666"/>
                      <a:pt x="1298" y="681"/>
                    </a:cubicBezTo>
                    <a:close/>
                    <a:moveTo>
                      <a:pt x="1399" y="649"/>
                    </a:moveTo>
                    <a:cubicBezTo>
                      <a:pt x="1399" y="657"/>
                      <a:pt x="1399" y="665"/>
                      <a:pt x="1399" y="673"/>
                    </a:cubicBezTo>
                    <a:cubicBezTo>
                      <a:pt x="1407" y="677"/>
                      <a:pt x="1415" y="680"/>
                      <a:pt x="1422" y="684"/>
                    </a:cubicBezTo>
                    <a:cubicBezTo>
                      <a:pt x="1419" y="671"/>
                      <a:pt x="1418" y="655"/>
                      <a:pt x="1412" y="644"/>
                    </a:cubicBezTo>
                    <a:cubicBezTo>
                      <a:pt x="1409" y="646"/>
                      <a:pt x="1404" y="648"/>
                      <a:pt x="1399" y="649"/>
                    </a:cubicBezTo>
                    <a:close/>
                    <a:moveTo>
                      <a:pt x="1371" y="662"/>
                    </a:moveTo>
                    <a:cubicBezTo>
                      <a:pt x="1379" y="665"/>
                      <a:pt x="1388" y="668"/>
                      <a:pt x="1397" y="672"/>
                    </a:cubicBezTo>
                    <a:cubicBezTo>
                      <a:pt x="1396" y="666"/>
                      <a:pt x="1398" y="656"/>
                      <a:pt x="1396" y="651"/>
                    </a:cubicBezTo>
                    <a:cubicBezTo>
                      <a:pt x="1388" y="655"/>
                      <a:pt x="1379" y="658"/>
                      <a:pt x="1371" y="662"/>
                    </a:cubicBezTo>
                    <a:close/>
                    <a:moveTo>
                      <a:pt x="162" y="662"/>
                    </a:moveTo>
                    <a:cubicBezTo>
                      <a:pt x="169" y="664"/>
                      <a:pt x="175" y="668"/>
                      <a:pt x="184" y="669"/>
                    </a:cubicBezTo>
                    <a:cubicBezTo>
                      <a:pt x="184" y="663"/>
                      <a:pt x="187" y="659"/>
                      <a:pt x="187" y="653"/>
                    </a:cubicBezTo>
                    <a:cubicBezTo>
                      <a:pt x="178" y="656"/>
                      <a:pt x="170" y="658"/>
                      <a:pt x="162" y="662"/>
                    </a:cubicBezTo>
                    <a:close/>
                    <a:moveTo>
                      <a:pt x="109" y="683"/>
                    </a:moveTo>
                    <a:cubicBezTo>
                      <a:pt x="98" y="688"/>
                      <a:pt x="72" y="698"/>
                      <a:pt x="68" y="707"/>
                    </a:cubicBezTo>
                    <a:cubicBezTo>
                      <a:pt x="63" y="717"/>
                      <a:pt x="68" y="742"/>
                      <a:pt x="70" y="755"/>
                    </a:cubicBezTo>
                    <a:cubicBezTo>
                      <a:pt x="76" y="807"/>
                      <a:pt x="83" y="853"/>
                      <a:pt x="96" y="893"/>
                    </a:cubicBezTo>
                    <a:cubicBezTo>
                      <a:pt x="107" y="898"/>
                      <a:pt x="117" y="903"/>
                      <a:pt x="127" y="908"/>
                    </a:cubicBezTo>
                    <a:cubicBezTo>
                      <a:pt x="138" y="901"/>
                      <a:pt x="150" y="898"/>
                      <a:pt x="158" y="889"/>
                    </a:cubicBezTo>
                    <a:cubicBezTo>
                      <a:pt x="157" y="859"/>
                      <a:pt x="160" y="834"/>
                      <a:pt x="162" y="808"/>
                    </a:cubicBezTo>
                    <a:cubicBezTo>
                      <a:pt x="163" y="790"/>
                      <a:pt x="168" y="772"/>
                      <a:pt x="168" y="756"/>
                    </a:cubicBezTo>
                    <a:cubicBezTo>
                      <a:pt x="168" y="741"/>
                      <a:pt x="163" y="727"/>
                      <a:pt x="162" y="712"/>
                    </a:cubicBezTo>
                    <a:cubicBezTo>
                      <a:pt x="161" y="696"/>
                      <a:pt x="161" y="681"/>
                      <a:pt x="159" y="665"/>
                    </a:cubicBezTo>
                    <a:cubicBezTo>
                      <a:pt x="159" y="664"/>
                      <a:pt x="159" y="664"/>
                      <a:pt x="158" y="664"/>
                    </a:cubicBezTo>
                    <a:cubicBezTo>
                      <a:pt x="145" y="667"/>
                      <a:pt x="128" y="674"/>
                      <a:pt x="109" y="683"/>
                    </a:cubicBezTo>
                    <a:close/>
                    <a:moveTo>
                      <a:pt x="1367" y="664"/>
                    </a:moveTo>
                    <a:cubicBezTo>
                      <a:pt x="1347" y="670"/>
                      <a:pt x="1321" y="678"/>
                      <a:pt x="1299" y="685"/>
                    </a:cubicBezTo>
                    <a:cubicBezTo>
                      <a:pt x="1311" y="742"/>
                      <a:pt x="1319" y="805"/>
                      <a:pt x="1322" y="872"/>
                    </a:cubicBezTo>
                    <a:cubicBezTo>
                      <a:pt x="1336" y="877"/>
                      <a:pt x="1347" y="884"/>
                      <a:pt x="1362" y="888"/>
                    </a:cubicBezTo>
                    <a:cubicBezTo>
                      <a:pt x="1380" y="824"/>
                      <a:pt x="1394" y="754"/>
                      <a:pt x="1397" y="674"/>
                    </a:cubicBezTo>
                    <a:cubicBezTo>
                      <a:pt x="1386" y="672"/>
                      <a:pt x="1378" y="666"/>
                      <a:pt x="1367" y="664"/>
                    </a:cubicBezTo>
                    <a:close/>
                    <a:moveTo>
                      <a:pt x="170" y="745"/>
                    </a:moveTo>
                    <a:cubicBezTo>
                      <a:pt x="172" y="719"/>
                      <a:pt x="178" y="695"/>
                      <a:pt x="183" y="671"/>
                    </a:cubicBezTo>
                    <a:cubicBezTo>
                      <a:pt x="175" y="670"/>
                      <a:pt x="169" y="667"/>
                      <a:pt x="162" y="665"/>
                    </a:cubicBezTo>
                    <a:cubicBezTo>
                      <a:pt x="164" y="692"/>
                      <a:pt x="164" y="722"/>
                      <a:pt x="170" y="745"/>
                    </a:cubicBezTo>
                    <a:close/>
                    <a:moveTo>
                      <a:pt x="185" y="672"/>
                    </a:moveTo>
                    <a:cubicBezTo>
                      <a:pt x="185" y="673"/>
                      <a:pt x="185" y="674"/>
                      <a:pt x="185" y="675"/>
                    </a:cubicBezTo>
                    <a:cubicBezTo>
                      <a:pt x="182" y="704"/>
                      <a:pt x="169" y="731"/>
                      <a:pt x="171" y="761"/>
                    </a:cubicBezTo>
                    <a:cubicBezTo>
                      <a:pt x="172" y="801"/>
                      <a:pt x="188" y="839"/>
                      <a:pt x="195" y="875"/>
                    </a:cubicBezTo>
                    <a:cubicBezTo>
                      <a:pt x="232" y="860"/>
                      <a:pt x="272" y="848"/>
                      <a:pt x="314" y="837"/>
                    </a:cubicBezTo>
                    <a:cubicBezTo>
                      <a:pt x="306" y="792"/>
                      <a:pt x="297" y="749"/>
                      <a:pt x="294" y="700"/>
                    </a:cubicBezTo>
                    <a:cubicBezTo>
                      <a:pt x="256" y="692"/>
                      <a:pt x="219" y="683"/>
                      <a:pt x="185" y="672"/>
                    </a:cubicBezTo>
                    <a:close/>
                    <a:moveTo>
                      <a:pt x="1364" y="890"/>
                    </a:moveTo>
                    <a:cubicBezTo>
                      <a:pt x="1375" y="896"/>
                      <a:pt x="1385" y="902"/>
                      <a:pt x="1397" y="908"/>
                    </a:cubicBezTo>
                    <a:cubicBezTo>
                      <a:pt x="1411" y="900"/>
                      <a:pt x="1428" y="894"/>
                      <a:pt x="1441" y="885"/>
                    </a:cubicBezTo>
                    <a:cubicBezTo>
                      <a:pt x="1442" y="811"/>
                      <a:pt x="1435" y="747"/>
                      <a:pt x="1423" y="687"/>
                    </a:cubicBezTo>
                    <a:cubicBezTo>
                      <a:pt x="1415" y="684"/>
                      <a:pt x="1408" y="679"/>
                      <a:pt x="1398" y="676"/>
                    </a:cubicBezTo>
                    <a:cubicBezTo>
                      <a:pt x="1397" y="757"/>
                      <a:pt x="1382" y="826"/>
                      <a:pt x="1364" y="890"/>
                    </a:cubicBezTo>
                    <a:close/>
                    <a:moveTo>
                      <a:pt x="1127" y="716"/>
                    </a:moveTo>
                    <a:cubicBezTo>
                      <a:pt x="1127" y="713"/>
                      <a:pt x="1132" y="715"/>
                      <a:pt x="1134" y="715"/>
                    </a:cubicBezTo>
                    <a:cubicBezTo>
                      <a:pt x="1132" y="705"/>
                      <a:pt x="1131" y="694"/>
                      <a:pt x="1129" y="685"/>
                    </a:cubicBezTo>
                    <a:cubicBezTo>
                      <a:pt x="1128" y="694"/>
                      <a:pt x="1125" y="707"/>
                      <a:pt x="1127" y="716"/>
                    </a:cubicBezTo>
                    <a:close/>
                    <a:moveTo>
                      <a:pt x="1277" y="690"/>
                    </a:moveTo>
                    <a:cubicBezTo>
                      <a:pt x="1272" y="746"/>
                      <a:pt x="1263" y="798"/>
                      <a:pt x="1252" y="848"/>
                    </a:cubicBezTo>
                    <a:cubicBezTo>
                      <a:pt x="1275" y="855"/>
                      <a:pt x="1298" y="862"/>
                      <a:pt x="1319" y="871"/>
                    </a:cubicBezTo>
                    <a:cubicBezTo>
                      <a:pt x="1316" y="804"/>
                      <a:pt x="1310" y="740"/>
                      <a:pt x="1295" y="685"/>
                    </a:cubicBezTo>
                    <a:cubicBezTo>
                      <a:pt x="1289" y="687"/>
                      <a:pt x="1283" y="688"/>
                      <a:pt x="1277" y="690"/>
                    </a:cubicBezTo>
                    <a:close/>
                    <a:moveTo>
                      <a:pt x="1443" y="884"/>
                    </a:moveTo>
                    <a:cubicBezTo>
                      <a:pt x="1447" y="884"/>
                      <a:pt x="1454" y="877"/>
                      <a:pt x="1459" y="875"/>
                    </a:cubicBezTo>
                    <a:cubicBezTo>
                      <a:pt x="1470" y="828"/>
                      <a:pt x="1478" y="779"/>
                      <a:pt x="1480" y="723"/>
                    </a:cubicBezTo>
                    <a:cubicBezTo>
                      <a:pt x="1465" y="709"/>
                      <a:pt x="1446" y="699"/>
                      <a:pt x="1426" y="689"/>
                    </a:cubicBezTo>
                    <a:cubicBezTo>
                      <a:pt x="1437" y="748"/>
                      <a:pt x="1446" y="814"/>
                      <a:pt x="1443" y="884"/>
                    </a:cubicBezTo>
                    <a:close/>
                    <a:moveTo>
                      <a:pt x="1136" y="718"/>
                    </a:moveTo>
                    <a:cubicBezTo>
                      <a:pt x="1142" y="751"/>
                      <a:pt x="1146" y="785"/>
                      <a:pt x="1148" y="822"/>
                    </a:cubicBezTo>
                    <a:cubicBezTo>
                      <a:pt x="1182" y="830"/>
                      <a:pt x="1216" y="838"/>
                      <a:pt x="1249" y="847"/>
                    </a:cubicBezTo>
                    <a:cubicBezTo>
                      <a:pt x="1260" y="798"/>
                      <a:pt x="1269" y="747"/>
                      <a:pt x="1274" y="691"/>
                    </a:cubicBezTo>
                    <a:cubicBezTo>
                      <a:pt x="1273" y="691"/>
                      <a:pt x="1272" y="691"/>
                      <a:pt x="1272" y="691"/>
                    </a:cubicBezTo>
                    <a:cubicBezTo>
                      <a:pt x="1229" y="702"/>
                      <a:pt x="1181" y="708"/>
                      <a:pt x="1136" y="718"/>
                    </a:cubicBezTo>
                    <a:close/>
                    <a:moveTo>
                      <a:pt x="317" y="834"/>
                    </a:moveTo>
                    <a:cubicBezTo>
                      <a:pt x="320" y="790"/>
                      <a:pt x="325" y="747"/>
                      <a:pt x="332" y="707"/>
                    </a:cubicBezTo>
                    <a:cubicBezTo>
                      <a:pt x="319" y="706"/>
                      <a:pt x="307" y="703"/>
                      <a:pt x="295" y="700"/>
                    </a:cubicBezTo>
                    <a:cubicBezTo>
                      <a:pt x="301" y="747"/>
                      <a:pt x="306" y="792"/>
                      <a:pt x="317" y="834"/>
                    </a:cubicBezTo>
                    <a:close/>
                    <a:moveTo>
                      <a:pt x="334" y="708"/>
                    </a:moveTo>
                    <a:cubicBezTo>
                      <a:pt x="329" y="749"/>
                      <a:pt x="320" y="792"/>
                      <a:pt x="320" y="836"/>
                    </a:cubicBezTo>
                    <a:cubicBezTo>
                      <a:pt x="364" y="824"/>
                      <a:pt x="411" y="815"/>
                      <a:pt x="460" y="809"/>
                    </a:cubicBezTo>
                    <a:cubicBezTo>
                      <a:pt x="456" y="781"/>
                      <a:pt x="452" y="754"/>
                      <a:pt x="450" y="724"/>
                    </a:cubicBezTo>
                    <a:cubicBezTo>
                      <a:pt x="410" y="721"/>
                      <a:pt x="372" y="714"/>
                      <a:pt x="334" y="708"/>
                    </a:cubicBezTo>
                    <a:close/>
                    <a:moveTo>
                      <a:pt x="12" y="759"/>
                    </a:moveTo>
                    <a:cubicBezTo>
                      <a:pt x="10" y="769"/>
                      <a:pt x="13" y="784"/>
                      <a:pt x="14" y="796"/>
                    </a:cubicBezTo>
                    <a:cubicBezTo>
                      <a:pt x="15" y="809"/>
                      <a:pt x="15" y="823"/>
                      <a:pt x="18" y="833"/>
                    </a:cubicBezTo>
                    <a:cubicBezTo>
                      <a:pt x="21" y="843"/>
                      <a:pt x="38" y="854"/>
                      <a:pt x="45" y="860"/>
                    </a:cubicBezTo>
                    <a:cubicBezTo>
                      <a:pt x="48" y="862"/>
                      <a:pt x="50" y="867"/>
                      <a:pt x="54" y="865"/>
                    </a:cubicBezTo>
                    <a:cubicBezTo>
                      <a:pt x="52" y="809"/>
                      <a:pt x="59" y="757"/>
                      <a:pt x="63" y="710"/>
                    </a:cubicBezTo>
                    <a:cubicBezTo>
                      <a:pt x="63" y="709"/>
                      <a:pt x="63" y="709"/>
                      <a:pt x="62" y="709"/>
                    </a:cubicBezTo>
                    <a:cubicBezTo>
                      <a:pt x="50" y="719"/>
                      <a:pt x="16" y="741"/>
                      <a:pt x="12" y="759"/>
                    </a:cubicBezTo>
                    <a:close/>
                    <a:moveTo>
                      <a:pt x="1134" y="718"/>
                    </a:moveTo>
                    <a:cubicBezTo>
                      <a:pt x="1133" y="716"/>
                      <a:pt x="1129" y="719"/>
                      <a:pt x="1126" y="718"/>
                    </a:cubicBezTo>
                    <a:cubicBezTo>
                      <a:pt x="1122" y="751"/>
                      <a:pt x="1118" y="785"/>
                      <a:pt x="1112" y="816"/>
                    </a:cubicBezTo>
                    <a:cubicBezTo>
                      <a:pt x="1124" y="818"/>
                      <a:pt x="1134" y="821"/>
                      <a:pt x="1146" y="822"/>
                    </a:cubicBezTo>
                    <a:cubicBezTo>
                      <a:pt x="1143" y="787"/>
                      <a:pt x="1139" y="752"/>
                      <a:pt x="1134" y="718"/>
                    </a:cubicBezTo>
                    <a:close/>
                    <a:moveTo>
                      <a:pt x="961" y="735"/>
                    </a:moveTo>
                    <a:cubicBezTo>
                      <a:pt x="960" y="755"/>
                      <a:pt x="958" y="775"/>
                      <a:pt x="956" y="795"/>
                    </a:cubicBezTo>
                    <a:cubicBezTo>
                      <a:pt x="1009" y="801"/>
                      <a:pt x="1060" y="807"/>
                      <a:pt x="1110" y="815"/>
                    </a:cubicBezTo>
                    <a:cubicBezTo>
                      <a:pt x="1113" y="784"/>
                      <a:pt x="1123" y="748"/>
                      <a:pt x="1121" y="719"/>
                    </a:cubicBezTo>
                    <a:cubicBezTo>
                      <a:pt x="1070" y="726"/>
                      <a:pt x="1016" y="732"/>
                      <a:pt x="961" y="735"/>
                    </a:cubicBezTo>
                    <a:close/>
                    <a:moveTo>
                      <a:pt x="1462" y="872"/>
                    </a:moveTo>
                    <a:cubicBezTo>
                      <a:pt x="1480" y="862"/>
                      <a:pt x="1495" y="848"/>
                      <a:pt x="1507" y="832"/>
                    </a:cubicBezTo>
                    <a:cubicBezTo>
                      <a:pt x="1507" y="814"/>
                      <a:pt x="1508" y="802"/>
                      <a:pt x="1507" y="786"/>
                    </a:cubicBezTo>
                    <a:cubicBezTo>
                      <a:pt x="1506" y="773"/>
                      <a:pt x="1508" y="759"/>
                      <a:pt x="1506" y="750"/>
                    </a:cubicBezTo>
                    <a:cubicBezTo>
                      <a:pt x="1503" y="738"/>
                      <a:pt x="1488" y="733"/>
                      <a:pt x="1482" y="724"/>
                    </a:cubicBezTo>
                    <a:cubicBezTo>
                      <a:pt x="1481" y="779"/>
                      <a:pt x="1472" y="827"/>
                      <a:pt x="1462" y="872"/>
                    </a:cubicBezTo>
                    <a:close/>
                    <a:moveTo>
                      <a:pt x="462" y="808"/>
                    </a:moveTo>
                    <a:cubicBezTo>
                      <a:pt x="479" y="806"/>
                      <a:pt x="496" y="804"/>
                      <a:pt x="512" y="801"/>
                    </a:cubicBezTo>
                    <a:cubicBezTo>
                      <a:pt x="515" y="778"/>
                      <a:pt x="516" y="755"/>
                      <a:pt x="518" y="732"/>
                    </a:cubicBezTo>
                    <a:cubicBezTo>
                      <a:pt x="496" y="729"/>
                      <a:pt x="474" y="727"/>
                      <a:pt x="452" y="725"/>
                    </a:cubicBezTo>
                    <a:cubicBezTo>
                      <a:pt x="455" y="753"/>
                      <a:pt x="458" y="780"/>
                      <a:pt x="462" y="808"/>
                    </a:cubicBezTo>
                    <a:close/>
                    <a:moveTo>
                      <a:pt x="56" y="868"/>
                    </a:moveTo>
                    <a:cubicBezTo>
                      <a:pt x="66" y="877"/>
                      <a:pt x="79" y="884"/>
                      <a:pt x="92" y="890"/>
                    </a:cubicBezTo>
                    <a:cubicBezTo>
                      <a:pt x="79" y="840"/>
                      <a:pt x="69" y="787"/>
                      <a:pt x="64" y="728"/>
                    </a:cubicBezTo>
                    <a:cubicBezTo>
                      <a:pt x="58" y="772"/>
                      <a:pt x="55" y="818"/>
                      <a:pt x="56" y="868"/>
                    </a:cubicBezTo>
                    <a:close/>
                    <a:moveTo>
                      <a:pt x="522" y="732"/>
                    </a:moveTo>
                    <a:cubicBezTo>
                      <a:pt x="518" y="753"/>
                      <a:pt x="518" y="778"/>
                      <a:pt x="515" y="801"/>
                    </a:cubicBezTo>
                    <a:cubicBezTo>
                      <a:pt x="549" y="797"/>
                      <a:pt x="584" y="794"/>
                      <a:pt x="619" y="791"/>
                    </a:cubicBezTo>
                    <a:cubicBezTo>
                      <a:pt x="619" y="773"/>
                      <a:pt x="617" y="756"/>
                      <a:pt x="616" y="739"/>
                    </a:cubicBezTo>
                    <a:cubicBezTo>
                      <a:pt x="585" y="736"/>
                      <a:pt x="553" y="735"/>
                      <a:pt x="522" y="732"/>
                    </a:cubicBezTo>
                    <a:close/>
                    <a:moveTo>
                      <a:pt x="8" y="761"/>
                    </a:moveTo>
                    <a:cubicBezTo>
                      <a:pt x="10" y="754"/>
                      <a:pt x="10" y="740"/>
                      <a:pt x="8" y="733"/>
                    </a:cubicBezTo>
                    <a:cubicBezTo>
                      <a:pt x="10" y="743"/>
                      <a:pt x="6" y="753"/>
                      <a:pt x="8" y="761"/>
                    </a:cubicBezTo>
                    <a:close/>
                    <a:moveTo>
                      <a:pt x="942" y="737"/>
                    </a:moveTo>
                    <a:cubicBezTo>
                      <a:pt x="943" y="757"/>
                      <a:pt x="945" y="775"/>
                      <a:pt x="945" y="795"/>
                    </a:cubicBezTo>
                    <a:cubicBezTo>
                      <a:pt x="948" y="795"/>
                      <a:pt x="950" y="795"/>
                      <a:pt x="953" y="795"/>
                    </a:cubicBezTo>
                    <a:cubicBezTo>
                      <a:pt x="956" y="776"/>
                      <a:pt x="957" y="756"/>
                      <a:pt x="958" y="736"/>
                    </a:cubicBezTo>
                    <a:cubicBezTo>
                      <a:pt x="953" y="736"/>
                      <a:pt x="946" y="735"/>
                      <a:pt x="942" y="737"/>
                    </a:cubicBezTo>
                    <a:close/>
                    <a:moveTo>
                      <a:pt x="790" y="742"/>
                    </a:moveTo>
                    <a:cubicBezTo>
                      <a:pt x="790" y="757"/>
                      <a:pt x="790" y="772"/>
                      <a:pt x="790" y="788"/>
                    </a:cubicBezTo>
                    <a:cubicBezTo>
                      <a:pt x="843" y="788"/>
                      <a:pt x="892" y="791"/>
                      <a:pt x="942" y="794"/>
                    </a:cubicBezTo>
                    <a:cubicBezTo>
                      <a:pt x="940" y="776"/>
                      <a:pt x="940" y="755"/>
                      <a:pt x="938" y="737"/>
                    </a:cubicBezTo>
                    <a:cubicBezTo>
                      <a:pt x="889" y="739"/>
                      <a:pt x="841" y="742"/>
                      <a:pt x="790" y="742"/>
                    </a:cubicBezTo>
                    <a:close/>
                    <a:moveTo>
                      <a:pt x="621" y="739"/>
                    </a:moveTo>
                    <a:cubicBezTo>
                      <a:pt x="619" y="755"/>
                      <a:pt x="623" y="774"/>
                      <a:pt x="623" y="791"/>
                    </a:cubicBezTo>
                    <a:cubicBezTo>
                      <a:pt x="657" y="790"/>
                      <a:pt x="691" y="788"/>
                      <a:pt x="726" y="788"/>
                    </a:cubicBezTo>
                    <a:cubicBezTo>
                      <a:pt x="726" y="772"/>
                      <a:pt x="726" y="757"/>
                      <a:pt x="726" y="742"/>
                    </a:cubicBezTo>
                    <a:cubicBezTo>
                      <a:pt x="690" y="742"/>
                      <a:pt x="656" y="740"/>
                      <a:pt x="621" y="739"/>
                    </a:cubicBezTo>
                    <a:close/>
                    <a:moveTo>
                      <a:pt x="729" y="742"/>
                    </a:moveTo>
                    <a:cubicBezTo>
                      <a:pt x="729" y="757"/>
                      <a:pt x="729" y="772"/>
                      <a:pt x="729" y="788"/>
                    </a:cubicBezTo>
                    <a:cubicBezTo>
                      <a:pt x="749" y="788"/>
                      <a:pt x="768" y="788"/>
                      <a:pt x="787" y="788"/>
                    </a:cubicBezTo>
                    <a:cubicBezTo>
                      <a:pt x="788" y="773"/>
                      <a:pt x="788" y="757"/>
                      <a:pt x="788" y="742"/>
                    </a:cubicBezTo>
                    <a:cubicBezTo>
                      <a:pt x="768" y="742"/>
                      <a:pt x="749" y="742"/>
                      <a:pt x="729" y="742"/>
                    </a:cubicBezTo>
                    <a:close/>
                    <a:moveTo>
                      <a:pt x="1508" y="753"/>
                    </a:moveTo>
                    <a:cubicBezTo>
                      <a:pt x="1508" y="753"/>
                      <a:pt x="1509" y="754"/>
                      <a:pt x="1508" y="753"/>
                    </a:cubicBezTo>
                    <a:close/>
                    <a:moveTo>
                      <a:pt x="1511" y="827"/>
                    </a:moveTo>
                    <a:cubicBezTo>
                      <a:pt x="1520" y="808"/>
                      <a:pt x="1524" y="768"/>
                      <a:pt x="1509" y="754"/>
                    </a:cubicBezTo>
                    <a:cubicBezTo>
                      <a:pt x="1510" y="778"/>
                      <a:pt x="1509" y="804"/>
                      <a:pt x="1511" y="827"/>
                    </a:cubicBezTo>
                    <a:close/>
                    <a:moveTo>
                      <a:pt x="15" y="828"/>
                    </a:moveTo>
                    <a:cubicBezTo>
                      <a:pt x="12" y="808"/>
                      <a:pt x="12" y="784"/>
                      <a:pt x="8" y="765"/>
                    </a:cubicBezTo>
                    <a:cubicBezTo>
                      <a:pt x="6" y="784"/>
                      <a:pt x="4" y="816"/>
                      <a:pt x="15" y="828"/>
                    </a:cubicBezTo>
                    <a:close/>
                    <a:moveTo>
                      <a:pt x="162" y="890"/>
                    </a:moveTo>
                    <a:cubicBezTo>
                      <a:pt x="171" y="884"/>
                      <a:pt x="184" y="881"/>
                      <a:pt x="193" y="875"/>
                    </a:cubicBezTo>
                    <a:cubicBezTo>
                      <a:pt x="182" y="842"/>
                      <a:pt x="176" y="805"/>
                      <a:pt x="169" y="768"/>
                    </a:cubicBezTo>
                    <a:cubicBezTo>
                      <a:pt x="165" y="806"/>
                      <a:pt x="159" y="852"/>
                      <a:pt x="162" y="890"/>
                    </a:cubicBezTo>
                    <a:close/>
                    <a:moveTo>
                      <a:pt x="5" y="797"/>
                    </a:moveTo>
                    <a:cubicBezTo>
                      <a:pt x="5" y="793"/>
                      <a:pt x="5" y="784"/>
                      <a:pt x="4" y="780"/>
                    </a:cubicBezTo>
                    <a:cubicBezTo>
                      <a:pt x="2" y="787"/>
                      <a:pt x="4" y="811"/>
                      <a:pt x="5" y="797"/>
                    </a:cubicBezTo>
                    <a:close/>
                    <a:moveTo>
                      <a:pt x="624" y="794"/>
                    </a:moveTo>
                    <a:cubicBezTo>
                      <a:pt x="627" y="863"/>
                      <a:pt x="635" y="934"/>
                      <a:pt x="643" y="1001"/>
                    </a:cubicBezTo>
                    <a:cubicBezTo>
                      <a:pt x="670" y="999"/>
                      <a:pt x="698" y="998"/>
                      <a:pt x="726" y="997"/>
                    </a:cubicBezTo>
                    <a:cubicBezTo>
                      <a:pt x="726" y="928"/>
                      <a:pt x="725" y="858"/>
                      <a:pt x="726" y="791"/>
                    </a:cubicBezTo>
                    <a:cubicBezTo>
                      <a:pt x="694" y="790"/>
                      <a:pt x="656" y="792"/>
                      <a:pt x="624" y="794"/>
                    </a:cubicBezTo>
                    <a:close/>
                    <a:moveTo>
                      <a:pt x="729" y="792"/>
                    </a:moveTo>
                    <a:cubicBezTo>
                      <a:pt x="727" y="859"/>
                      <a:pt x="729" y="929"/>
                      <a:pt x="728" y="997"/>
                    </a:cubicBezTo>
                    <a:cubicBezTo>
                      <a:pt x="747" y="997"/>
                      <a:pt x="765" y="997"/>
                      <a:pt x="783" y="997"/>
                    </a:cubicBezTo>
                    <a:cubicBezTo>
                      <a:pt x="785" y="929"/>
                      <a:pt x="787" y="860"/>
                      <a:pt x="787" y="790"/>
                    </a:cubicBezTo>
                    <a:cubicBezTo>
                      <a:pt x="768" y="790"/>
                      <a:pt x="749" y="790"/>
                      <a:pt x="730" y="790"/>
                    </a:cubicBezTo>
                    <a:cubicBezTo>
                      <a:pt x="729" y="790"/>
                      <a:pt x="729" y="791"/>
                      <a:pt x="729" y="792"/>
                    </a:cubicBezTo>
                    <a:close/>
                    <a:moveTo>
                      <a:pt x="790" y="792"/>
                    </a:moveTo>
                    <a:cubicBezTo>
                      <a:pt x="789" y="861"/>
                      <a:pt x="788" y="929"/>
                      <a:pt x="786" y="997"/>
                    </a:cubicBezTo>
                    <a:cubicBezTo>
                      <a:pt x="834" y="997"/>
                      <a:pt x="881" y="1003"/>
                      <a:pt x="927" y="998"/>
                    </a:cubicBezTo>
                    <a:cubicBezTo>
                      <a:pt x="937" y="935"/>
                      <a:pt x="950" y="870"/>
                      <a:pt x="942" y="797"/>
                    </a:cubicBezTo>
                    <a:cubicBezTo>
                      <a:pt x="894" y="792"/>
                      <a:pt x="842" y="791"/>
                      <a:pt x="791" y="790"/>
                    </a:cubicBezTo>
                    <a:cubicBezTo>
                      <a:pt x="790" y="790"/>
                      <a:pt x="790" y="791"/>
                      <a:pt x="790" y="792"/>
                    </a:cubicBezTo>
                    <a:close/>
                    <a:moveTo>
                      <a:pt x="1521" y="796"/>
                    </a:moveTo>
                    <a:cubicBezTo>
                      <a:pt x="1521" y="795"/>
                      <a:pt x="1522" y="788"/>
                      <a:pt x="1520" y="791"/>
                    </a:cubicBezTo>
                    <a:cubicBezTo>
                      <a:pt x="1520" y="793"/>
                      <a:pt x="1520" y="799"/>
                      <a:pt x="1521" y="796"/>
                    </a:cubicBezTo>
                    <a:close/>
                    <a:moveTo>
                      <a:pt x="515" y="804"/>
                    </a:moveTo>
                    <a:cubicBezTo>
                      <a:pt x="511" y="864"/>
                      <a:pt x="510" y="926"/>
                      <a:pt x="510" y="991"/>
                    </a:cubicBezTo>
                    <a:cubicBezTo>
                      <a:pt x="552" y="995"/>
                      <a:pt x="598" y="999"/>
                      <a:pt x="640" y="1000"/>
                    </a:cubicBezTo>
                    <a:cubicBezTo>
                      <a:pt x="631" y="934"/>
                      <a:pt x="624" y="865"/>
                      <a:pt x="620" y="794"/>
                    </a:cubicBezTo>
                    <a:cubicBezTo>
                      <a:pt x="584" y="797"/>
                      <a:pt x="549" y="799"/>
                      <a:pt x="515" y="804"/>
                    </a:cubicBezTo>
                    <a:close/>
                    <a:moveTo>
                      <a:pt x="948" y="845"/>
                    </a:moveTo>
                    <a:cubicBezTo>
                      <a:pt x="950" y="830"/>
                      <a:pt x="952" y="814"/>
                      <a:pt x="953" y="798"/>
                    </a:cubicBezTo>
                    <a:cubicBezTo>
                      <a:pt x="950" y="798"/>
                      <a:pt x="949" y="797"/>
                      <a:pt x="945" y="797"/>
                    </a:cubicBezTo>
                    <a:cubicBezTo>
                      <a:pt x="947" y="812"/>
                      <a:pt x="946" y="830"/>
                      <a:pt x="948" y="845"/>
                    </a:cubicBezTo>
                    <a:close/>
                    <a:moveTo>
                      <a:pt x="950" y="997"/>
                    </a:moveTo>
                    <a:cubicBezTo>
                      <a:pt x="991" y="993"/>
                      <a:pt x="1030" y="989"/>
                      <a:pt x="1070" y="985"/>
                    </a:cubicBezTo>
                    <a:cubicBezTo>
                      <a:pt x="1087" y="933"/>
                      <a:pt x="1099" y="877"/>
                      <a:pt x="1110" y="818"/>
                    </a:cubicBezTo>
                    <a:cubicBezTo>
                      <a:pt x="1061" y="809"/>
                      <a:pt x="1009" y="803"/>
                      <a:pt x="957" y="798"/>
                    </a:cubicBezTo>
                    <a:cubicBezTo>
                      <a:pt x="944" y="857"/>
                      <a:pt x="952" y="927"/>
                      <a:pt x="950" y="997"/>
                    </a:cubicBezTo>
                    <a:close/>
                    <a:moveTo>
                      <a:pt x="462" y="811"/>
                    </a:moveTo>
                    <a:cubicBezTo>
                      <a:pt x="470" y="866"/>
                      <a:pt x="483" y="925"/>
                      <a:pt x="495" y="975"/>
                    </a:cubicBezTo>
                    <a:cubicBezTo>
                      <a:pt x="497" y="982"/>
                      <a:pt x="496" y="993"/>
                      <a:pt x="508" y="991"/>
                    </a:cubicBezTo>
                    <a:cubicBezTo>
                      <a:pt x="507" y="935"/>
                      <a:pt x="508" y="873"/>
                      <a:pt x="511" y="820"/>
                    </a:cubicBezTo>
                    <a:cubicBezTo>
                      <a:pt x="512" y="816"/>
                      <a:pt x="515" y="807"/>
                      <a:pt x="510" y="804"/>
                    </a:cubicBezTo>
                    <a:cubicBezTo>
                      <a:pt x="494" y="807"/>
                      <a:pt x="477" y="808"/>
                      <a:pt x="462" y="811"/>
                    </a:cubicBezTo>
                    <a:close/>
                    <a:moveTo>
                      <a:pt x="318" y="839"/>
                    </a:moveTo>
                    <a:cubicBezTo>
                      <a:pt x="326" y="887"/>
                      <a:pt x="341" y="928"/>
                      <a:pt x="354" y="970"/>
                    </a:cubicBezTo>
                    <a:cubicBezTo>
                      <a:pt x="400" y="977"/>
                      <a:pt x="448" y="987"/>
                      <a:pt x="496" y="988"/>
                    </a:cubicBezTo>
                    <a:cubicBezTo>
                      <a:pt x="480" y="933"/>
                      <a:pt x="470" y="871"/>
                      <a:pt x="459" y="811"/>
                    </a:cubicBezTo>
                    <a:cubicBezTo>
                      <a:pt x="411" y="819"/>
                      <a:pt x="363" y="827"/>
                      <a:pt x="318" y="839"/>
                    </a:cubicBezTo>
                    <a:close/>
                    <a:moveTo>
                      <a:pt x="1113" y="819"/>
                    </a:moveTo>
                    <a:cubicBezTo>
                      <a:pt x="1113" y="819"/>
                      <a:pt x="1113" y="818"/>
                      <a:pt x="1112" y="818"/>
                    </a:cubicBezTo>
                    <a:cubicBezTo>
                      <a:pt x="1102" y="876"/>
                      <a:pt x="1089" y="932"/>
                      <a:pt x="1074" y="984"/>
                    </a:cubicBezTo>
                    <a:cubicBezTo>
                      <a:pt x="1100" y="981"/>
                      <a:pt x="1126" y="978"/>
                      <a:pt x="1151" y="973"/>
                    </a:cubicBezTo>
                    <a:cubicBezTo>
                      <a:pt x="1151" y="922"/>
                      <a:pt x="1149" y="873"/>
                      <a:pt x="1146" y="825"/>
                    </a:cubicBezTo>
                    <a:cubicBezTo>
                      <a:pt x="1135" y="823"/>
                      <a:pt x="1125" y="820"/>
                      <a:pt x="1113" y="819"/>
                    </a:cubicBezTo>
                    <a:close/>
                    <a:moveTo>
                      <a:pt x="46" y="1018"/>
                    </a:moveTo>
                    <a:cubicBezTo>
                      <a:pt x="45" y="1002"/>
                      <a:pt x="48" y="990"/>
                      <a:pt x="54" y="980"/>
                    </a:cubicBezTo>
                    <a:cubicBezTo>
                      <a:pt x="37" y="936"/>
                      <a:pt x="24" y="889"/>
                      <a:pt x="17" y="837"/>
                    </a:cubicBezTo>
                    <a:cubicBezTo>
                      <a:pt x="13" y="832"/>
                      <a:pt x="11" y="826"/>
                      <a:pt x="7" y="821"/>
                    </a:cubicBezTo>
                    <a:cubicBezTo>
                      <a:pt x="12" y="895"/>
                      <a:pt x="24" y="961"/>
                      <a:pt x="46" y="1018"/>
                    </a:cubicBezTo>
                    <a:close/>
                    <a:moveTo>
                      <a:pt x="1507" y="887"/>
                    </a:moveTo>
                    <a:cubicBezTo>
                      <a:pt x="1509" y="865"/>
                      <a:pt x="1516" y="844"/>
                      <a:pt x="1515" y="823"/>
                    </a:cubicBezTo>
                    <a:cubicBezTo>
                      <a:pt x="1506" y="838"/>
                      <a:pt x="1508" y="868"/>
                      <a:pt x="1507" y="887"/>
                    </a:cubicBezTo>
                    <a:close/>
                    <a:moveTo>
                      <a:pt x="1149" y="826"/>
                    </a:moveTo>
                    <a:cubicBezTo>
                      <a:pt x="1152" y="873"/>
                      <a:pt x="1154" y="922"/>
                      <a:pt x="1154" y="973"/>
                    </a:cubicBezTo>
                    <a:cubicBezTo>
                      <a:pt x="1174" y="969"/>
                      <a:pt x="1195" y="965"/>
                      <a:pt x="1215" y="961"/>
                    </a:cubicBezTo>
                    <a:cubicBezTo>
                      <a:pt x="1227" y="925"/>
                      <a:pt x="1240" y="889"/>
                      <a:pt x="1248" y="849"/>
                    </a:cubicBezTo>
                    <a:cubicBezTo>
                      <a:pt x="1215" y="841"/>
                      <a:pt x="1184" y="832"/>
                      <a:pt x="1149" y="826"/>
                    </a:cubicBezTo>
                    <a:close/>
                    <a:moveTo>
                      <a:pt x="1461" y="878"/>
                    </a:moveTo>
                    <a:cubicBezTo>
                      <a:pt x="1455" y="899"/>
                      <a:pt x="1449" y="921"/>
                      <a:pt x="1442" y="941"/>
                    </a:cubicBezTo>
                    <a:cubicBezTo>
                      <a:pt x="1456" y="956"/>
                      <a:pt x="1469" y="972"/>
                      <a:pt x="1476" y="993"/>
                    </a:cubicBezTo>
                    <a:cubicBezTo>
                      <a:pt x="1493" y="949"/>
                      <a:pt x="1507" y="896"/>
                      <a:pt x="1506" y="837"/>
                    </a:cubicBezTo>
                    <a:cubicBezTo>
                      <a:pt x="1495" y="854"/>
                      <a:pt x="1476" y="865"/>
                      <a:pt x="1461" y="878"/>
                    </a:cubicBezTo>
                    <a:close/>
                    <a:moveTo>
                      <a:pt x="196" y="877"/>
                    </a:moveTo>
                    <a:cubicBezTo>
                      <a:pt x="201" y="898"/>
                      <a:pt x="208" y="918"/>
                      <a:pt x="215" y="938"/>
                    </a:cubicBezTo>
                    <a:cubicBezTo>
                      <a:pt x="247" y="946"/>
                      <a:pt x="278" y="956"/>
                      <a:pt x="313" y="961"/>
                    </a:cubicBezTo>
                    <a:cubicBezTo>
                      <a:pt x="311" y="919"/>
                      <a:pt x="316" y="878"/>
                      <a:pt x="315" y="839"/>
                    </a:cubicBezTo>
                    <a:cubicBezTo>
                      <a:pt x="314" y="839"/>
                      <a:pt x="313" y="839"/>
                      <a:pt x="313" y="839"/>
                    </a:cubicBezTo>
                    <a:cubicBezTo>
                      <a:pt x="272" y="850"/>
                      <a:pt x="233" y="863"/>
                      <a:pt x="196" y="877"/>
                    </a:cubicBezTo>
                    <a:close/>
                    <a:moveTo>
                      <a:pt x="55" y="977"/>
                    </a:moveTo>
                    <a:cubicBezTo>
                      <a:pt x="56" y="970"/>
                      <a:pt x="61" y="968"/>
                      <a:pt x="63" y="962"/>
                    </a:cubicBezTo>
                    <a:cubicBezTo>
                      <a:pt x="57" y="935"/>
                      <a:pt x="56" y="902"/>
                      <a:pt x="54" y="871"/>
                    </a:cubicBezTo>
                    <a:cubicBezTo>
                      <a:pt x="42" y="861"/>
                      <a:pt x="30" y="852"/>
                      <a:pt x="20" y="840"/>
                    </a:cubicBezTo>
                    <a:cubicBezTo>
                      <a:pt x="27" y="890"/>
                      <a:pt x="39" y="936"/>
                      <a:pt x="55" y="977"/>
                    </a:cubicBezTo>
                    <a:close/>
                    <a:moveTo>
                      <a:pt x="1251" y="851"/>
                    </a:moveTo>
                    <a:cubicBezTo>
                      <a:pt x="1241" y="889"/>
                      <a:pt x="1230" y="925"/>
                      <a:pt x="1218" y="960"/>
                    </a:cubicBezTo>
                    <a:cubicBezTo>
                      <a:pt x="1253" y="953"/>
                      <a:pt x="1288" y="945"/>
                      <a:pt x="1320" y="935"/>
                    </a:cubicBezTo>
                    <a:cubicBezTo>
                      <a:pt x="1320" y="914"/>
                      <a:pt x="1320" y="893"/>
                      <a:pt x="1319" y="873"/>
                    </a:cubicBezTo>
                    <a:cubicBezTo>
                      <a:pt x="1296" y="866"/>
                      <a:pt x="1275" y="857"/>
                      <a:pt x="1251" y="851"/>
                    </a:cubicBezTo>
                    <a:close/>
                    <a:moveTo>
                      <a:pt x="316" y="962"/>
                    </a:moveTo>
                    <a:cubicBezTo>
                      <a:pt x="327" y="965"/>
                      <a:pt x="339" y="967"/>
                      <a:pt x="351" y="969"/>
                    </a:cubicBezTo>
                    <a:cubicBezTo>
                      <a:pt x="338" y="932"/>
                      <a:pt x="328" y="893"/>
                      <a:pt x="318" y="853"/>
                    </a:cubicBezTo>
                    <a:cubicBezTo>
                      <a:pt x="316" y="889"/>
                      <a:pt x="315" y="925"/>
                      <a:pt x="316" y="962"/>
                    </a:cubicBezTo>
                    <a:close/>
                    <a:moveTo>
                      <a:pt x="65" y="959"/>
                    </a:moveTo>
                    <a:cubicBezTo>
                      <a:pt x="75" y="948"/>
                      <a:pt x="90" y="935"/>
                      <a:pt x="102" y="923"/>
                    </a:cubicBezTo>
                    <a:cubicBezTo>
                      <a:pt x="99" y="914"/>
                      <a:pt x="96" y="904"/>
                      <a:pt x="94" y="894"/>
                    </a:cubicBezTo>
                    <a:cubicBezTo>
                      <a:pt x="80" y="889"/>
                      <a:pt x="69" y="880"/>
                      <a:pt x="56" y="873"/>
                    </a:cubicBezTo>
                    <a:cubicBezTo>
                      <a:pt x="59" y="902"/>
                      <a:pt x="60" y="932"/>
                      <a:pt x="65" y="959"/>
                    </a:cubicBezTo>
                    <a:close/>
                    <a:moveTo>
                      <a:pt x="1322" y="934"/>
                    </a:moveTo>
                    <a:cubicBezTo>
                      <a:pt x="1332" y="932"/>
                      <a:pt x="1340" y="928"/>
                      <a:pt x="1350" y="925"/>
                    </a:cubicBezTo>
                    <a:cubicBezTo>
                      <a:pt x="1354" y="914"/>
                      <a:pt x="1357" y="903"/>
                      <a:pt x="1360" y="891"/>
                    </a:cubicBezTo>
                    <a:cubicBezTo>
                      <a:pt x="1347" y="886"/>
                      <a:pt x="1335" y="880"/>
                      <a:pt x="1322" y="875"/>
                    </a:cubicBezTo>
                    <a:cubicBezTo>
                      <a:pt x="1323" y="895"/>
                      <a:pt x="1323" y="913"/>
                      <a:pt x="1322" y="934"/>
                    </a:cubicBezTo>
                    <a:close/>
                    <a:moveTo>
                      <a:pt x="194" y="879"/>
                    </a:moveTo>
                    <a:cubicBezTo>
                      <a:pt x="181" y="882"/>
                      <a:pt x="173" y="889"/>
                      <a:pt x="161" y="892"/>
                    </a:cubicBezTo>
                    <a:cubicBezTo>
                      <a:pt x="161" y="902"/>
                      <a:pt x="161" y="911"/>
                      <a:pt x="161" y="921"/>
                    </a:cubicBezTo>
                    <a:cubicBezTo>
                      <a:pt x="179" y="925"/>
                      <a:pt x="195" y="935"/>
                      <a:pt x="212" y="935"/>
                    </a:cubicBezTo>
                    <a:cubicBezTo>
                      <a:pt x="205" y="917"/>
                      <a:pt x="199" y="899"/>
                      <a:pt x="194" y="879"/>
                    </a:cubicBezTo>
                    <a:close/>
                    <a:moveTo>
                      <a:pt x="1457" y="881"/>
                    </a:moveTo>
                    <a:cubicBezTo>
                      <a:pt x="1457" y="880"/>
                      <a:pt x="1456" y="880"/>
                      <a:pt x="1455" y="880"/>
                    </a:cubicBezTo>
                    <a:cubicBezTo>
                      <a:pt x="1452" y="883"/>
                      <a:pt x="1447" y="885"/>
                      <a:pt x="1443" y="887"/>
                    </a:cubicBezTo>
                    <a:cubicBezTo>
                      <a:pt x="1443" y="905"/>
                      <a:pt x="1440" y="923"/>
                      <a:pt x="1441" y="937"/>
                    </a:cubicBezTo>
                    <a:cubicBezTo>
                      <a:pt x="1443" y="919"/>
                      <a:pt x="1456" y="899"/>
                      <a:pt x="1457" y="881"/>
                    </a:cubicBezTo>
                    <a:close/>
                    <a:moveTo>
                      <a:pt x="1505" y="889"/>
                    </a:moveTo>
                    <a:cubicBezTo>
                      <a:pt x="1506" y="893"/>
                      <a:pt x="1506" y="886"/>
                      <a:pt x="1505" y="889"/>
                    </a:cubicBezTo>
                    <a:close/>
                    <a:moveTo>
                      <a:pt x="1399" y="909"/>
                    </a:moveTo>
                    <a:cubicBezTo>
                      <a:pt x="1411" y="918"/>
                      <a:pt x="1425" y="927"/>
                      <a:pt x="1437" y="936"/>
                    </a:cubicBezTo>
                    <a:cubicBezTo>
                      <a:pt x="1438" y="922"/>
                      <a:pt x="1441" y="904"/>
                      <a:pt x="1439" y="889"/>
                    </a:cubicBezTo>
                    <a:cubicBezTo>
                      <a:pt x="1427" y="897"/>
                      <a:pt x="1413" y="903"/>
                      <a:pt x="1399" y="909"/>
                    </a:cubicBezTo>
                    <a:close/>
                    <a:moveTo>
                      <a:pt x="1354" y="924"/>
                    </a:moveTo>
                    <a:cubicBezTo>
                      <a:pt x="1366" y="919"/>
                      <a:pt x="1379" y="914"/>
                      <a:pt x="1392" y="910"/>
                    </a:cubicBezTo>
                    <a:cubicBezTo>
                      <a:pt x="1384" y="902"/>
                      <a:pt x="1373" y="898"/>
                      <a:pt x="1363" y="893"/>
                    </a:cubicBezTo>
                    <a:cubicBezTo>
                      <a:pt x="1360" y="903"/>
                      <a:pt x="1354" y="915"/>
                      <a:pt x="1354" y="924"/>
                    </a:cubicBezTo>
                    <a:close/>
                    <a:moveTo>
                      <a:pt x="131" y="910"/>
                    </a:moveTo>
                    <a:cubicBezTo>
                      <a:pt x="141" y="912"/>
                      <a:pt x="148" y="917"/>
                      <a:pt x="158" y="919"/>
                    </a:cubicBezTo>
                    <a:cubicBezTo>
                      <a:pt x="158" y="911"/>
                      <a:pt x="159" y="901"/>
                      <a:pt x="157" y="894"/>
                    </a:cubicBezTo>
                    <a:cubicBezTo>
                      <a:pt x="149" y="900"/>
                      <a:pt x="139" y="903"/>
                      <a:pt x="131" y="910"/>
                    </a:cubicBezTo>
                    <a:close/>
                    <a:moveTo>
                      <a:pt x="929" y="998"/>
                    </a:moveTo>
                    <a:cubicBezTo>
                      <a:pt x="936" y="999"/>
                      <a:pt x="939" y="996"/>
                      <a:pt x="945" y="997"/>
                    </a:cubicBezTo>
                    <a:cubicBezTo>
                      <a:pt x="947" y="964"/>
                      <a:pt x="945" y="928"/>
                      <a:pt x="944" y="895"/>
                    </a:cubicBezTo>
                    <a:cubicBezTo>
                      <a:pt x="941" y="931"/>
                      <a:pt x="935" y="964"/>
                      <a:pt x="929" y="998"/>
                    </a:cubicBezTo>
                    <a:close/>
                    <a:moveTo>
                      <a:pt x="98" y="897"/>
                    </a:moveTo>
                    <a:cubicBezTo>
                      <a:pt x="99" y="906"/>
                      <a:pt x="103" y="913"/>
                      <a:pt x="104" y="922"/>
                    </a:cubicBezTo>
                    <a:cubicBezTo>
                      <a:pt x="112" y="918"/>
                      <a:pt x="119" y="915"/>
                      <a:pt x="125" y="909"/>
                    </a:cubicBezTo>
                    <a:cubicBezTo>
                      <a:pt x="115" y="906"/>
                      <a:pt x="107" y="900"/>
                      <a:pt x="98" y="897"/>
                    </a:cubicBezTo>
                    <a:moveTo>
                      <a:pt x="98" y="897"/>
                    </a:moveTo>
                    <a:cubicBezTo>
                      <a:pt x="97" y="896"/>
                      <a:pt x="97" y="897"/>
                      <a:pt x="98" y="897"/>
                    </a:cubicBezTo>
                    <a:moveTo>
                      <a:pt x="128" y="911"/>
                    </a:moveTo>
                    <a:cubicBezTo>
                      <a:pt x="121" y="916"/>
                      <a:pt x="111" y="919"/>
                      <a:pt x="106" y="927"/>
                    </a:cubicBezTo>
                    <a:cubicBezTo>
                      <a:pt x="126" y="981"/>
                      <a:pt x="148" y="1032"/>
                      <a:pt x="176" y="1078"/>
                    </a:cubicBezTo>
                    <a:cubicBezTo>
                      <a:pt x="166" y="1030"/>
                      <a:pt x="160" y="978"/>
                      <a:pt x="158" y="922"/>
                    </a:cubicBezTo>
                    <a:cubicBezTo>
                      <a:pt x="148" y="919"/>
                      <a:pt x="138" y="915"/>
                      <a:pt x="128" y="911"/>
                    </a:cubicBezTo>
                    <a:close/>
                    <a:moveTo>
                      <a:pt x="1396" y="911"/>
                    </a:moveTo>
                    <a:cubicBezTo>
                      <a:pt x="1381" y="916"/>
                      <a:pt x="1367" y="923"/>
                      <a:pt x="1351" y="927"/>
                    </a:cubicBezTo>
                    <a:cubicBezTo>
                      <a:pt x="1341" y="957"/>
                      <a:pt x="1330" y="985"/>
                      <a:pt x="1317" y="1011"/>
                    </a:cubicBezTo>
                    <a:cubicBezTo>
                      <a:pt x="1313" y="1047"/>
                      <a:pt x="1308" y="1080"/>
                      <a:pt x="1301" y="1111"/>
                    </a:cubicBezTo>
                    <a:cubicBezTo>
                      <a:pt x="1314" y="1119"/>
                      <a:pt x="1324" y="1130"/>
                      <a:pt x="1336" y="1139"/>
                    </a:cubicBezTo>
                    <a:cubicBezTo>
                      <a:pt x="1376" y="1079"/>
                      <a:pt x="1414" y="1018"/>
                      <a:pt x="1437" y="941"/>
                    </a:cubicBezTo>
                    <a:cubicBezTo>
                      <a:pt x="1425" y="929"/>
                      <a:pt x="1410" y="920"/>
                      <a:pt x="1396" y="911"/>
                    </a:cubicBezTo>
                    <a:close/>
                    <a:moveTo>
                      <a:pt x="161" y="927"/>
                    </a:moveTo>
                    <a:cubicBezTo>
                      <a:pt x="163" y="985"/>
                      <a:pt x="170" y="1038"/>
                      <a:pt x="181" y="1087"/>
                    </a:cubicBezTo>
                    <a:cubicBezTo>
                      <a:pt x="190" y="1099"/>
                      <a:pt x="197" y="1113"/>
                      <a:pt x="206" y="1125"/>
                    </a:cubicBezTo>
                    <a:cubicBezTo>
                      <a:pt x="227" y="1107"/>
                      <a:pt x="251" y="1093"/>
                      <a:pt x="277" y="1081"/>
                    </a:cubicBezTo>
                    <a:cubicBezTo>
                      <a:pt x="255" y="1036"/>
                      <a:pt x="231" y="992"/>
                      <a:pt x="214" y="940"/>
                    </a:cubicBezTo>
                    <a:cubicBezTo>
                      <a:pt x="195" y="936"/>
                      <a:pt x="179" y="929"/>
                      <a:pt x="161" y="924"/>
                    </a:cubicBezTo>
                    <a:cubicBezTo>
                      <a:pt x="161" y="925"/>
                      <a:pt x="161" y="926"/>
                      <a:pt x="161" y="927"/>
                    </a:cubicBezTo>
                    <a:close/>
                    <a:moveTo>
                      <a:pt x="66" y="965"/>
                    </a:moveTo>
                    <a:cubicBezTo>
                      <a:pt x="64" y="977"/>
                      <a:pt x="71" y="992"/>
                      <a:pt x="74" y="1005"/>
                    </a:cubicBezTo>
                    <a:cubicBezTo>
                      <a:pt x="77" y="1019"/>
                      <a:pt x="78" y="1032"/>
                      <a:pt x="82" y="1043"/>
                    </a:cubicBezTo>
                    <a:cubicBezTo>
                      <a:pt x="93" y="1070"/>
                      <a:pt x="112" y="1092"/>
                      <a:pt x="122" y="1112"/>
                    </a:cubicBezTo>
                    <a:cubicBezTo>
                      <a:pt x="142" y="1123"/>
                      <a:pt x="164" y="1137"/>
                      <a:pt x="186" y="1144"/>
                    </a:cubicBezTo>
                    <a:cubicBezTo>
                      <a:pt x="195" y="1137"/>
                      <a:pt x="189" y="1127"/>
                      <a:pt x="186" y="1118"/>
                    </a:cubicBezTo>
                    <a:cubicBezTo>
                      <a:pt x="183" y="1108"/>
                      <a:pt x="181" y="1097"/>
                      <a:pt x="179" y="1087"/>
                    </a:cubicBezTo>
                    <a:cubicBezTo>
                      <a:pt x="149" y="1039"/>
                      <a:pt x="124" y="986"/>
                      <a:pt x="104" y="928"/>
                    </a:cubicBezTo>
                    <a:cubicBezTo>
                      <a:pt x="104" y="927"/>
                      <a:pt x="104" y="927"/>
                      <a:pt x="103" y="927"/>
                    </a:cubicBezTo>
                    <a:cubicBezTo>
                      <a:pt x="95" y="937"/>
                      <a:pt x="68" y="952"/>
                      <a:pt x="66" y="965"/>
                    </a:cubicBezTo>
                    <a:close/>
                    <a:moveTo>
                      <a:pt x="1322" y="936"/>
                    </a:moveTo>
                    <a:cubicBezTo>
                      <a:pt x="1322" y="959"/>
                      <a:pt x="1319" y="983"/>
                      <a:pt x="1319" y="1003"/>
                    </a:cubicBezTo>
                    <a:cubicBezTo>
                      <a:pt x="1329" y="979"/>
                      <a:pt x="1339" y="954"/>
                      <a:pt x="1349" y="929"/>
                    </a:cubicBezTo>
                    <a:cubicBezTo>
                      <a:pt x="1339" y="930"/>
                      <a:pt x="1332" y="935"/>
                      <a:pt x="1322" y="936"/>
                    </a:cubicBezTo>
                    <a:close/>
                    <a:moveTo>
                      <a:pt x="1216" y="963"/>
                    </a:moveTo>
                    <a:cubicBezTo>
                      <a:pt x="1206" y="996"/>
                      <a:pt x="1192" y="1025"/>
                      <a:pt x="1179" y="1055"/>
                    </a:cubicBezTo>
                    <a:cubicBezTo>
                      <a:pt x="1212" y="1065"/>
                      <a:pt x="1242" y="1078"/>
                      <a:pt x="1271" y="1093"/>
                    </a:cubicBezTo>
                    <a:cubicBezTo>
                      <a:pt x="1278" y="1080"/>
                      <a:pt x="1286" y="1067"/>
                      <a:pt x="1294" y="1053"/>
                    </a:cubicBezTo>
                    <a:cubicBezTo>
                      <a:pt x="1300" y="1041"/>
                      <a:pt x="1312" y="1023"/>
                      <a:pt x="1315" y="1010"/>
                    </a:cubicBezTo>
                    <a:cubicBezTo>
                      <a:pt x="1320" y="988"/>
                      <a:pt x="1316" y="966"/>
                      <a:pt x="1319" y="938"/>
                    </a:cubicBezTo>
                    <a:cubicBezTo>
                      <a:pt x="1318" y="938"/>
                      <a:pt x="1318" y="938"/>
                      <a:pt x="1317" y="938"/>
                    </a:cubicBezTo>
                    <a:cubicBezTo>
                      <a:pt x="1285" y="948"/>
                      <a:pt x="1252" y="957"/>
                      <a:pt x="1216" y="963"/>
                    </a:cubicBezTo>
                    <a:close/>
                    <a:moveTo>
                      <a:pt x="280" y="1079"/>
                    </a:moveTo>
                    <a:cubicBezTo>
                      <a:pt x="293" y="1075"/>
                      <a:pt x="305" y="1068"/>
                      <a:pt x="319" y="1064"/>
                    </a:cubicBezTo>
                    <a:cubicBezTo>
                      <a:pt x="315" y="1033"/>
                      <a:pt x="314" y="998"/>
                      <a:pt x="313" y="964"/>
                    </a:cubicBezTo>
                    <a:cubicBezTo>
                      <a:pt x="279" y="958"/>
                      <a:pt x="248" y="950"/>
                      <a:pt x="217" y="941"/>
                    </a:cubicBezTo>
                    <a:cubicBezTo>
                      <a:pt x="234" y="991"/>
                      <a:pt x="256" y="1036"/>
                      <a:pt x="280" y="1079"/>
                    </a:cubicBezTo>
                    <a:close/>
                    <a:moveTo>
                      <a:pt x="1403" y="1111"/>
                    </a:moveTo>
                    <a:cubicBezTo>
                      <a:pt x="1431" y="1098"/>
                      <a:pt x="1442" y="1073"/>
                      <a:pt x="1454" y="1045"/>
                    </a:cubicBezTo>
                    <a:cubicBezTo>
                      <a:pt x="1461" y="1029"/>
                      <a:pt x="1470" y="1013"/>
                      <a:pt x="1474" y="997"/>
                    </a:cubicBezTo>
                    <a:cubicBezTo>
                      <a:pt x="1468" y="975"/>
                      <a:pt x="1455" y="958"/>
                      <a:pt x="1440" y="944"/>
                    </a:cubicBezTo>
                    <a:cubicBezTo>
                      <a:pt x="1433" y="1004"/>
                      <a:pt x="1418" y="1062"/>
                      <a:pt x="1403" y="1111"/>
                    </a:cubicBezTo>
                    <a:close/>
                    <a:moveTo>
                      <a:pt x="1491" y="959"/>
                    </a:moveTo>
                    <a:cubicBezTo>
                      <a:pt x="1492" y="962"/>
                      <a:pt x="1492" y="955"/>
                      <a:pt x="1491" y="959"/>
                    </a:cubicBezTo>
                    <a:close/>
                    <a:moveTo>
                      <a:pt x="1434" y="961"/>
                    </a:moveTo>
                    <a:cubicBezTo>
                      <a:pt x="1434" y="961"/>
                      <a:pt x="1435" y="962"/>
                      <a:pt x="1434" y="961"/>
                    </a:cubicBezTo>
                    <a:close/>
                    <a:moveTo>
                      <a:pt x="1490" y="963"/>
                    </a:moveTo>
                    <a:cubicBezTo>
                      <a:pt x="1489" y="963"/>
                      <a:pt x="1489" y="963"/>
                      <a:pt x="1489" y="963"/>
                    </a:cubicBezTo>
                    <a:cubicBezTo>
                      <a:pt x="1487" y="979"/>
                      <a:pt x="1474" y="992"/>
                      <a:pt x="1479" y="1008"/>
                    </a:cubicBezTo>
                    <a:cubicBezTo>
                      <a:pt x="1482" y="992"/>
                      <a:pt x="1488" y="980"/>
                      <a:pt x="1490" y="963"/>
                    </a:cubicBezTo>
                    <a:moveTo>
                      <a:pt x="1490" y="963"/>
                    </a:moveTo>
                    <a:cubicBezTo>
                      <a:pt x="1493" y="962"/>
                      <a:pt x="1489" y="958"/>
                      <a:pt x="1490" y="963"/>
                    </a:cubicBezTo>
                    <a:moveTo>
                      <a:pt x="1350" y="1123"/>
                    </a:moveTo>
                    <a:cubicBezTo>
                      <a:pt x="1346" y="1129"/>
                      <a:pt x="1339" y="1135"/>
                      <a:pt x="1338" y="1144"/>
                    </a:cubicBezTo>
                    <a:cubicBezTo>
                      <a:pt x="1361" y="1136"/>
                      <a:pt x="1379" y="1125"/>
                      <a:pt x="1398" y="1114"/>
                    </a:cubicBezTo>
                    <a:cubicBezTo>
                      <a:pt x="1414" y="1068"/>
                      <a:pt x="1429" y="1017"/>
                      <a:pt x="1433" y="963"/>
                    </a:cubicBezTo>
                    <a:cubicBezTo>
                      <a:pt x="1411" y="1021"/>
                      <a:pt x="1383" y="1076"/>
                      <a:pt x="1350" y="1123"/>
                    </a:cubicBezTo>
                    <a:close/>
                    <a:moveTo>
                      <a:pt x="1213" y="965"/>
                    </a:moveTo>
                    <a:cubicBezTo>
                      <a:pt x="1195" y="967"/>
                      <a:pt x="1173" y="973"/>
                      <a:pt x="1153" y="976"/>
                    </a:cubicBezTo>
                    <a:cubicBezTo>
                      <a:pt x="1153" y="1000"/>
                      <a:pt x="1152" y="1023"/>
                      <a:pt x="1150" y="1046"/>
                    </a:cubicBezTo>
                    <a:cubicBezTo>
                      <a:pt x="1160" y="1048"/>
                      <a:pt x="1167" y="1052"/>
                      <a:pt x="1177" y="1054"/>
                    </a:cubicBezTo>
                    <a:cubicBezTo>
                      <a:pt x="1190" y="1025"/>
                      <a:pt x="1202" y="996"/>
                      <a:pt x="1213" y="965"/>
                    </a:cubicBezTo>
                    <a:close/>
                    <a:moveTo>
                      <a:pt x="321" y="1062"/>
                    </a:moveTo>
                    <a:cubicBezTo>
                      <a:pt x="341" y="1057"/>
                      <a:pt x="360" y="1049"/>
                      <a:pt x="380" y="1044"/>
                    </a:cubicBezTo>
                    <a:cubicBezTo>
                      <a:pt x="370" y="1020"/>
                      <a:pt x="361" y="996"/>
                      <a:pt x="352" y="972"/>
                    </a:cubicBezTo>
                    <a:cubicBezTo>
                      <a:pt x="339" y="970"/>
                      <a:pt x="328" y="967"/>
                      <a:pt x="316" y="965"/>
                    </a:cubicBezTo>
                    <a:cubicBezTo>
                      <a:pt x="316" y="999"/>
                      <a:pt x="319" y="1030"/>
                      <a:pt x="321" y="1062"/>
                    </a:cubicBezTo>
                    <a:close/>
                    <a:moveTo>
                      <a:pt x="75" y="1024"/>
                    </a:moveTo>
                    <a:cubicBezTo>
                      <a:pt x="70" y="1006"/>
                      <a:pt x="68" y="985"/>
                      <a:pt x="62" y="968"/>
                    </a:cubicBezTo>
                    <a:cubicBezTo>
                      <a:pt x="50" y="986"/>
                      <a:pt x="69" y="1007"/>
                      <a:pt x="75" y="1024"/>
                    </a:cubicBezTo>
                    <a:close/>
                    <a:moveTo>
                      <a:pt x="382" y="1043"/>
                    </a:moveTo>
                    <a:cubicBezTo>
                      <a:pt x="421" y="1032"/>
                      <a:pt x="463" y="1025"/>
                      <a:pt x="504" y="1016"/>
                    </a:cubicBezTo>
                    <a:cubicBezTo>
                      <a:pt x="501" y="1009"/>
                      <a:pt x="499" y="1001"/>
                      <a:pt x="497" y="992"/>
                    </a:cubicBezTo>
                    <a:cubicBezTo>
                      <a:pt x="448" y="988"/>
                      <a:pt x="402" y="981"/>
                      <a:pt x="356" y="973"/>
                    </a:cubicBezTo>
                    <a:cubicBezTo>
                      <a:pt x="363" y="998"/>
                      <a:pt x="374" y="1019"/>
                      <a:pt x="382" y="1043"/>
                    </a:cubicBezTo>
                    <a:close/>
                    <a:moveTo>
                      <a:pt x="1150" y="976"/>
                    </a:moveTo>
                    <a:cubicBezTo>
                      <a:pt x="1125" y="981"/>
                      <a:pt x="1099" y="984"/>
                      <a:pt x="1073" y="987"/>
                    </a:cubicBezTo>
                    <a:cubicBezTo>
                      <a:pt x="1069" y="1000"/>
                      <a:pt x="1065" y="1012"/>
                      <a:pt x="1062" y="1025"/>
                    </a:cubicBezTo>
                    <a:cubicBezTo>
                      <a:pt x="1092" y="1029"/>
                      <a:pt x="1121" y="1039"/>
                      <a:pt x="1148" y="1044"/>
                    </a:cubicBezTo>
                    <a:cubicBezTo>
                      <a:pt x="1148" y="1021"/>
                      <a:pt x="1151" y="996"/>
                      <a:pt x="1150" y="976"/>
                    </a:cubicBezTo>
                    <a:close/>
                    <a:moveTo>
                      <a:pt x="95" y="1092"/>
                    </a:moveTo>
                    <a:cubicBezTo>
                      <a:pt x="95" y="1093"/>
                      <a:pt x="96" y="1092"/>
                      <a:pt x="95" y="1092"/>
                    </a:cubicBezTo>
                    <a:moveTo>
                      <a:pt x="95" y="1092"/>
                    </a:moveTo>
                    <a:cubicBezTo>
                      <a:pt x="84" y="1053"/>
                      <a:pt x="70" y="1017"/>
                      <a:pt x="54" y="984"/>
                    </a:cubicBezTo>
                    <a:cubicBezTo>
                      <a:pt x="36" y="1032"/>
                      <a:pt x="67" y="1071"/>
                      <a:pt x="95" y="1092"/>
                    </a:cubicBezTo>
                    <a:moveTo>
                      <a:pt x="950" y="1000"/>
                    </a:moveTo>
                    <a:cubicBezTo>
                      <a:pt x="950" y="1002"/>
                      <a:pt x="950" y="1004"/>
                      <a:pt x="950" y="1007"/>
                    </a:cubicBezTo>
                    <a:cubicBezTo>
                      <a:pt x="986" y="1013"/>
                      <a:pt x="1024" y="1017"/>
                      <a:pt x="1059" y="1024"/>
                    </a:cubicBezTo>
                    <a:cubicBezTo>
                      <a:pt x="1063" y="1013"/>
                      <a:pt x="1066" y="1000"/>
                      <a:pt x="1070" y="988"/>
                    </a:cubicBezTo>
                    <a:cubicBezTo>
                      <a:pt x="1030" y="992"/>
                      <a:pt x="990" y="996"/>
                      <a:pt x="950" y="1000"/>
                    </a:cubicBezTo>
                    <a:close/>
                    <a:moveTo>
                      <a:pt x="508" y="1016"/>
                    </a:moveTo>
                    <a:cubicBezTo>
                      <a:pt x="508" y="1009"/>
                      <a:pt x="508" y="1001"/>
                      <a:pt x="508" y="994"/>
                    </a:cubicBezTo>
                    <a:cubicBezTo>
                      <a:pt x="506" y="993"/>
                      <a:pt x="503" y="993"/>
                      <a:pt x="500" y="993"/>
                    </a:cubicBezTo>
                    <a:cubicBezTo>
                      <a:pt x="502" y="1001"/>
                      <a:pt x="502" y="1011"/>
                      <a:pt x="508" y="1016"/>
                    </a:cubicBezTo>
                    <a:close/>
                    <a:moveTo>
                      <a:pt x="510" y="994"/>
                    </a:moveTo>
                    <a:cubicBezTo>
                      <a:pt x="511" y="1001"/>
                      <a:pt x="509" y="1011"/>
                      <a:pt x="511" y="1016"/>
                    </a:cubicBezTo>
                    <a:cubicBezTo>
                      <a:pt x="545" y="1009"/>
                      <a:pt x="584" y="1008"/>
                      <a:pt x="619" y="1002"/>
                    </a:cubicBezTo>
                    <a:cubicBezTo>
                      <a:pt x="581" y="1001"/>
                      <a:pt x="546" y="997"/>
                      <a:pt x="510" y="994"/>
                    </a:cubicBezTo>
                    <a:close/>
                    <a:moveTo>
                      <a:pt x="684" y="1002"/>
                    </a:moveTo>
                    <a:cubicBezTo>
                      <a:pt x="696" y="1003"/>
                      <a:pt x="716" y="1005"/>
                      <a:pt x="726" y="1001"/>
                    </a:cubicBezTo>
                    <a:cubicBezTo>
                      <a:pt x="714" y="999"/>
                      <a:pt x="697" y="1001"/>
                      <a:pt x="684" y="1002"/>
                    </a:cubicBezTo>
                    <a:close/>
                    <a:moveTo>
                      <a:pt x="728" y="1002"/>
                    </a:moveTo>
                    <a:cubicBezTo>
                      <a:pt x="729" y="1002"/>
                      <a:pt x="729" y="1003"/>
                      <a:pt x="730" y="1003"/>
                    </a:cubicBezTo>
                    <a:cubicBezTo>
                      <a:pt x="740" y="1004"/>
                      <a:pt x="752" y="1004"/>
                      <a:pt x="763" y="1004"/>
                    </a:cubicBezTo>
                    <a:cubicBezTo>
                      <a:pt x="770" y="1004"/>
                      <a:pt x="780" y="1006"/>
                      <a:pt x="783" y="1001"/>
                    </a:cubicBezTo>
                    <a:cubicBezTo>
                      <a:pt x="767" y="1000"/>
                      <a:pt x="743" y="998"/>
                      <a:pt x="728" y="1002"/>
                    </a:cubicBezTo>
                    <a:close/>
                    <a:moveTo>
                      <a:pt x="786" y="1002"/>
                    </a:moveTo>
                    <a:cubicBezTo>
                      <a:pt x="802" y="1003"/>
                      <a:pt x="826" y="1004"/>
                      <a:pt x="840" y="1001"/>
                    </a:cubicBezTo>
                    <a:cubicBezTo>
                      <a:pt x="822" y="1003"/>
                      <a:pt x="801" y="997"/>
                      <a:pt x="786" y="1002"/>
                    </a:cubicBezTo>
                    <a:close/>
                    <a:moveTo>
                      <a:pt x="928" y="1005"/>
                    </a:moveTo>
                    <a:cubicBezTo>
                      <a:pt x="933" y="1006"/>
                      <a:pt x="939" y="1006"/>
                      <a:pt x="945" y="1007"/>
                    </a:cubicBezTo>
                    <a:cubicBezTo>
                      <a:pt x="945" y="1004"/>
                      <a:pt x="945" y="1002"/>
                      <a:pt x="945" y="1000"/>
                    </a:cubicBezTo>
                    <a:cubicBezTo>
                      <a:pt x="939" y="1001"/>
                      <a:pt x="929" y="998"/>
                      <a:pt x="928" y="1005"/>
                    </a:cubicBezTo>
                    <a:close/>
                    <a:moveTo>
                      <a:pt x="905" y="1003"/>
                    </a:moveTo>
                    <a:cubicBezTo>
                      <a:pt x="911" y="1002"/>
                      <a:pt x="924" y="1008"/>
                      <a:pt x="926" y="1002"/>
                    </a:cubicBezTo>
                    <a:cubicBezTo>
                      <a:pt x="921" y="1001"/>
                      <a:pt x="911" y="1002"/>
                      <a:pt x="905" y="1003"/>
                    </a:cubicBezTo>
                    <a:close/>
                    <a:moveTo>
                      <a:pt x="510" y="1018"/>
                    </a:moveTo>
                    <a:cubicBezTo>
                      <a:pt x="512" y="1043"/>
                      <a:pt x="518" y="1061"/>
                      <a:pt x="525" y="1080"/>
                    </a:cubicBezTo>
                    <a:cubicBezTo>
                      <a:pt x="539" y="1124"/>
                      <a:pt x="556" y="1165"/>
                      <a:pt x="573" y="1204"/>
                    </a:cubicBezTo>
                    <a:cubicBezTo>
                      <a:pt x="605" y="1200"/>
                      <a:pt x="636" y="1195"/>
                      <a:pt x="671" y="1193"/>
                    </a:cubicBezTo>
                    <a:cubicBezTo>
                      <a:pt x="658" y="1137"/>
                      <a:pt x="651" y="1072"/>
                      <a:pt x="641" y="1014"/>
                    </a:cubicBezTo>
                    <a:cubicBezTo>
                      <a:pt x="641" y="1011"/>
                      <a:pt x="643" y="1004"/>
                      <a:pt x="637" y="1004"/>
                    </a:cubicBezTo>
                    <a:cubicBezTo>
                      <a:pt x="594" y="1007"/>
                      <a:pt x="552" y="1012"/>
                      <a:pt x="510" y="1018"/>
                    </a:cubicBezTo>
                    <a:close/>
                    <a:moveTo>
                      <a:pt x="675" y="1192"/>
                    </a:moveTo>
                    <a:cubicBezTo>
                      <a:pt x="693" y="1192"/>
                      <a:pt x="708" y="1189"/>
                      <a:pt x="726" y="1190"/>
                    </a:cubicBezTo>
                    <a:cubicBezTo>
                      <a:pt x="727" y="1128"/>
                      <a:pt x="725" y="1068"/>
                      <a:pt x="726" y="1006"/>
                    </a:cubicBezTo>
                    <a:cubicBezTo>
                      <a:pt x="697" y="1006"/>
                      <a:pt x="672" y="1004"/>
                      <a:pt x="645" y="1004"/>
                    </a:cubicBezTo>
                    <a:cubicBezTo>
                      <a:pt x="650" y="1067"/>
                      <a:pt x="663" y="1131"/>
                      <a:pt x="675" y="1192"/>
                    </a:cubicBezTo>
                    <a:close/>
                    <a:moveTo>
                      <a:pt x="786" y="1006"/>
                    </a:moveTo>
                    <a:cubicBezTo>
                      <a:pt x="784" y="1067"/>
                      <a:pt x="782" y="1128"/>
                      <a:pt x="780" y="1189"/>
                    </a:cubicBezTo>
                    <a:cubicBezTo>
                      <a:pt x="815" y="1190"/>
                      <a:pt x="851" y="1191"/>
                      <a:pt x="883" y="1196"/>
                    </a:cubicBezTo>
                    <a:cubicBezTo>
                      <a:pt x="899" y="1135"/>
                      <a:pt x="913" y="1072"/>
                      <a:pt x="925" y="1007"/>
                    </a:cubicBezTo>
                    <a:cubicBezTo>
                      <a:pt x="882" y="1000"/>
                      <a:pt x="834" y="1007"/>
                      <a:pt x="786" y="1006"/>
                    </a:cubicBezTo>
                    <a:close/>
                    <a:moveTo>
                      <a:pt x="1439" y="1083"/>
                    </a:moveTo>
                    <a:cubicBezTo>
                      <a:pt x="1437" y="1084"/>
                      <a:pt x="1439" y="1084"/>
                      <a:pt x="1439" y="1083"/>
                    </a:cubicBezTo>
                    <a:moveTo>
                      <a:pt x="1439" y="1083"/>
                    </a:moveTo>
                    <a:cubicBezTo>
                      <a:pt x="1439" y="1083"/>
                      <a:pt x="1440" y="1083"/>
                      <a:pt x="1440" y="1083"/>
                    </a:cubicBezTo>
                    <a:cubicBezTo>
                      <a:pt x="1458" y="1065"/>
                      <a:pt x="1478" y="1037"/>
                      <a:pt x="1474" y="1004"/>
                    </a:cubicBezTo>
                    <a:cubicBezTo>
                      <a:pt x="1465" y="1033"/>
                      <a:pt x="1451" y="1057"/>
                      <a:pt x="1439" y="1083"/>
                    </a:cubicBezTo>
                    <a:moveTo>
                      <a:pt x="729" y="1190"/>
                    </a:moveTo>
                    <a:cubicBezTo>
                      <a:pt x="744" y="1188"/>
                      <a:pt x="762" y="1189"/>
                      <a:pt x="777" y="1189"/>
                    </a:cubicBezTo>
                    <a:cubicBezTo>
                      <a:pt x="780" y="1129"/>
                      <a:pt x="782" y="1067"/>
                      <a:pt x="783" y="1006"/>
                    </a:cubicBezTo>
                    <a:cubicBezTo>
                      <a:pt x="765" y="1006"/>
                      <a:pt x="747" y="1006"/>
                      <a:pt x="729" y="1006"/>
                    </a:cubicBezTo>
                    <a:cubicBezTo>
                      <a:pt x="727" y="1066"/>
                      <a:pt x="729" y="1129"/>
                      <a:pt x="729" y="1190"/>
                    </a:cubicBezTo>
                    <a:close/>
                    <a:moveTo>
                      <a:pt x="928" y="1007"/>
                    </a:moveTo>
                    <a:cubicBezTo>
                      <a:pt x="915" y="1072"/>
                      <a:pt x="903" y="1136"/>
                      <a:pt x="885" y="1196"/>
                    </a:cubicBezTo>
                    <a:cubicBezTo>
                      <a:pt x="903" y="1197"/>
                      <a:pt x="920" y="1200"/>
                      <a:pt x="937" y="1202"/>
                    </a:cubicBezTo>
                    <a:cubicBezTo>
                      <a:pt x="941" y="1140"/>
                      <a:pt x="945" y="1077"/>
                      <a:pt x="945" y="1009"/>
                    </a:cubicBezTo>
                    <a:cubicBezTo>
                      <a:pt x="940" y="1009"/>
                      <a:pt x="934" y="1008"/>
                      <a:pt x="928" y="1007"/>
                    </a:cubicBezTo>
                    <a:close/>
                    <a:moveTo>
                      <a:pt x="951" y="1010"/>
                    </a:moveTo>
                    <a:cubicBezTo>
                      <a:pt x="947" y="1074"/>
                      <a:pt x="947" y="1142"/>
                      <a:pt x="941" y="1203"/>
                    </a:cubicBezTo>
                    <a:cubicBezTo>
                      <a:pt x="955" y="1205"/>
                      <a:pt x="968" y="1208"/>
                      <a:pt x="981" y="1211"/>
                    </a:cubicBezTo>
                    <a:cubicBezTo>
                      <a:pt x="1010" y="1153"/>
                      <a:pt x="1037" y="1093"/>
                      <a:pt x="1058" y="1026"/>
                    </a:cubicBezTo>
                    <a:cubicBezTo>
                      <a:pt x="1022" y="1020"/>
                      <a:pt x="989" y="1013"/>
                      <a:pt x="951" y="1010"/>
                    </a:cubicBezTo>
                    <a:close/>
                    <a:moveTo>
                      <a:pt x="507" y="1020"/>
                    </a:moveTo>
                    <a:cubicBezTo>
                      <a:pt x="508" y="1024"/>
                      <a:pt x="508" y="1016"/>
                      <a:pt x="507" y="1020"/>
                    </a:cubicBezTo>
                    <a:close/>
                    <a:moveTo>
                      <a:pt x="384" y="1045"/>
                    </a:moveTo>
                    <a:cubicBezTo>
                      <a:pt x="411" y="1107"/>
                      <a:pt x="441" y="1167"/>
                      <a:pt x="479" y="1218"/>
                    </a:cubicBezTo>
                    <a:cubicBezTo>
                      <a:pt x="493" y="1223"/>
                      <a:pt x="508" y="1219"/>
                      <a:pt x="522" y="1216"/>
                    </a:cubicBezTo>
                    <a:cubicBezTo>
                      <a:pt x="517" y="1173"/>
                      <a:pt x="513" y="1126"/>
                      <a:pt x="510" y="1081"/>
                    </a:cubicBezTo>
                    <a:cubicBezTo>
                      <a:pt x="509" y="1066"/>
                      <a:pt x="511" y="1049"/>
                      <a:pt x="509" y="1034"/>
                    </a:cubicBezTo>
                    <a:cubicBezTo>
                      <a:pt x="508" y="1030"/>
                      <a:pt x="506" y="1023"/>
                      <a:pt x="502" y="1020"/>
                    </a:cubicBezTo>
                    <a:cubicBezTo>
                      <a:pt x="460" y="1026"/>
                      <a:pt x="422" y="1036"/>
                      <a:pt x="384" y="1045"/>
                    </a:cubicBezTo>
                    <a:close/>
                    <a:moveTo>
                      <a:pt x="1274" y="1095"/>
                    </a:moveTo>
                    <a:cubicBezTo>
                      <a:pt x="1283" y="1099"/>
                      <a:pt x="1290" y="1105"/>
                      <a:pt x="1299" y="1109"/>
                    </a:cubicBezTo>
                    <a:cubicBezTo>
                      <a:pt x="1304" y="1081"/>
                      <a:pt x="1312" y="1050"/>
                      <a:pt x="1312" y="1021"/>
                    </a:cubicBezTo>
                    <a:cubicBezTo>
                      <a:pt x="1301" y="1047"/>
                      <a:pt x="1286" y="1070"/>
                      <a:pt x="1274" y="1095"/>
                    </a:cubicBezTo>
                    <a:close/>
                    <a:moveTo>
                      <a:pt x="508" y="1025"/>
                    </a:moveTo>
                    <a:cubicBezTo>
                      <a:pt x="507" y="1024"/>
                      <a:pt x="508" y="1025"/>
                      <a:pt x="508" y="1025"/>
                    </a:cubicBezTo>
                    <a:close/>
                    <a:moveTo>
                      <a:pt x="75" y="1026"/>
                    </a:moveTo>
                    <a:cubicBezTo>
                      <a:pt x="75" y="1026"/>
                      <a:pt x="74" y="1025"/>
                      <a:pt x="75" y="1026"/>
                    </a:cubicBezTo>
                    <a:close/>
                    <a:moveTo>
                      <a:pt x="1062" y="1027"/>
                    </a:moveTo>
                    <a:cubicBezTo>
                      <a:pt x="1038" y="1091"/>
                      <a:pt x="1014" y="1154"/>
                      <a:pt x="984" y="1211"/>
                    </a:cubicBezTo>
                    <a:cubicBezTo>
                      <a:pt x="1013" y="1223"/>
                      <a:pt x="1049" y="1219"/>
                      <a:pt x="1083" y="1213"/>
                    </a:cubicBezTo>
                    <a:cubicBezTo>
                      <a:pt x="1092" y="1199"/>
                      <a:pt x="1103" y="1185"/>
                      <a:pt x="1112" y="1170"/>
                    </a:cubicBezTo>
                    <a:cubicBezTo>
                      <a:pt x="1121" y="1156"/>
                      <a:pt x="1134" y="1140"/>
                      <a:pt x="1139" y="1124"/>
                    </a:cubicBezTo>
                    <a:cubicBezTo>
                      <a:pt x="1146" y="1101"/>
                      <a:pt x="1143" y="1075"/>
                      <a:pt x="1147" y="1047"/>
                    </a:cubicBezTo>
                    <a:cubicBezTo>
                      <a:pt x="1119" y="1040"/>
                      <a:pt x="1091" y="1033"/>
                      <a:pt x="1062" y="1027"/>
                    </a:cubicBezTo>
                    <a:close/>
                    <a:moveTo>
                      <a:pt x="526" y="1215"/>
                    </a:moveTo>
                    <a:cubicBezTo>
                      <a:pt x="539" y="1211"/>
                      <a:pt x="555" y="1208"/>
                      <a:pt x="570" y="1205"/>
                    </a:cubicBezTo>
                    <a:cubicBezTo>
                      <a:pt x="548" y="1154"/>
                      <a:pt x="529" y="1101"/>
                      <a:pt x="511" y="1046"/>
                    </a:cubicBezTo>
                    <a:cubicBezTo>
                      <a:pt x="514" y="1104"/>
                      <a:pt x="518" y="1162"/>
                      <a:pt x="526" y="1215"/>
                    </a:cubicBezTo>
                    <a:close/>
                    <a:moveTo>
                      <a:pt x="322" y="1065"/>
                    </a:moveTo>
                    <a:cubicBezTo>
                      <a:pt x="325" y="1103"/>
                      <a:pt x="332" y="1137"/>
                      <a:pt x="339" y="1171"/>
                    </a:cubicBezTo>
                    <a:cubicBezTo>
                      <a:pt x="345" y="1180"/>
                      <a:pt x="353" y="1188"/>
                      <a:pt x="359" y="1198"/>
                    </a:cubicBezTo>
                    <a:cubicBezTo>
                      <a:pt x="396" y="1205"/>
                      <a:pt x="436" y="1213"/>
                      <a:pt x="474" y="1217"/>
                    </a:cubicBezTo>
                    <a:cubicBezTo>
                      <a:pt x="441" y="1168"/>
                      <a:pt x="410" y="1113"/>
                      <a:pt x="386" y="1057"/>
                    </a:cubicBezTo>
                    <a:cubicBezTo>
                      <a:pt x="384" y="1054"/>
                      <a:pt x="384" y="1048"/>
                      <a:pt x="379" y="1047"/>
                    </a:cubicBezTo>
                    <a:cubicBezTo>
                      <a:pt x="359" y="1052"/>
                      <a:pt x="341" y="1059"/>
                      <a:pt x="322" y="1065"/>
                    </a:cubicBezTo>
                    <a:close/>
                    <a:moveTo>
                      <a:pt x="1144" y="1118"/>
                    </a:moveTo>
                    <a:cubicBezTo>
                      <a:pt x="1154" y="1097"/>
                      <a:pt x="1166" y="1078"/>
                      <a:pt x="1175" y="1055"/>
                    </a:cubicBezTo>
                    <a:cubicBezTo>
                      <a:pt x="1166" y="1054"/>
                      <a:pt x="1159" y="1050"/>
                      <a:pt x="1150" y="1049"/>
                    </a:cubicBezTo>
                    <a:cubicBezTo>
                      <a:pt x="1149" y="1072"/>
                      <a:pt x="1144" y="1097"/>
                      <a:pt x="1144" y="1118"/>
                    </a:cubicBezTo>
                    <a:close/>
                    <a:moveTo>
                      <a:pt x="87" y="1057"/>
                    </a:moveTo>
                    <a:cubicBezTo>
                      <a:pt x="94" y="1077"/>
                      <a:pt x="96" y="1100"/>
                      <a:pt x="115" y="1107"/>
                    </a:cubicBezTo>
                    <a:cubicBezTo>
                      <a:pt x="106" y="1091"/>
                      <a:pt x="96" y="1074"/>
                      <a:pt x="87" y="1057"/>
                    </a:cubicBezTo>
                    <a:moveTo>
                      <a:pt x="87" y="1057"/>
                    </a:moveTo>
                    <a:cubicBezTo>
                      <a:pt x="88" y="1053"/>
                      <a:pt x="84" y="1057"/>
                      <a:pt x="87" y="1057"/>
                    </a:cubicBezTo>
                    <a:moveTo>
                      <a:pt x="1177" y="1057"/>
                    </a:moveTo>
                    <a:cubicBezTo>
                      <a:pt x="1172" y="1069"/>
                      <a:pt x="1167" y="1081"/>
                      <a:pt x="1160" y="1093"/>
                    </a:cubicBezTo>
                    <a:cubicBezTo>
                      <a:pt x="1155" y="1103"/>
                      <a:pt x="1146" y="1113"/>
                      <a:pt x="1142" y="1125"/>
                    </a:cubicBezTo>
                    <a:cubicBezTo>
                      <a:pt x="1138" y="1137"/>
                      <a:pt x="1139" y="1152"/>
                      <a:pt x="1136" y="1165"/>
                    </a:cubicBezTo>
                    <a:cubicBezTo>
                      <a:pt x="1134" y="1178"/>
                      <a:pt x="1131" y="1190"/>
                      <a:pt x="1129" y="1204"/>
                    </a:cubicBezTo>
                    <a:cubicBezTo>
                      <a:pt x="1155" y="1201"/>
                      <a:pt x="1179" y="1194"/>
                      <a:pt x="1204" y="1189"/>
                    </a:cubicBezTo>
                    <a:cubicBezTo>
                      <a:pt x="1227" y="1159"/>
                      <a:pt x="1250" y="1129"/>
                      <a:pt x="1269" y="1095"/>
                    </a:cubicBezTo>
                    <a:cubicBezTo>
                      <a:pt x="1240" y="1080"/>
                      <a:pt x="1211" y="1066"/>
                      <a:pt x="1177" y="1057"/>
                    </a:cubicBezTo>
                    <a:close/>
                    <a:moveTo>
                      <a:pt x="64" y="1065"/>
                    </a:moveTo>
                    <a:cubicBezTo>
                      <a:pt x="88" y="1121"/>
                      <a:pt x="118" y="1171"/>
                      <a:pt x="154" y="1215"/>
                    </a:cubicBezTo>
                    <a:moveTo>
                      <a:pt x="154" y="1215"/>
                    </a:moveTo>
                    <a:cubicBezTo>
                      <a:pt x="154" y="1216"/>
                      <a:pt x="155" y="1216"/>
                      <a:pt x="155" y="1216"/>
                    </a:cubicBezTo>
                    <a:moveTo>
                      <a:pt x="155" y="1216"/>
                    </a:moveTo>
                    <a:cubicBezTo>
                      <a:pt x="155" y="1217"/>
                      <a:pt x="155" y="1218"/>
                      <a:pt x="156" y="1218"/>
                    </a:cubicBezTo>
                    <a:moveTo>
                      <a:pt x="156" y="1218"/>
                    </a:moveTo>
                    <a:cubicBezTo>
                      <a:pt x="156" y="1219"/>
                      <a:pt x="157" y="1219"/>
                      <a:pt x="157" y="1219"/>
                    </a:cubicBezTo>
                    <a:moveTo>
                      <a:pt x="157" y="1219"/>
                    </a:moveTo>
                    <a:cubicBezTo>
                      <a:pt x="158" y="1220"/>
                      <a:pt x="158" y="1219"/>
                      <a:pt x="157" y="1219"/>
                    </a:cubicBezTo>
                    <a:moveTo>
                      <a:pt x="157" y="1219"/>
                    </a:moveTo>
                    <a:cubicBezTo>
                      <a:pt x="157" y="1218"/>
                      <a:pt x="157" y="1218"/>
                      <a:pt x="156" y="1218"/>
                    </a:cubicBezTo>
                    <a:moveTo>
                      <a:pt x="156" y="1218"/>
                    </a:moveTo>
                    <a:cubicBezTo>
                      <a:pt x="156" y="1217"/>
                      <a:pt x="156" y="1216"/>
                      <a:pt x="155" y="1216"/>
                    </a:cubicBezTo>
                    <a:moveTo>
                      <a:pt x="155" y="1216"/>
                    </a:moveTo>
                    <a:cubicBezTo>
                      <a:pt x="155" y="1215"/>
                      <a:pt x="155" y="1215"/>
                      <a:pt x="154" y="1215"/>
                    </a:cubicBezTo>
                    <a:moveTo>
                      <a:pt x="154" y="1215"/>
                    </a:moveTo>
                    <a:cubicBezTo>
                      <a:pt x="134" y="1178"/>
                      <a:pt x="113" y="1142"/>
                      <a:pt x="99" y="1099"/>
                    </a:cubicBezTo>
                    <a:cubicBezTo>
                      <a:pt x="85" y="1089"/>
                      <a:pt x="75" y="1077"/>
                      <a:pt x="64" y="1065"/>
                    </a:cubicBezTo>
                    <a:moveTo>
                      <a:pt x="64" y="1065"/>
                    </a:moveTo>
                    <a:cubicBezTo>
                      <a:pt x="63" y="1064"/>
                      <a:pt x="63" y="1065"/>
                      <a:pt x="64" y="1065"/>
                    </a:cubicBezTo>
                    <a:moveTo>
                      <a:pt x="282" y="1081"/>
                    </a:moveTo>
                    <a:cubicBezTo>
                      <a:pt x="297" y="1111"/>
                      <a:pt x="315" y="1138"/>
                      <a:pt x="335" y="1164"/>
                    </a:cubicBezTo>
                    <a:cubicBezTo>
                      <a:pt x="327" y="1133"/>
                      <a:pt x="324" y="1098"/>
                      <a:pt x="318" y="1066"/>
                    </a:cubicBezTo>
                    <a:cubicBezTo>
                      <a:pt x="307" y="1072"/>
                      <a:pt x="294" y="1076"/>
                      <a:pt x="282" y="1081"/>
                    </a:cubicBezTo>
                    <a:close/>
                    <a:moveTo>
                      <a:pt x="1457" y="1068"/>
                    </a:moveTo>
                    <a:cubicBezTo>
                      <a:pt x="1458" y="1069"/>
                      <a:pt x="1457" y="1068"/>
                      <a:pt x="1457" y="1068"/>
                    </a:cubicBezTo>
                    <a:close/>
                    <a:moveTo>
                      <a:pt x="1361" y="1232"/>
                    </a:moveTo>
                    <a:cubicBezTo>
                      <a:pt x="1360" y="1233"/>
                      <a:pt x="1361" y="1233"/>
                      <a:pt x="1361" y="1232"/>
                    </a:cubicBezTo>
                    <a:moveTo>
                      <a:pt x="1361" y="1232"/>
                    </a:moveTo>
                    <a:cubicBezTo>
                      <a:pt x="1399" y="1185"/>
                      <a:pt x="1434" y="1129"/>
                      <a:pt x="1456" y="1069"/>
                    </a:cubicBezTo>
                    <a:cubicBezTo>
                      <a:pt x="1450" y="1078"/>
                      <a:pt x="1442" y="1085"/>
                      <a:pt x="1433" y="1092"/>
                    </a:cubicBezTo>
                    <a:cubicBezTo>
                      <a:pt x="1414" y="1130"/>
                      <a:pt x="1388" y="1162"/>
                      <a:pt x="1365" y="1196"/>
                    </a:cubicBezTo>
                    <a:cubicBezTo>
                      <a:pt x="1367" y="1209"/>
                      <a:pt x="1364" y="1221"/>
                      <a:pt x="1361" y="1232"/>
                    </a:cubicBezTo>
                    <a:moveTo>
                      <a:pt x="341" y="1193"/>
                    </a:moveTo>
                    <a:cubicBezTo>
                      <a:pt x="341" y="1194"/>
                      <a:pt x="342" y="1193"/>
                      <a:pt x="341" y="1193"/>
                    </a:cubicBezTo>
                    <a:moveTo>
                      <a:pt x="341" y="1193"/>
                    </a:moveTo>
                    <a:cubicBezTo>
                      <a:pt x="340" y="1185"/>
                      <a:pt x="337" y="1179"/>
                      <a:pt x="337" y="1172"/>
                    </a:cubicBezTo>
                    <a:cubicBezTo>
                      <a:pt x="315" y="1144"/>
                      <a:pt x="298" y="1113"/>
                      <a:pt x="278" y="1083"/>
                    </a:cubicBezTo>
                    <a:cubicBezTo>
                      <a:pt x="261" y="1092"/>
                      <a:pt x="240" y="1102"/>
                      <a:pt x="222" y="1114"/>
                    </a:cubicBezTo>
                    <a:cubicBezTo>
                      <a:pt x="220" y="1116"/>
                      <a:pt x="207" y="1125"/>
                      <a:pt x="207" y="1127"/>
                    </a:cubicBezTo>
                    <a:cubicBezTo>
                      <a:pt x="207" y="1129"/>
                      <a:pt x="219" y="1144"/>
                      <a:pt x="221" y="1146"/>
                    </a:cubicBezTo>
                    <a:cubicBezTo>
                      <a:pt x="226" y="1153"/>
                      <a:pt x="230" y="1157"/>
                      <a:pt x="234" y="1164"/>
                    </a:cubicBezTo>
                    <a:cubicBezTo>
                      <a:pt x="269" y="1174"/>
                      <a:pt x="303" y="1186"/>
                      <a:pt x="341" y="1193"/>
                    </a:cubicBezTo>
                    <a:moveTo>
                      <a:pt x="183" y="1096"/>
                    </a:moveTo>
                    <a:cubicBezTo>
                      <a:pt x="183" y="1095"/>
                      <a:pt x="184" y="1096"/>
                      <a:pt x="183" y="1096"/>
                    </a:cubicBezTo>
                    <a:close/>
                    <a:moveTo>
                      <a:pt x="195" y="1134"/>
                    </a:moveTo>
                    <a:cubicBezTo>
                      <a:pt x="197" y="1130"/>
                      <a:pt x="202" y="1130"/>
                      <a:pt x="203" y="1125"/>
                    </a:cubicBezTo>
                    <a:cubicBezTo>
                      <a:pt x="196" y="1116"/>
                      <a:pt x="191" y="1106"/>
                      <a:pt x="184" y="1097"/>
                    </a:cubicBezTo>
                    <a:cubicBezTo>
                      <a:pt x="187" y="1110"/>
                      <a:pt x="190" y="1123"/>
                      <a:pt x="195" y="1134"/>
                    </a:cubicBezTo>
                    <a:close/>
                    <a:moveTo>
                      <a:pt x="1271" y="1097"/>
                    </a:moveTo>
                    <a:cubicBezTo>
                      <a:pt x="1271" y="1098"/>
                      <a:pt x="1270" y="1099"/>
                      <a:pt x="1270" y="1100"/>
                    </a:cubicBezTo>
                    <a:cubicBezTo>
                      <a:pt x="1254" y="1126"/>
                      <a:pt x="1234" y="1154"/>
                      <a:pt x="1216" y="1177"/>
                    </a:cubicBezTo>
                    <a:cubicBezTo>
                      <a:pt x="1214" y="1180"/>
                      <a:pt x="1210" y="1183"/>
                      <a:pt x="1210" y="1187"/>
                    </a:cubicBezTo>
                    <a:cubicBezTo>
                      <a:pt x="1235" y="1180"/>
                      <a:pt x="1261" y="1174"/>
                      <a:pt x="1284" y="1165"/>
                    </a:cubicBezTo>
                    <a:cubicBezTo>
                      <a:pt x="1289" y="1147"/>
                      <a:pt x="1294" y="1131"/>
                      <a:pt x="1298" y="1112"/>
                    </a:cubicBezTo>
                    <a:cubicBezTo>
                      <a:pt x="1289" y="1107"/>
                      <a:pt x="1281" y="1100"/>
                      <a:pt x="1271" y="1097"/>
                    </a:cubicBezTo>
                    <a:close/>
                    <a:moveTo>
                      <a:pt x="1426" y="1099"/>
                    </a:moveTo>
                    <a:cubicBezTo>
                      <a:pt x="1417" y="1104"/>
                      <a:pt x="1408" y="1111"/>
                      <a:pt x="1399" y="1117"/>
                    </a:cubicBezTo>
                    <a:cubicBezTo>
                      <a:pt x="1394" y="1137"/>
                      <a:pt x="1385" y="1154"/>
                      <a:pt x="1377" y="1173"/>
                    </a:cubicBezTo>
                    <a:moveTo>
                      <a:pt x="1377" y="1173"/>
                    </a:moveTo>
                    <a:cubicBezTo>
                      <a:pt x="1376" y="1173"/>
                      <a:pt x="1377" y="1174"/>
                      <a:pt x="1376" y="1175"/>
                    </a:cubicBezTo>
                    <a:moveTo>
                      <a:pt x="1376" y="1175"/>
                    </a:moveTo>
                    <a:cubicBezTo>
                      <a:pt x="1375" y="1175"/>
                      <a:pt x="1377" y="1176"/>
                      <a:pt x="1376" y="1175"/>
                    </a:cubicBezTo>
                    <a:moveTo>
                      <a:pt x="1376" y="1175"/>
                    </a:moveTo>
                    <a:cubicBezTo>
                      <a:pt x="1377" y="1174"/>
                      <a:pt x="1377" y="1173"/>
                      <a:pt x="1377" y="1173"/>
                    </a:cubicBezTo>
                    <a:moveTo>
                      <a:pt x="1377" y="1173"/>
                    </a:moveTo>
                    <a:cubicBezTo>
                      <a:pt x="1396" y="1150"/>
                      <a:pt x="1412" y="1125"/>
                      <a:pt x="1426" y="1099"/>
                    </a:cubicBezTo>
                    <a:moveTo>
                      <a:pt x="1426" y="1099"/>
                    </a:moveTo>
                    <a:cubicBezTo>
                      <a:pt x="1428" y="1098"/>
                      <a:pt x="1426" y="1098"/>
                      <a:pt x="1426" y="1099"/>
                    </a:cubicBezTo>
                    <a:moveTo>
                      <a:pt x="159" y="1216"/>
                    </a:moveTo>
                    <a:cubicBezTo>
                      <a:pt x="156" y="1201"/>
                      <a:pt x="160" y="1188"/>
                      <a:pt x="164" y="1176"/>
                    </a:cubicBezTo>
                    <a:cubicBezTo>
                      <a:pt x="148" y="1157"/>
                      <a:pt x="133" y="1136"/>
                      <a:pt x="120" y="1113"/>
                    </a:cubicBezTo>
                    <a:cubicBezTo>
                      <a:pt x="113" y="1111"/>
                      <a:pt x="109" y="1105"/>
                      <a:pt x="102" y="1103"/>
                    </a:cubicBezTo>
                    <a:cubicBezTo>
                      <a:pt x="118" y="1144"/>
                      <a:pt x="137" y="1181"/>
                      <a:pt x="159" y="1216"/>
                    </a:cubicBezTo>
                    <a:close/>
                    <a:moveTo>
                      <a:pt x="1287" y="1164"/>
                    </a:moveTo>
                    <a:cubicBezTo>
                      <a:pt x="1303" y="1157"/>
                      <a:pt x="1323" y="1155"/>
                      <a:pt x="1333" y="1143"/>
                    </a:cubicBezTo>
                    <a:cubicBezTo>
                      <a:pt x="1325" y="1131"/>
                      <a:pt x="1312" y="1123"/>
                      <a:pt x="1301" y="1114"/>
                    </a:cubicBezTo>
                    <a:cubicBezTo>
                      <a:pt x="1296" y="1131"/>
                      <a:pt x="1292" y="1148"/>
                      <a:pt x="1287" y="1164"/>
                    </a:cubicBezTo>
                    <a:close/>
                    <a:moveTo>
                      <a:pt x="126" y="1118"/>
                    </a:moveTo>
                    <a:cubicBezTo>
                      <a:pt x="138" y="1138"/>
                      <a:pt x="150" y="1157"/>
                      <a:pt x="166" y="1174"/>
                    </a:cubicBezTo>
                    <a:cubicBezTo>
                      <a:pt x="169" y="1162"/>
                      <a:pt x="177" y="1155"/>
                      <a:pt x="182" y="1146"/>
                    </a:cubicBezTo>
                    <a:cubicBezTo>
                      <a:pt x="161" y="1138"/>
                      <a:pt x="144" y="1127"/>
                      <a:pt x="126" y="1118"/>
                    </a:cubicBezTo>
                    <a:moveTo>
                      <a:pt x="126" y="1118"/>
                    </a:moveTo>
                    <a:cubicBezTo>
                      <a:pt x="125" y="1116"/>
                      <a:pt x="124" y="1118"/>
                      <a:pt x="126" y="1118"/>
                    </a:cubicBezTo>
                    <a:moveTo>
                      <a:pt x="1342" y="1146"/>
                    </a:moveTo>
                    <a:cubicBezTo>
                      <a:pt x="1351" y="1159"/>
                      <a:pt x="1360" y="1173"/>
                      <a:pt x="1365" y="1190"/>
                    </a:cubicBezTo>
                    <a:cubicBezTo>
                      <a:pt x="1377" y="1168"/>
                      <a:pt x="1387" y="1145"/>
                      <a:pt x="1396" y="1120"/>
                    </a:cubicBezTo>
                    <a:cubicBezTo>
                      <a:pt x="1397" y="1120"/>
                      <a:pt x="1396" y="1119"/>
                      <a:pt x="1395" y="1119"/>
                    </a:cubicBezTo>
                    <a:cubicBezTo>
                      <a:pt x="1379" y="1129"/>
                      <a:pt x="1361" y="1138"/>
                      <a:pt x="1342" y="1146"/>
                    </a:cubicBezTo>
                    <a:close/>
                    <a:moveTo>
                      <a:pt x="204" y="1128"/>
                    </a:moveTo>
                    <a:cubicBezTo>
                      <a:pt x="202" y="1133"/>
                      <a:pt x="196" y="1134"/>
                      <a:pt x="195" y="1139"/>
                    </a:cubicBezTo>
                    <a:cubicBezTo>
                      <a:pt x="197" y="1142"/>
                      <a:pt x="198" y="1146"/>
                      <a:pt x="198" y="1151"/>
                    </a:cubicBezTo>
                    <a:cubicBezTo>
                      <a:pt x="209" y="1153"/>
                      <a:pt x="219" y="1160"/>
                      <a:pt x="229" y="1160"/>
                    </a:cubicBezTo>
                    <a:cubicBezTo>
                      <a:pt x="220" y="1151"/>
                      <a:pt x="214" y="1138"/>
                      <a:pt x="204" y="1128"/>
                    </a:cubicBezTo>
                    <a:close/>
                    <a:moveTo>
                      <a:pt x="1100" y="1194"/>
                    </a:moveTo>
                    <a:cubicBezTo>
                      <a:pt x="1095" y="1200"/>
                      <a:pt x="1088" y="1206"/>
                      <a:pt x="1088" y="1212"/>
                    </a:cubicBezTo>
                    <a:cubicBezTo>
                      <a:pt x="1101" y="1209"/>
                      <a:pt x="1114" y="1208"/>
                      <a:pt x="1126" y="1205"/>
                    </a:cubicBezTo>
                    <a:cubicBezTo>
                      <a:pt x="1129" y="1181"/>
                      <a:pt x="1137" y="1156"/>
                      <a:pt x="1137" y="1132"/>
                    </a:cubicBezTo>
                    <a:cubicBezTo>
                      <a:pt x="1126" y="1153"/>
                      <a:pt x="1113" y="1175"/>
                      <a:pt x="1100" y="1194"/>
                    </a:cubicBezTo>
                    <a:close/>
                    <a:moveTo>
                      <a:pt x="187" y="1146"/>
                    </a:moveTo>
                    <a:cubicBezTo>
                      <a:pt x="190" y="1145"/>
                      <a:pt x="194" y="1150"/>
                      <a:pt x="196" y="1148"/>
                    </a:cubicBezTo>
                    <a:cubicBezTo>
                      <a:pt x="193" y="1146"/>
                      <a:pt x="194" y="1141"/>
                      <a:pt x="192" y="1140"/>
                    </a:cubicBezTo>
                    <a:cubicBezTo>
                      <a:pt x="191" y="1142"/>
                      <a:pt x="188" y="1143"/>
                      <a:pt x="187" y="1146"/>
                    </a:cubicBezTo>
                    <a:close/>
                    <a:moveTo>
                      <a:pt x="1333" y="1147"/>
                    </a:moveTo>
                    <a:cubicBezTo>
                      <a:pt x="1335" y="1147"/>
                      <a:pt x="1336" y="1146"/>
                      <a:pt x="1337" y="1145"/>
                    </a:cubicBezTo>
                    <a:cubicBezTo>
                      <a:pt x="1335" y="1143"/>
                      <a:pt x="1334" y="1145"/>
                      <a:pt x="1333" y="1147"/>
                    </a:cubicBezTo>
                    <a:close/>
                    <a:moveTo>
                      <a:pt x="241" y="1257"/>
                    </a:moveTo>
                    <a:cubicBezTo>
                      <a:pt x="241" y="1258"/>
                      <a:pt x="242" y="1257"/>
                      <a:pt x="241" y="1257"/>
                    </a:cubicBezTo>
                    <a:moveTo>
                      <a:pt x="241" y="1257"/>
                    </a:moveTo>
                    <a:cubicBezTo>
                      <a:pt x="224" y="1224"/>
                      <a:pt x="209" y="1190"/>
                      <a:pt x="197" y="1152"/>
                    </a:cubicBezTo>
                    <a:cubicBezTo>
                      <a:pt x="194" y="1150"/>
                      <a:pt x="189" y="1150"/>
                      <a:pt x="187" y="1148"/>
                    </a:cubicBezTo>
                    <a:cubicBezTo>
                      <a:pt x="177" y="1154"/>
                      <a:pt x="173" y="1166"/>
                      <a:pt x="167" y="1175"/>
                    </a:cubicBezTo>
                    <a:cubicBezTo>
                      <a:pt x="189" y="1205"/>
                      <a:pt x="214" y="1232"/>
                      <a:pt x="241" y="1257"/>
                    </a:cubicBezTo>
                    <a:moveTo>
                      <a:pt x="1207" y="1335"/>
                    </a:moveTo>
                    <a:cubicBezTo>
                      <a:pt x="1206" y="1335"/>
                      <a:pt x="1208" y="1336"/>
                      <a:pt x="1207" y="1335"/>
                    </a:cubicBezTo>
                    <a:moveTo>
                      <a:pt x="1207" y="1335"/>
                    </a:moveTo>
                    <a:cubicBezTo>
                      <a:pt x="1267" y="1295"/>
                      <a:pt x="1319" y="1248"/>
                      <a:pt x="1362" y="1192"/>
                    </a:cubicBezTo>
                    <a:cubicBezTo>
                      <a:pt x="1357" y="1174"/>
                      <a:pt x="1350" y="1158"/>
                      <a:pt x="1337" y="1148"/>
                    </a:cubicBezTo>
                    <a:cubicBezTo>
                      <a:pt x="1322" y="1158"/>
                      <a:pt x="1312" y="1174"/>
                      <a:pt x="1300" y="1189"/>
                    </a:cubicBezTo>
                    <a:cubicBezTo>
                      <a:pt x="1294" y="1196"/>
                      <a:pt x="1288" y="1203"/>
                      <a:pt x="1281" y="1210"/>
                    </a:cubicBezTo>
                    <a:cubicBezTo>
                      <a:pt x="1275" y="1217"/>
                      <a:pt x="1267" y="1223"/>
                      <a:pt x="1263" y="1230"/>
                    </a:cubicBezTo>
                    <a:cubicBezTo>
                      <a:pt x="1258" y="1239"/>
                      <a:pt x="1255" y="1249"/>
                      <a:pt x="1251" y="1258"/>
                    </a:cubicBezTo>
                    <a:cubicBezTo>
                      <a:pt x="1237" y="1285"/>
                      <a:pt x="1225" y="1311"/>
                      <a:pt x="1207" y="1335"/>
                    </a:cubicBezTo>
                    <a:moveTo>
                      <a:pt x="1324" y="1154"/>
                    </a:moveTo>
                    <a:cubicBezTo>
                      <a:pt x="1310" y="1158"/>
                      <a:pt x="1300" y="1164"/>
                      <a:pt x="1286" y="1167"/>
                    </a:cubicBezTo>
                    <a:cubicBezTo>
                      <a:pt x="1282" y="1186"/>
                      <a:pt x="1272" y="1204"/>
                      <a:pt x="1269" y="1221"/>
                    </a:cubicBezTo>
                    <a:cubicBezTo>
                      <a:pt x="1287" y="1199"/>
                      <a:pt x="1307" y="1178"/>
                      <a:pt x="1324" y="1154"/>
                    </a:cubicBezTo>
                    <a:moveTo>
                      <a:pt x="1324" y="1154"/>
                    </a:moveTo>
                    <a:cubicBezTo>
                      <a:pt x="1325" y="1154"/>
                      <a:pt x="1324" y="1153"/>
                      <a:pt x="1324" y="1154"/>
                    </a:cubicBezTo>
                    <a:moveTo>
                      <a:pt x="222" y="1212"/>
                    </a:moveTo>
                    <a:cubicBezTo>
                      <a:pt x="231" y="1230"/>
                      <a:pt x="237" y="1251"/>
                      <a:pt x="247" y="1264"/>
                    </a:cubicBezTo>
                    <a:cubicBezTo>
                      <a:pt x="252" y="1270"/>
                      <a:pt x="260" y="1275"/>
                      <a:pt x="267" y="1280"/>
                    </a:cubicBezTo>
                    <a:cubicBezTo>
                      <a:pt x="287" y="1297"/>
                      <a:pt x="306" y="1314"/>
                      <a:pt x="328" y="1328"/>
                    </a:cubicBezTo>
                    <a:cubicBezTo>
                      <a:pt x="334" y="1313"/>
                      <a:pt x="344" y="1302"/>
                      <a:pt x="354" y="1291"/>
                    </a:cubicBezTo>
                    <a:cubicBezTo>
                      <a:pt x="308" y="1254"/>
                      <a:pt x="269" y="1211"/>
                      <a:pt x="232" y="1165"/>
                    </a:cubicBezTo>
                    <a:cubicBezTo>
                      <a:pt x="220" y="1162"/>
                      <a:pt x="212" y="1157"/>
                      <a:pt x="200" y="1154"/>
                    </a:cubicBezTo>
                    <a:cubicBezTo>
                      <a:pt x="206" y="1174"/>
                      <a:pt x="214" y="1193"/>
                      <a:pt x="222" y="1212"/>
                    </a:cubicBezTo>
                    <a:close/>
                    <a:moveTo>
                      <a:pt x="356" y="1290"/>
                    </a:moveTo>
                    <a:cubicBezTo>
                      <a:pt x="359" y="1285"/>
                      <a:pt x="365" y="1284"/>
                      <a:pt x="367" y="1278"/>
                    </a:cubicBezTo>
                    <a:cubicBezTo>
                      <a:pt x="358" y="1252"/>
                      <a:pt x="349" y="1226"/>
                      <a:pt x="342" y="1197"/>
                    </a:cubicBezTo>
                    <a:cubicBezTo>
                      <a:pt x="306" y="1189"/>
                      <a:pt x="270" y="1177"/>
                      <a:pt x="238" y="1169"/>
                    </a:cubicBezTo>
                    <a:cubicBezTo>
                      <a:pt x="274" y="1212"/>
                      <a:pt x="312" y="1254"/>
                      <a:pt x="356" y="1290"/>
                    </a:cubicBezTo>
                    <a:close/>
                    <a:moveTo>
                      <a:pt x="1223" y="1265"/>
                    </a:moveTo>
                    <a:cubicBezTo>
                      <a:pt x="1235" y="1254"/>
                      <a:pt x="1255" y="1239"/>
                      <a:pt x="1263" y="1225"/>
                    </a:cubicBezTo>
                    <a:cubicBezTo>
                      <a:pt x="1273" y="1209"/>
                      <a:pt x="1274" y="1190"/>
                      <a:pt x="1282" y="1170"/>
                    </a:cubicBezTo>
                    <a:cubicBezTo>
                      <a:pt x="1282" y="1169"/>
                      <a:pt x="1282" y="1169"/>
                      <a:pt x="1281" y="1169"/>
                    </a:cubicBezTo>
                    <a:cubicBezTo>
                      <a:pt x="1257" y="1177"/>
                      <a:pt x="1232" y="1184"/>
                      <a:pt x="1206" y="1191"/>
                    </a:cubicBezTo>
                    <a:cubicBezTo>
                      <a:pt x="1184" y="1218"/>
                      <a:pt x="1160" y="1242"/>
                      <a:pt x="1137" y="1268"/>
                    </a:cubicBezTo>
                    <a:cubicBezTo>
                      <a:pt x="1155" y="1276"/>
                      <a:pt x="1167" y="1289"/>
                      <a:pt x="1181" y="1301"/>
                    </a:cubicBezTo>
                    <a:cubicBezTo>
                      <a:pt x="1195" y="1290"/>
                      <a:pt x="1208" y="1278"/>
                      <a:pt x="1223" y="1265"/>
                    </a:cubicBezTo>
                    <a:close/>
                    <a:moveTo>
                      <a:pt x="344" y="1195"/>
                    </a:moveTo>
                    <a:cubicBezTo>
                      <a:pt x="349" y="1194"/>
                      <a:pt x="353" y="1198"/>
                      <a:pt x="355" y="1196"/>
                    </a:cubicBezTo>
                    <a:cubicBezTo>
                      <a:pt x="350" y="1190"/>
                      <a:pt x="346" y="1183"/>
                      <a:pt x="341" y="1178"/>
                    </a:cubicBezTo>
                    <a:cubicBezTo>
                      <a:pt x="342" y="1184"/>
                      <a:pt x="343" y="1189"/>
                      <a:pt x="344" y="1195"/>
                    </a:cubicBezTo>
                    <a:close/>
                    <a:moveTo>
                      <a:pt x="289" y="1331"/>
                    </a:moveTo>
                    <a:cubicBezTo>
                      <a:pt x="289" y="1332"/>
                      <a:pt x="290" y="1331"/>
                      <a:pt x="289" y="1331"/>
                    </a:cubicBezTo>
                    <a:moveTo>
                      <a:pt x="289" y="1331"/>
                    </a:moveTo>
                    <a:cubicBezTo>
                      <a:pt x="274" y="1310"/>
                      <a:pt x="258" y="1290"/>
                      <a:pt x="246" y="1266"/>
                    </a:cubicBezTo>
                    <a:cubicBezTo>
                      <a:pt x="216" y="1240"/>
                      <a:pt x="192" y="1209"/>
                      <a:pt x="165" y="1180"/>
                    </a:cubicBezTo>
                    <a:cubicBezTo>
                      <a:pt x="163" y="1194"/>
                      <a:pt x="158" y="1209"/>
                      <a:pt x="163" y="1223"/>
                    </a:cubicBezTo>
                    <a:cubicBezTo>
                      <a:pt x="169" y="1238"/>
                      <a:pt x="189" y="1257"/>
                      <a:pt x="203" y="1271"/>
                    </a:cubicBezTo>
                    <a:cubicBezTo>
                      <a:pt x="217" y="1284"/>
                      <a:pt x="236" y="1304"/>
                      <a:pt x="249" y="1313"/>
                    </a:cubicBezTo>
                    <a:cubicBezTo>
                      <a:pt x="261" y="1321"/>
                      <a:pt x="278" y="1326"/>
                      <a:pt x="289" y="1331"/>
                    </a:cubicBezTo>
                    <a:moveTo>
                      <a:pt x="676" y="1195"/>
                    </a:moveTo>
                    <a:cubicBezTo>
                      <a:pt x="677" y="1209"/>
                      <a:pt x="682" y="1221"/>
                      <a:pt x="683" y="1235"/>
                    </a:cubicBezTo>
                    <a:cubicBezTo>
                      <a:pt x="697" y="1236"/>
                      <a:pt x="712" y="1236"/>
                      <a:pt x="727" y="1236"/>
                    </a:cubicBezTo>
                    <a:cubicBezTo>
                      <a:pt x="726" y="1222"/>
                      <a:pt x="730" y="1202"/>
                      <a:pt x="725" y="1192"/>
                    </a:cubicBezTo>
                    <a:cubicBezTo>
                      <a:pt x="709" y="1193"/>
                      <a:pt x="691" y="1193"/>
                      <a:pt x="676" y="1195"/>
                    </a:cubicBezTo>
                    <a:close/>
                    <a:moveTo>
                      <a:pt x="729" y="1192"/>
                    </a:moveTo>
                    <a:cubicBezTo>
                      <a:pt x="729" y="1207"/>
                      <a:pt x="731" y="1220"/>
                      <a:pt x="730" y="1236"/>
                    </a:cubicBezTo>
                    <a:cubicBezTo>
                      <a:pt x="744" y="1238"/>
                      <a:pt x="761" y="1236"/>
                      <a:pt x="775" y="1237"/>
                    </a:cubicBezTo>
                    <a:cubicBezTo>
                      <a:pt x="777" y="1222"/>
                      <a:pt x="777" y="1207"/>
                      <a:pt x="777" y="1192"/>
                    </a:cubicBezTo>
                    <a:cubicBezTo>
                      <a:pt x="761" y="1192"/>
                      <a:pt x="745" y="1192"/>
                      <a:pt x="729" y="1192"/>
                    </a:cubicBezTo>
                    <a:close/>
                    <a:moveTo>
                      <a:pt x="780" y="1192"/>
                    </a:moveTo>
                    <a:cubicBezTo>
                      <a:pt x="779" y="1206"/>
                      <a:pt x="779" y="1222"/>
                      <a:pt x="778" y="1237"/>
                    </a:cubicBezTo>
                    <a:cubicBezTo>
                      <a:pt x="809" y="1235"/>
                      <a:pt x="841" y="1236"/>
                      <a:pt x="871" y="1234"/>
                    </a:cubicBezTo>
                    <a:cubicBezTo>
                      <a:pt x="875" y="1222"/>
                      <a:pt x="879" y="1210"/>
                      <a:pt x="882" y="1198"/>
                    </a:cubicBezTo>
                    <a:cubicBezTo>
                      <a:pt x="849" y="1195"/>
                      <a:pt x="816" y="1192"/>
                      <a:pt x="780" y="1192"/>
                    </a:cubicBezTo>
                    <a:close/>
                    <a:moveTo>
                      <a:pt x="1200" y="1193"/>
                    </a:moveTo>
                    <a:cubicBezTo>
                      <a:pt x="1176" y="1197"/>
                      <a:pt x="1153" y="1204"/>
                      <a:pt x="1128" y="1207"/>
                    </a:cubicBezTo>
                    <a:cubicBezTo>
                      <a:pt x="1124" y="1224"/>
                      <a:pt x="1120" y="1239"/>
                      <a:pt x="1116" y="1255"/>
                    </a:cubicBezTo>
                    <a:cubicBezTo>
                      <a:pt x="1122" y="1258"/>
                      <a:pt x="1128" y="1262"/>
                      <a:pt x="1134" y="1265"/>
                    </a:cubicBezTo>
                    <a:cubicBezTo>
                      <a:pt x="1158" y="1242"/>
                      <a:pt x="1180" y="1219"/>
                      <a:pt x="1200" y="1193"/>
                    </a:cubicBezTo>
                    <a:moveTo>
                      <a:pt x="1200" y="1193"/>
                    </a:moveTo>
                    <a:cubicBezTo>
                      <a:pt x="1201" y="1192"/>
                      <a:pt x="1200" y="1192"/>
                      <a:pt x="1200" y="1193"/>
                    </a:cubicBezTo>
                    <a:moveTo>
                      <a:pt x="671" y="1195"/>
                    </a:moveTo>
                    <a:cubicBezTo>
                      <a:pt x="638" y="1198"/>
                      <a:pt x="605" y="1201"/>
                      <a:pt x="575" y="1207"/>
                    </a:cubicBezTo>
                    <a:cubicBezTo>
                      <a:pt x="578" y="1215"/>
                      <a:pt x="580" y="1224"/>
                      <a:pt x="586" y="1229"/>
                    </a:cubicBezTo>
                    <a:cubicBezTo>
                      <a:pt x="616" y="1232"/>
                      <a:pt x="650" y="1235"/>
                      <a:pt x="680" y="1234"/>
                    </a:cubicBezTo>
                    <a:cubicBezTo>
                      <a:pt x="676" y="1222"/>
                      <a:pt x="675" y="1207"/>
                      <a:pt x="671" y="1195"/>
                    </a:cubicBezTo>
                    <a:close/>
                    <a:moveTo>
                      <a:pt x="369" y="1277"/>
                    </a:moveTo>
                    <a:cubicBezTo>
                      <a:pt x="382" y="1271"/>
                      <a:pt x="394" y="1263"/>
                      <a:pt x="406" y="1255"/>
                    </a:cubicBezTo>
                    <a:cubicBezTo>
                      <a:pt x="389" y="1237"/>
                      <a:pt x="373" y="1219"/>
                      <a:pt x="358" y="1199"/>
                    </a:cubicBezTo>
                    <a:cubicBezTo>
                      <a:pt x="353" y="1200"/>
                      <a:pt x="350" y="1197"/>
                      <a:pt x="345" y="1198"/>
                    </a:cubicBezTo>
                    <a:cubicBezTo>
                      <a:pt x="352" y="1226"/>
                      <a:pt x="361" y="1251"/>
                      <a:pt x="369" y="1277"/>
                    </a:cubicBezTo>
                    <a:close/>
                    <a:moveTo>
                      <a:pt x="884" y="1199"/>
                    </a:moveTo>
                    <a:cubicBezTo>
                      <a:pt x="882" y="1211"/>
                      <a:pt x="877" y="1221"/>
                      <a:pt x="874" y="1234"/>
                    </a:cubicBezTo>
                    <a:cubicBezTo>
                      <a:pt x="894" y="1233"/>
                      <a:pt x="914" y="1231"/>
                      <a:pt x="934" y="1230"/>
                    </a:cubicBezTo>
                    <a:cubicBezTo>
                      <a:pt x="934" y="1221"/>
                      <a:pt x="936" y="1215"/>
                      <a:pt x="936" y="1205"/>
                    </a:cubicBezTo>
                    <a:cubicBezTo>
                      <a:pt x="919" y="1202"/>
                      <a:pt x="903" y="1199"/>
                      <a:pt x="884" y="1199"/>
                    </a:cubicBezTo>
                    <a:close/>
                    <a:moveTo>
                      <a:pt x="1360" y="1199"/>
                    </a:moveTo>
                    <a:cubicBezTo>
                      <a:pt x="1360" y="1199"/>
                      <a:pt x="1361" y="1200"/>
                      <a:pt x="1360" y="1199"/>
                    </a:cubicBezTo>
                    <a:close/>
                    <a:moveTo>
                      <a:pt x="363" y="1201"/>
                    </a:moveTo>
                    <a:cubicBezTo>
                      <a:pt x="378" y="1220"/>
                      <a:pt x="392" y="1239"/>
                      <a:pt x="410" y="1254"/>
                    </a:cubicBezTo>
                    <a:cubicBezTo>
                      <a:pt x="432" y="1244"/>
                      <a:pt x="454" y="1234"/>
                      <a:pt x="480" y="1227"/>
                    </a:cubicBezTo>
                    <a:cubicBezTo>
                      <a:pt x="477" y="1217"/>
                      <a:pt x="463" y="1219"/>
                      <a:pt x="454" y="1218"/>
                    </a:cubicBezTo>
                    <a:cubicBezTo>
                      <a:pt x="424" y="1213"/>
                      <a:pt x="391" y="1206"/>
                      <a:pt x="363" y="1201"/>
                    </a:cubicBezTo>
                    <a:moveTo>
                      <a:pt x="363" y="1201"/>
                    </a:moveTo>
                    <a:cubicBezTo>
                      <a:pt x="362" y="1200"/>
                      <a:pt x="361" y="1201"/>
                      <a:pt x="363" y="1201"/>
                    </a:cubicBezTo>
                    <a:moveTo>
                      <a:pt x="1359" y="1201"/>
                    </a:moveTo>
                    <a:cubicBezTo>
                      <a:pt x="1318" y="1253"/>
                      <a:pt x="1263" y="1298"/>
                      <a:pt x="1208" y="1338"/>
                    </a:cubicBezTo>
                    <a:cubicBezTo>
                      <a:pt x="1206" y="1339"/>
                      <a:pt x="1201" y="1341"/>
                      <a:pt x="1202" y="1345"/>
                    </a:cubicBezTo>
                    <a:cubicBezTo>
                      <a:pt x="1217" y="1339"/>
                      <a:pt x="1232" y="1333"/>
                      <a:pt x="1247" y="1326"/>
                    </a:cubicBezTo>
                    <a:cubicBezTo>
                      <a:pt x="1261" y="1320"/>
                      <a:pt x="1277" y="1313"/>
                      <a:pt x="1289" y="1304"/>
                    </a:cubicBezTo>
                    <a:cubicBezTo>
                      <a:pt x="1303" y="1293"/>
                      <a:pt x="1316" y="1270"/>
                      <a:pt x="1326" y="1255"/>
                    </a:cubicBezTo>
                    <a:cubicBezTo>
                      <a:pt x="1338" y="1238"/>
                      <a:pt x="1350" y="1220"/>
                      <a:pt x="1359" y="1201"/>
                    </a:cubicBezTo>
                    <a:moveTo>
                      <a:pt x="1359" y="1201"/>
                    </a:moveTo>
                    <a:cubicBezTo>
                      <a:pt x="1361" y="1201"/>
                      <a:pt x="1359" y="1200"/>
                      <a:pt x="1359" y="1201"/>
                    </a:cubicBezTo>
                    <a:moveTo>
                      <a:pt x="1301" y="1295"/>
                    </a:moveTo>
                    <a:cubicBezTo>
                      <a:pt x="1299" y="1296"/>
                      <a:pt x="1301" y="1297"/>
                      <a:pt x="1301" y="1295"/>
                    </a:cubicBezTo>
                    <a:moveTo>
                      <a:pt x="1301" y="1295"/>
                    </a:moveTo>
                    <a:cubicBezTo>
                      <a:pt x="1315" y="1282"/>
                      <a:pt x="1343" y="1260"/>
                      <a:pt x="1354" y="1241"/>
                    </a:cubicBezTo>
                    <a:cubicBezTo>
                      <a:pt x="1360" y="1231"/>
                      <a:pt x="1364" y="1215"/>
                      <a:pt x="1362" y="1201"/>
                    </a:cubicBezTo>
                    <a:cubicBezTo>
                      <a:pt x="1345" y="1236"/>
                      <a:pt x="1323" y="1266"/>
                      <a:pt x="1301" y="1295"/>
                    </a:cubicBezTo>
                    <a:moveTo>
                      <a:pt x="938" y="1229"/>
                    </a:moveTo>
                    <a:cubicBezTo>
                      <a:pt x="950" y="1230"/>
                      <a:pt x="958" y="1227"/>
                      <a:pt x="970" y="1227"/>
                    </a:cubicBezTo>
                    <a:cubicBezTo>
                      <a:pt x="975" y="1224"/>
                      <a:pt x="977" y="1218"/>
                      <a:pt x="979" y="1213"/>
                    </a:cubicBezTo>
                    <a:cubicBezTo>
                      <a:pt x="967" y="1210"/>
                      <a:pt x="953" y="1208"/>
                      <a:pt x="941" y="1205"/>
                    </a:cubicBezTo>
                    <a:cubicBezTo>
                      <a:pt x="939" y="1212"/>
                      <a:pt x="940" y="1222"/>
                      <a:pt x="938" y="1229"/>
                    </a:cubicBezTo>
                    <a:close/>
                    <a:moveTo>
                      <a:pt x="526" y="1219"/>
                    </a:moveTo>
                    <a:cubicBezTo>
                      <a:pt x="526" y="1221"/>
                      <a:pt x="526" y="1222"/>
                      <a:pt x="527" y="1223"/>
                    </a:cubicBezTo>
                    <a:cubicBezTo>
                      <a:pt x="544" y="1226"/>
                      <a:pt x="565" y="1229"/>
                      <a:pt x="582" y="1228"/>
                    </a:cubicBezTo>
                    <a:cubicBezTo>
                      <a:pt x="577" y="1222"/>
                      <a:pt x="575" y="1213"/>
                      <a:pt x="571" y="1207"/>
                    </a:cubicBezTo>
                    <a:cubicBezTo>
                      <a:pt x="557" y="1212"/>
                      <a:pt x="538" y="1212"/>
                      <a:pt x="526" y="1219"/>
                    </a:cubicBezTo>
                    <a:close/>
                    <a:moveTo>
                      <a:pt x="1084" y="1215"/>
                    </a:moveTo>
                    <a:cubicBezTo>
                      <a:pt x="1080" y="1223"/>
                      <a:pt x="1071" y="1229"/>
                      <a:pt x="1070" y="1236"/>
                    </a:cubicBezTo>
                    <a:cubicBezTo>
                      <a:pt x="1086" y="1240"/>
                      <a:pt x="1099" y="1248"/>
                      <a:pt x="1113" y="1253"/>
                    </a:cubicBezTo>
                    <a:cubicBezTo>
                      <a:pt x="1118" y="1240"/>
                      <a:pt x="1120" y="1224"/>
                      <a:pt x="1125" y="1210"/>
                    </a:cubicBezTo>
                    <a:cubicBezTo>
                      <a:pt x="1125" y="1209"/>
                      <a:pt x="1125" y="1208"/>
                      <a:pt x="1123" y="1208"/>
                    </a:cubicBezTo>
                    <a:cubicBezTo>
                      <a:pt x="1111" y="1211"/>
                      <a:pt x="1097" y="1213"/>
                      <a:pt x="1084" y="1215"/>
                    </a:cubicBezTo>
                    <a:close/>
                    <a:moveTo>
                      <a:pt x="982" y="1214"/>
                    </a:moveTo>
                    <a:cubicBezTo>
                      <a:pt x="980" y="1218"/>
                      <a:pt x="977" y="1222"/>
                      <a:pt x="975" y="1226"/>
                    </a:cubicBezTo>
                    <a:cubicBezTo>
                      <a:pt x="988" y="1225"/>
                      <a:pt x="1003" y="1224"/>
                      <a:pt x="1015" y="1222"/>
                    </a:cubicBezTo>
                    <a:cubicBezTo>
                      <a:pt x="1005" y="1219"/>
                      <a:pt x="994" y="1216"/>
                      <a:pt x="982" y="1214"/>
                    </a:cubicBezTo>
                    <a:close/>
                    <a:moveTo>
                      <a:pt x="1031" y="1223"/>
                    </a:moveTo>
                    <a:cubicBezTo>
                      <a:pt x="1044" y="1226"/>
                      <a:pt x="1054" y="1231"/>
                      <a:pt x="1066" y="1234"/>
                    </a:cubicBezTo>
                    <a:cubicBezTo>
                      <a:pt x="1070" y="1229"/>
                      <a:pt x="1080" y="1220"/>
                      <a:pt x="1078" y="1216"/>
                    </a:cubicBezTo>
                    <a:cubicBezTo>
                      <a:pt x="1063" y="1219"/>
                      <a:pt x="1045" y="1220"/>
                      <a:pt x="1031" y="1223"/>
                    </a:cubicBezTo>
                    <a:close/>
                    <a:moveTo>
                      <a:pt x="509" y="1223"/>
                    </a:moveTo>
                    <a:cubicBezTo>
                      <a:pt x="515" y="1222"/>
                      <a:pt x="518" y="1224"/>
                      <a:pt x="524" y="1223"/>
                    </a:cubicBezTo>
                    <a:cubicBezTo>
                      <a:pt x="523" y="1222"/>
                      <a:pt x="524" y="1217"/>
                      <a:pt x="521" y="1218"/>
                    </a:cubicBezTo>
                    <a:cubicBezTo>
                      <a:pt x="518" y="1220"/>
                      <a:pt x="511" y="1219"/>
                      <a:pt x="509" y="1223"/>
                    </a:cubicBezTo>
                    <a:close/>
                    <a:moveTo>
                      <a:pt x="482" y="1225"/>
                    </a:moveTo>
                    <a:cubicBezTo>
                      <a:pt x="487" y="1226"/>
                      <a:pt x="490" y="1224"/>
                      <a:pt x="493" y="1223"/>
                    </a:cubicBezTo>
                    <a:cubicBezTo>
                      <a:pt x="488" y="1223"/>
                      <a:pt x="483" y="1220"/>
                      <a:pt x="480" y="1223"/>
                    </a:cubicBezTo>
                    <a:cubicBezTo>
                      <a:pt x="481" y="1223"/>
                      <a:pt x="482" y="1224"/>
                      <a:pt x="482" y="1225"/>
                    </a:cubicBezTo>
                    <a:close/>
                    <a:moveTo>
                      <a:pt x="535" y="1295"/>
                    </a:moveTo>
                    <a:cubicBezTo>
                      <a:pt x="536" y="1296"/>
                      <a:pt x="537" y="1294"/>
                      <a:pt x="535" y="1295"/>
                    </a:cubicBezTo>
                    <a:moveTo>
                      <a:pt x="535" y="1295"/>
                    </a:moveTo>
                    <a:cubicBezTo>
                      <a:pt x="532" y="1272"/>
                      <a:pt x="527" y="1251"/>
                      <a:pt x="525" y="1227"/>
                    </a:cubicBezTo>
                    <a:cubicBezTo>
                      <a:pt x="512" y="1224"/>
                      <a:pt x="497" y="1223"/>
                      <a:pt x="486" y="1227"/>
                    </a:cubicBezTo>
                    <a:cubicBezTo>
                      <a:pt x="498" y="1250"/>
                      <a:pt x="518" y="1273"/>
                      <a:pt x="535" y="1295"/>
                    </a:cubicBezTo>
                    <a:moveTo>
                      <a:pt x="1022" y="1223"/>
                    </a:moveTo>
                    <a:cubicBezTo>
                      <a:pt x="1007" y="1223"/>
                      <a:pt x="991" y="1230"/>
                      <a:pt x="973" y="1229"/>
                    </a:cubicBezTo>
                    <a:cubicBezTo>
                      <a:pt x="960" y="1255"/>
                      <a:pt x="945" y="1280"/>
                      <a:pt x="928" y="1303"/>
                    </a:cubicBezTo>
                    <a:cubicBezTo>
                      <a:pt x="927" y="1316"/>
                      <a:pt x="925" y="1329"/>
                      <a:pt x="922" y="1342"/>
                    </a:cubicBezTo>
                    <a:cubicBezTo>
                      <a:pt x="920" y="1353"/>
                      <a:pt x="915" y="1367"/>
                      <a:pt x="917" y="1376"/>
                    </a:cubicBezTo>
                    <a:cubicBezTo>
                      <a:pt x="925" y="1381"/>
                      <a:pt x="933" y="1372"/>
                      <a:pt x="939" y="1367"/>
                    </a:cubicBezTo>
                    <a:cubicBezTo>
                      <a:pt x="986" y="1330"/>
                      <a:pt x="1029" y="1283"/>
                      <a:pt x="1064" y="1236"/>
                    </a:cubicBezTo>
                    <a:cubicBezTo>
                      <a:pt x="1050" y="1234"/>
                      <a:pt x="1038" y="1224"/>
                      <a:pt x="1022" y="1223"/>
                    </a:cubicBezTo>
                    <a:close/>
                    <a:moveTo>
                      <a:pt x="539" y="1299"/>
                    </a:moveTo>
                    <a:cubicBezTo>
                      <a:pt x="563" y="1325"/>
                      <a:pt x="587" y="1352"/>
                      <a:pt x="615" y="1374"/>
                    </a:cubicBezTo>
                    <a:cubicBezTo>
                      <a:pt x="628" y="1368"/>
                      <a:pt x="645" y="1367"/>
                      <a:pt x="658" y="1362"/>
                    </a:cubicBezTo>
                    <a:cubicBezTo>
                      <a:pt x="630" y="1322"/>
                      <a:pt x="605" y="1279"/>
                      <a:pt x="583" y="1232"/>
                    </a:cubicBezTo>
                    <a:cubicBezTo>
                      <a:pt x="564" y="1230"/>
                      <a:pt x="545" y="1229"/>
                      <a:pt x="527" y="1226"/>
                    </a:cubicBezTo>
                    <a:cubicBezTo>
                      <a:pt x="530" y="1251"/>
                      <a:pt x="535" y="1275"/>
                      <a:pt x="539" y="1299"/>
                    </a:cubicBezTo>
                    <a:close/>
                    <a:moveTo>
                      <a:pt x="537" y="1300"/>
                    </a:moveTo>
                    <a:cubicBezTo>
                      <a:pt x="517" y="1278"/>
                      <a:pt x="500" y="1252"/>
                      <a:pt x="481" y="1229"/>
                    </a:cubicBezTo>
                    <a:cubicBezTo>
                      <a:pt x="456" y="1237"/>
                      <a:pt x="433" y="1246"/>
                      <a:pt x="412" y="1256"/>
                    </a:cubicBezTo>
                    <a:cubicBezTo>
                      <a:pt x="452" y="1302"/>
                      <a:pt x="504" y="1344"/>
                      <a:pt x="558" y="1379"/>
                    </a:cubicBezTo>
                    <a:cubicBezTo>
                      <a:pt x="550" y="1354"/>
                      <a:pt x="543" y="1328"/>
                      <a:pt x="537" y="1300"/>
                    </a:cubicBezTo>
                    <a:close/>
                    <a:moveTo>
                      <a:pt x="938" y="1232"/>
                    </a:moveTo>
                    <a:cubicBezTo>
                      <a:pt x="936" y="1253"/>
                      <a:pt x="931" y="1276"/>
                      <a:pt x="931" y="1295"/>
                    </a:cubicBezTo>
                    <a:cubicBezTo>
                      <a:pt x="945" y="1275"/>
                      <a:pt x="957" y="1253"/>
                      <a:pt x="970" y="1231"/>
                    </a:cubicBezTo>
                    <a:cubicBezTo>
                      <a:pt x="970" y="1230"/>
                      <a:pt x="970" y="1229"/>
                      <a:pt x="968" y="1229"/>
                    </a:cubicBezTo>
                    <a:cubicBezTo>
                      <a:pt x="959" y="1231"/>
                      <a:pt x="948" y="1232"/>
                      <a:pt x="938" y="1232"/>
                    </a:cubicBezTo>
                    <a:close/>
                    <a:moveTo>
                      <a:pt x="663" y="1362"/>
                    </a:moveTo>
                    <a:cubicBezTo>
                      <a:pt x="679" y="1359"/>
                      <a:pt x="696" y="1357"/>
                      <a:pt x="712" y="1355"/>
                    </a:cubicBezTo>
                    <a:cubicBezTo>
                      <a:pt x="700" y="1317"/>
                      <a:pt x="690" y="1278"/>
                      <a:pt x="680" y="1238"/>
                    </a:cubicBezTo>
                    <a:cubicBezTo>
                      <a:pt x="649" y="1236"/>
                      <a:pt x="616" y="1235"/>
                      <a:pt x="586" y="1232"/>
                    </a:cubicBezTo>
                    <a:cubicBezTo>
                      <a:pt x="608" y="1279"/>
                      <a:pt x="632" y="1324"/>
                      <a:pt x="663" y="1362"/>
                    </a:cubicBezTo>
                    <a:close/>
                    <a:moveTo>
                      <a:pt x="872" y="1237"/>
                    </a:moveTo>
                    <a:cubicBezTo>
                      <a:pt x="861" y="1280"/>
                      <a:pt x="845" y="1318"/>
                      <a:pt x="829" y="1357"/>
                    </a:cubicBezTo>
                    <a:cubicBezTo>
                      <a:pt x="845" y="1360"/>
                      <a:pt x="862" y="1361"/>
                      <a:pt x="876" y="1366"/>
                    </a:cubicBezTo>
                    <a:cubicBezTo>
                      <a:pt x="895" y="1349"/>
                      <a:pt x="908" y="1326"/>
                      <a:pt x="924" y="1306"/>
                    </a:cubicBezTo>
                    <a:cubicBezTo>
                      <a:pt x="927" y="1282"/>
                      <a:pt x="932" y="1259"/>
                      <a:pt x="933" y="1233"/>
                    </a:cubicBezTo>
                    <a:cubicBezTo>
                      <a:pt x="912" y="1234"/>
                      <a:pt x="892" y="1235"/>
                      <a:pt x="872" y="1237"/>
                    </a:cubicBezTo>
                    <a:close/>
                    <a:moveTo>
                      <a:pt x="1182" y="1304"/>
                    </a:moveTo>
                    <a:cubicBezTo>
                      <a:pt x="1190" y="1314"/>
                      <a:pt x="1196" y="1326"/>
                      <a:pt x="1200" y="1341"/>
                    </a:cubicBezTo>
                    <a:cubicBezTo>
                      <a:pt x="1222" y="1309"/>
                      <a:pt x="1244" y="1273"/>
                      <a:pt x="1257" y="1235"/>
                    </a:cubicBezTo>
                    <a:cubicBezTo>
                      <a:pt x="1234" y="1260"/>
                      <a:pt x="1208" y="1282"/>
                      <a:pt x="1182" y="1304"/>
                    </a:cubicBezTo>
                    <a:close/>
                    <a:moveTo>
                      <a:pt x="778" y="1239"/>
                    </a:moveTo>
                    <a:cubicBezTo>
                      <a:pt x="776" y="1277"/>
                      <a:pt x="774" y="1315"/>
                      <a:pt x="773" y="1353"/>
                    </a:cubicBezTo>
                    <a:cubicBezTo>
                      <a:pt x="791" y="1354"/>
                      <a:pt x="810" y="1355"/>
                      <a:pt x="826" y="1357"/>
                    </a:cubicBezTo>
                    <a:cubicBezTo>
                      <a:pt x="843" y="1319"/>
                      <a:pt x="857" y="1279"/>
                      <a:pt x="870" y="1237"/>
                    </a:cubicBezTo>
                    <a:cubicBezTo>
                      <a:pt x="840" y="1238"/>
                      <a:pt x="810" y="1239"/>
                      <a:pt x="778" y="1239"/>
                    </a:cubicBezTo>
                    <a:close/>
                    <a:moveTo>
                      <a:pt x="170" y="1239"/>
                    </a:moveTo>
                    <a:cubicBezTo>
                      <a:pt x="177" y="1254"/>
                      <a:pt x="187" y="1266"/>
                      <a:pt x="198" y="1276"/>
                    </a:cubicBezTo>
                    <a:moveTo>
                      <a:pt x="198" y="1276"/>
                    </a:moveTo>
                    <a:cubicBezTo>
                      <a:pt x="199" y="1278"/>
                      <a:pt x="200" y="1276"/>
                      <a:pt x="198" y="1276"/>
                    </a:cubicBezTo>
                    <a:moveTo>
                      <a:pt x="198" y="1276"/>
                    </a:moveTo>
                    <a:cubicBezTo>
                      <a:pt x="189" y="1264"/>
                      <a:pt x="180" y="1250"/>
                      <a:pt x="170" y="1239"/>
                    </a:cubicBezTo>
                    <a:moveTo>
                      <a:pt x="170" y="1239"/>
                    </a:moveTo>
                    <a:cubicBezTo>
                      <a:pt x="169" y="1237"/>
                      <a:pt x="169" y="1239"/>
                      <a:pt x="170" y="1239"/>
                    </a:cubicBezTo>
                    <a:moveTo>
                      <a:pt x="716" y="1355"/>
                    </a:moveTo>
                    <a:cubicBezTo>
                      <a:pt x="722" y="1356"/>
                      <a:pt x="725" y="1353"/>
                      <a:pt x="731" y="1354"/>
                    </a:cubicBezTo>
                    <a:cubicBezTo>
                      <a:pt x="729" y="1317"/>
                      <a:pt x="729" y="1277"/>
                      <a:pt x="727" y="1239"/>
                    </a:cubicBezTo>
                    <a:cubicBezTo>
                      <a:pt x="713" y="1240"/>
                      <a:pt x="696" y="1237"/>
                      <a:pt x="684" y="1239"/>
                    </a:cubicBezTo>
                    <a:cubicBezTo>
                      <a:pt x="694" y="1278"/>
                      <a:pt x="704" y="1318"/>
                      <a:pt x="716" y="1355"/>
                    </a:cubicBezTo>
                    <a:close/>
                    <a:moveTo>
                      <a:pt x="1067" y="1238"/>
                    </a:moveTo>
                    <a:cubicBezTo>
                      <a:pt x="1026" y="1291"/>
                      <a:pt x="978" y="1338"/>
                      <a:pt x="927" y="1381"/>
                    </a:cubicBezTo>
                    <a:cubicBezTo>
                      <a:pt x="939" y="1385"/>
                      <a:pt x="948" y="1391"/>
                      <a:pt x="959" y="1396"/>
                    </a:cubicBezTo>
                    <a:cubicBezTo>
                      <a:pt x="1011" y="1367"/>
                      <a:pt x="1058" y="1334"/>
                      <a:pt x="1101" y="1296"/>
                    </a:cubicBezTo>
                    <a:cubicBezTo>
                      <a:pt x="1104" y="1282"/>
                      <a:pt x="1110" y="1271"/>
                      <a:pt x="1112" y="1256"/>
                    </a:cubicBezTo>
                    <a:cubicBezTo>
                      <a:pt x="1098" y="1249"/>
                      <a:pt x="1084" y="1242"/>
                      <a:pt x="1067" y="1238"/>
                    </a:cubicBezTo>
                    <a:close/>
                    <a:moveTo>
                      <a:pt x="731" y="1239"/>
                    </a:moveTo>
                    <a:cubicBezTo>
                      <a:pt x="730" y="1276"/>
                      <a:pt x="733" y="1316"/>
                      <a:pt x="733" y="1354"/>
                    </a:cubicBezTo>
                    <a:cubicBezTo>
                      <a:pt x="745" y="1354"/>
                      <a:pt x="757" y="1353"/>
                      <a:pt x="770" y="1353"/>
                    </a:cubicBezTo>
                    <a:cubicBezTo>
                      <a:pt x="772" y="1316"/>
                      <a:pt x="774" y="1278"/>
                      <a:pt x="775" y="1240"/>
                    </a:cubicBezTo>
                    <a:cubicBezTo>
                      <a:pt x="761" y="1239"/>
                      <a:pt x="747" y="1238"/>
                      <a:pt x="731" y="1239"/>
                    </a:cubicBezTo>
                    <a:close/>
                    <a:moveTo>
                      <a:pt x="559" y="1383"/>
                    </a:moveTo>
                    <a:cubicBezTo>
                      <a:pt x="502" y="1348"/>
                      <a:pt x="454" y="1304"/>
                      <a:pt x="408" y="1258"/>
                    </a:cubicBezTo>
                    <a:cubicBezTo>
                      <a:pt x="395" y="1265"/>
                      <a:pt x="383" y="1272"/>
                      <a:pt x="371" y="1280"/>
                    </a:cubicBezTo>
                    <a:cubicBezTo>
                      <a:pt x="377" y="1308"/>
                      <a:pt x="393" y="1320"/>
                      <a:pt x="414" y="1334"/>
                    </a:cubicBezTo>
                    <a:cubicBezTo>
                      <a:pt x="445" y="1356"/>
                      <a:pt x="480" y="1376"/>
                      <a:pt x="511" y="1392"/>
                    </a:cubicBezTo>
                    <a:cubicBezTo>
                      <a:pt x="529" y="1393"/>
                      <a:pt x="548" y="1399"/>
                      <a:pt x="564" y="1398"/>
                    </a:cubicBezTo>
                    <a:cubicBezTo>
                      <a:pt x="563" y="1393"/>
                      <a:pt x="560" y="1389"/>
                      <a:pt x="559" y="1383"/>
                    </a:cubicBezTo>
                    <a:close/>
                    <a:moveTo>
                      <a:pt x="1106" y="1293"/>
                    </a:moveTo>
                    <a:cubicBezTo>
                      <a:pt x="1114" y="1284"/>
                      <a:pt x="1124" y="1276"/>
                      <a:pt x="1133" y="1267"/>
                    </a:cubicBezTo>
                    <a:cubicBezTo>
                      <a:pt x="1126" y="1264"/>
                      <a:pt x="1122" y="1260"/>
                      <a:pt x="1115" y="1258"/>
                    </a:cubicBezTo>
                    <a:cubicBezTo>
                      <a:pt x="1112" y="1269"/>
                      <a:pt x="1106" y="1282"/>
                      <a:pt x="1106" y="1293"/>
                    </a:cubicBezTo>
                    <a:close/>
                    <a:moveTo>
                      <a:pt x="193" y="1264"/>
                    </a:moveTo>
                    <a:cubicBezTo>
                      <a:pt x="193" y="1265"/>
                      <a:pt x="193" y="1265"/>
                      <a:pt x="194" y="1265"/>
                    </a:cubicBezTo>
                    <a:moveTo>
                      <a:pt x="194" y="1265"/>
                    </a:moveTo>
                    <a:cubicBezTo>
                      <a:pt x="194" y="1266"/>
                      <a:pt x="194" y="1266"/>
                      <a:pt x="195" y="1266"/>
                    </a:cubicBezTo>
                    <a:moveTo>
                      <a:pt x="195" y="1266"/>
                    </a:moveTo>
                    <a:cubicBezTo>
                      <a:pt x="205" y="1280"/>
                      <a:pt x="216" y="1293"/>
                      <a:pt x="232" y="1301"/>
                    </a:cubicBezTo>
                    <a:moveTo>
                      <a:pt x="232" y="1301"/>
                    </a:moveTo>
                    <a:cubicBezTo>
                      <a:pt x="232" y="1302"/>
                      <a:pt x="232" y="1302"/>
                      <a:pt x="233" y="1302"/>
                    </a:cubicBezTo>
                    <a:moveTo>
                      <a:pt x="233" y="1302"/>
                    </a:moveTo>
                    <a:cubicBezTo>
                      <a:pt x="234" y="1304"/>
                      <a:pt x="234" y="1302"/>
                      <a:pt x="233" y="1302"/>
                    </a:cubicBezTo>
                    <a:moveTo>
                      <a:pt x="233" y="1302"/>
                    </a:moveTo>
                    <a:cubicBezTo>
                      <a:pt x="233" y="1301"/>
                      <a:pt x="233" y="1301"/>
                      <a:pt x="232" y="1301"/>
                    </a:cubicBezTo>
                    <a:moveTo>
                      <a:pt x="195" y="1266"/>
                    </a:moveTo>
                    <a:cubicBezTo>
                      <a:pt x="207" y="1278"/>
                      <a:pt x="219" y="1290"/>
                      <a:pt x="232" y="1301"/>
                    </a:cubicBezTo>
                    <a:moveTo>
                      <a:pt x="195" y="1266"/>
                    </a:moveTo>
                    <a:cubicBezTo>
                      <a:pt x="195" y="1265"/>
                      <a:pt x="194" y="1265"/>
                      <a:pt x="194" y="1265"/>
                    </a:cubicBezTo>
                    <a:moveTo>
                      <a:pt x="194" y="1265"/>
                    </a:moveTo>
                    <a:cubicBezTo>
                      <a:pt x="194" y="1264"/>
                      <a:pt x="193" y="1264"/>
                      <a:pt x="193" y="1264"/>
                    </a:cubicBezTo>
                    <a:moveTo>
                      <a:pt x="193" y="1264"/>
                    </a:moveTo>
                    <a:cubicBezTo>
                      <a:pt x="192" y="1262"/>
                      <a:pt x="192" y="1264"/>
                      <a:pt x="193" y="1264"/>
                    </a:cubicBezTo>
                    <a:moveTo>
                      <a:pt x="1071" y="1373"/>
                    </a:moveTo>
                    <a:cubicBezTo>
                      <a:pt x="1070" y="1374"/>
                      <a:pt x="1071" y="1374"/>
                      <a:pt x="1071" y="1373"/>
                    </a:cubicBezTo>
                    <a:moveTo>
                      <a:pt x="1071" y="1373"/>
                    </a:moveTo>
                    <a:cubicBezTo>
                      <a:pt x="1096" y="1361"/>
                      <a:pt x="1127" y="1341"/>
                      <a:pt x="1154" y="1321"/>
                    </a:cubicBezTo>
                    <a:cubicBezTo>
                      <a:pt x="1159" y="1318"/>
                      <a:pt x="1178" y="1306"/>
                      <a:pt x="1178" y="1302"/>
                    </a:cubicBezTo>
                    <a:cubicBezTo>
                      <a:pt x="1178" y="1299"/>
                      <a:pt x="1160" y="1286"/>
                      <a:pt x="1158" y="1284"/>
                    </a:cubicBezTo>
                    <a:cubicBezTo>
                      <a:pt x="1149" y="1277"/>
                      <a:pt x="1143" y="1273"/>
                      <a:pt x="1134" y="1269"/>
                    </a:cubicBezTo>
                    <a:cubicBezTo>
                      <a:pt x="1124" y="1279"/>
                      <a:pt x="1114" y="1289"/>
                      <a:pt x="1102" y="1298"/>
                    </a:cubicBezTo>
                    <a:cubicBezTo>
                      <a:pt x="1094" y="1326"/>
                      <a:pt x="1082" y="1349"/>
                      <a:pt x="1071" y="1373"/>
                    </a:cubicBezTo>
                    <a:moveTo>
                      <a:pt x="253" y="1272"/>
                    </a:moveTo>
                    <a:cubicBezTo>
                      <a:pt x="253" y="1273"/>
                      <a:pt x="254" y="1273"/>
                      <a:pt x="254" y="1273"/>
                    </a:cubicBezTo>
                    <a:moveTo>
                      <a:pt x="254" y="1273"/>
                    </a:moveTo>
                    <a:cubicBezTo>
                      <a:pt x="266" y="1296"/>
                      <a:pt x="280" y="1316"/>
                      <a:pt x="295" y="1335"/>
                    </a:cubicBezTo>
                    <a:cubicBezTo>
                      <a:pt x="305" y="1338"/>
                      <a:pt x="314" y="1343"/>
                      <a:pt x="324" y="1345"/>
                    </a:cubicBezTo>
                    <a:cubicBezTo>
                      <a:pt x="324" y="1340"/>
                      <a:pt x="326" y="1335"/>
                      <a:pt x="327" y="1331"/>
                    </a:cubicBezTo>
                    <a:cubicBezTo>
                      <a:pt x="302" y="1313"/>
                      <a:pt x="277" y="1294"/>
                      <a:pt x="254" y="1273"/>
                    </a:cubicBezTo>
                    <a:moveTo>
                      <a:pt x="254" y="1273"/>
                    </a:moveTo>
                    <a:cubicBezTo>
                      <a:pt x="254" y="1273"/>
                      <a:pt x="254" y="1272"/>
                      <a:pt x="253" y="1272"/>
                    </a:cubicBezTo>
                    <a:moveTo>
                      <a:pt x="253" y="1272"/>
                    </a:moveTo>
                    <a:cubicBezTo>
                      <a:pt x="253" y="1271"/>
                      <a:pt x="252" y="1273"/>
                      <a:pt x="253" y="1272"/>
                    </a:cubicBezTo>
                    <a:moveTo>
                      <a:pt x="379" y="1308"/>
                    </a:moveTo>
                    <a:cubicBezTo>
                      <a:pt x="380" y="1309"/>
                      <a:pt x="380" y="1308"/>
                      <a:pt x="379" y="1308"/>
                    </a:cubicBezTo>
                    <a:moveTo>
                      <a:pt x="379" y="1308"/>
                    </a:moveTo>
                    <a:cubicBezTo>
                      <a:pt x="376" y="1299"/>
                      <a:pt x="372" y="1290"/>
                      <a:pt x="368" y="1282"/>
                    </a:cubicBezTo>
                    <a:cubicBezTo>
                      <a:pt x="365" y="1285"/>
                      <a:pt x="361" y="1288"/>
                      <a:pt x="358" y="1292"/>
                    </a:cubicBezTo>
                    <a:cubicBezTo>
                      <a:pt x="365" y="1297"/>
                      <a:pt x="371" y="1303"/>
                      <a:pt x="379" y="1308"/>
                    </a:cubicBezTo>
                    <a:moveTo>
                      <a:pt x="383" y="1315"/>
                    </a:moveTo>
                    <a:cubicBezTo>
                      <a:pt x="373" y="1308"/>
                      <a:pt x="366" y="1299"/>
                      <a:pt x="355" y="1294"/>
                    </a:cubicBezTo>
                    <a:cubicBezTo>
                      <a:pt x="345" y="1304"/>
                      <a:pt x="335" y="1315"/>
                      <a:pt x="330" y="1330"/>
                    </a:cubicBezTo>
                    <a:cubicBezTo>
                      <a:pt x="356" y="1345"/>
                      <a:pt x="378" y="1368"/>
                      <a:pt x="413" y="1371"/>
                    </a:cubicBezTo>
                    <a:cubicBezTo>
                      <a:pt x="401" y="1354"/>
                      <a:pt x="391" y="1335"/>
                      <a:pt x="383" y="1315"/>
                    </a:cubicBezTo>
                    <a:close/>
                    <a:moveTo>
                      <a:pt x="929" y="1297"/>
                    </a:moveTo>
                    <a:cubicBezTo>
                      <a:pt x="929" y="1297"/>
                      <a:pt x="930" y="1298"/>
                      <a:pt x="929" y="1297"/>
                    </a:cubicBezTo>
                    <a:close/>
                    <a:moveTo>
                      <a:pt x="224" y="1300"/>
                    </a:moveTo>
                    <a:cubicBezTo>
                      <a:pt x="224" y="1301"/>
                      <a:pt x="225" y="1301"/>
                      <a:pt x="225" y="1301"/>
                    </a:cubicBezTo>
                    <a:moveTo>
                      <a:pt x="225" y="1301"/>
                    </a:moveTo>
                    <a:cubicBezTo>
                      <a:pt x="259" y="1340"/>
                      <a:pt x="299" y="1371"/>
                      <a:pt x="343" y="1399"/>
                    </a:cubicBezTo>
                    <a:cubicBezTo>
                      <a:pt x="340" y="1392"/>
                      <a:pt x="333" y="1387"/>
                      <a:pt x="331" y="1378"/>
                    </a:cubicBezTo>
                    <a:cubicBezTo>
                      <a:pt x="326" y="1374"/>
                      <a:pt x="321" y="1369"/>
                      <a:pt x="317" y="1364"/>
                    </a:cubicBezTo>
                    <a:cubicBezTo>
                      <a:pt x="283" y="1346"/>
                      <a:pt x="259" y="1319"/>
                      <a:pt x="225" y="1301"/>
                    </a:cubicBezTo>
                    <a:moveTo>
                      <a:pt x="225" y="1301"/>
                    </a:moveTo>
                    <a:cubicBezTo>
                      <a:pt x="226" y="1300"/>
                      <a:pt x="225" y="1300"/>
                      <a:pt x="224" y="1300"/>
                    </a:cubicBezTo>
                    <a:moveTo>
                      <a:pt x="224" y="1300"/>
                    </a:moveTo>
                    <a:cubicBezTo>
                      <a:pt x="224" y="1299"/>
                      <a:pt x="223" y="1300"/>
                      <a:pt x="224" y="1300"/>
                    </a:cubicBezTo>
                    <a:moveTo>
                      <a:pt x="961" y="1398"/>
                    </a:moveTo>
                    <a:cubicBezTo>
                      <a:pt x="996" y="1395"/>
                      <a:pt x="1039" y="1392"/>
                      <a:pt x="1066" y="1377"/>
                    </a:cubicBezTo>
                    <a:cubicBezTo>
                      <a:pt x="1077" y="1353"/>
                      <a:pt x="1091" y="1328"/>
                      <a:pt x="1097" y="1302"/>
                    </a:cubicBezTo>
                    <a:cubicBezTo>
                      <a:pt x="1057" y="1339"/>
                      <a:pt x="1010" y="1370"/>
                      <a:pt x="961" y="1398"/>
                    </a:cubicBezTo>
                    <a:close/>
                    <a:moveTo>
                      <a:pt x="1294" y="1304"/>
                    </a:moveTo>
                    <a:cubicBezTo>
                      <a:pt x="1293" y="1304"/>
                      <a:pt x="1294" y="1305"/>
                      <a:pt x="1294" y="1304"/>
                    </a:cubicBezTo>
                    <a:close/>
                    <a:moveTo>
                      <a:pt x="1292" y="1305"/>
                    </a:moveTo>
                    <a:cubicBezTo>
                      <a:pt x="1292" y="1305"/>
                      <a:pt x="1293" y="1306"/>
                      <a:pt x="1292" y="1305"/>
                    </a:cubicBezTo>
                    <a:close/>
                    <a:moveTo>
                      <a:pt x="561" y="1382"/>
                    </a:moveTo>
                    <a:cubicBezTo>
                      <a:pt x="567" y="1384"/>
                      <a:pt x="571" y="1388"/>
                      <a:pt x="577" y="1391"/>
                    </a:cubicBezTo>
                    <a:cubicBezTo>
                      <a:pt x="587" y="1385"/>
                      <a:pt x="597" y="1379"/>
                      <a:pt x="610" y="1376"/>
                    </a:cubicBezTo>
                    <a:cubicBezTo>
                      <a:pt x="587" y="1352"/>
                      <a:pt x="562" y="1331"/>
                      <a:pt x="541" y="1305"/>
                    </a:cubicBezTo>
                    <a:cubicBezTo>
                      <a:pt x="546" y="1332"/>
                      <a:pt x="554" y="1357"/>
                      <a:pt x="561" y="1382"/>
                    </a:cubicBezTo>
                    <a:close/>
                    <a:moveTo>
                      <a:pt x="1179" y="1305"/>
                    </a:moveTo>
                    <a:cubicBezTo>
                      <a:pt x="1162" y="1320"/>
                      <a:pt x="1142" y="1333"/>
                      <a:pt x="1122" y="1345"/>
                    </a:cubicBezTo>
                    <a:cubicBezTo>
                      <a:pt x="1103" y="1357"/>
                      <a:pt x="1083" y="1369"/>
                      <a:pt x="1066" y="1382"/>
                    </a:cubicBezTo>
                    <a:cubicBezTo>
                      <a:pt x="1112" y="1371"/>
                      <a:pt x="1168" y="1364"/>
                      <a:pt x="1197" y="1341"/>
                    </a:cubicBezTo>
                    <a:cubicBezTo>
                      <a:pt x="1194" y="1326"/>
                      <a:pt x="1188" y="1314"/>
                      <a:pt x="1179" y="1305"/>
                    </a:cubicBezTo>
                    <a:close/>
                    <a:moveTo>
                      <a:pt x="1283" y="1311"/>
                    </a:moveTo>
                    <a:cubicBezTo>
                      <a:pt x="1257" y="1325"/>
                      <a:pt x="1230" y="1338"/>
                      <a:pt x="1200" y="1348"/>
                    </a:cubicBezTo>
                    <a:cubicBezTo>
                      <a:pt x="1201" y="1361"/>
                      <a:pt x="1197" y="1369"/>
                      <a:pt x="1194" y="1378"/>
                    </a:cubicBezTo>
                    <a:moveTo>
                      <a:pt x="1194" y="1378"/>
                    </a:moveTo>
                    <a:cubicBezTo>
                      <a:pt x="1193" y="1379"/>
                      <a:pt x="1194" y="1379"/>
                      <a:pt x="1194" y="1378"/>
                    </a:cubicBezTo>
                    <a:moveTo>
                      <a:pt x="1194" y="1378"/>
                    </a:moveTo>
                    <a:cubicBezTo>
                      <a:pt x="1227" y="1358"/>
                      <a:pt x="1258" y="1338"/>
                      <a:pt x="1283" y="1311"/>
                    </a:cubicBezTo>
                    <a:moveTo>
                      <a:pt x="1283" y="1311"/>
                    </a:moveTo>
                    <a:cubicBezTo>
                      <a:pt x="1285" y="1310"/>
                      <a:pt x="1283" y="1310"/>
                      <a:pt x="1283" y="1311"/>
                    </a:cubicBezTo>
                    <a:moveTo>
                      <a:pt x="881" y="1367"/>
                    </a:moveTo>
                    <a:cubicBezTo>
                      <a:pt x="892" y="1368"/>
                      <a:pt x="901" y="1372"/>
                      <a:pt x="911" y="1374"/>
                    </a:cubicBezTo>
                    <a:cubicBezTo>
                      <a:pt x="916" y="1355"/>
                      <a:pt x="921" y="1331"/>
                      <a:pt x="922" y="1312"/>
                    </a:cubicBezTo>
                    <a:cubicBezTo>
                      <a:pt x="910" y="1331"/>
                      <a:pt x="895" y="1349"/>
                      <a:pt x="881" y="1367"/>
                    </a:cubicBezTo>
                    <a:close/>
                    <a:moveTo>
                      <a:pt x="388" y="1319"/>
                    </a:moveTo>
                    <a:cubicBezTo>
                      <a:pt x="395" y="1338"/>
                      <a:pt x="406" y="1356"/>
                      <a:pt x="416" y="1373"/>
                    </a:cubicBezTo>
                    <a:cubicBezTo>
                      <a:pt x="444" y="1379"/>
                      <a:pt x="470" y="1386"/>
                      <a:pt x="500" y="1390"/>
                    </a:cubicBezTo>
                    <a:moveTo>
                      <a:pt x="500" y="1390"/>
                    </a:moveTo>
                    <a:cubicBezTo>
                      <a:pt x="500" y="1392"/>
                      <a:pt x="504" y="1389"/>
                      <a:pt x="500" y="1390"/>
                    </a:cubicBezTo>
                    <a:moveTo>
                      <a:pt x="388" y="1319"/>
                    </a:moveTo>
                    <a:cubicBezTo>
                      <a:pt x="423" y="1344"/>
                      <a:pt x="460" y="1368"/>
                      <a:pt x="500" y="1390"/>
                    </a:cubicBezTo>
                    <a:moveTo>
                      <a:pt x="388" y="1319"/>
                    </a:moveTo>
                    <a:cubicBezTo>
                      <a:pt x="387" y="1317"/>
                      <a:pt x="386" y="1319"/>
                      <a:pt x="388" y="1319"/>
                    </a:cubicBezTo>
                    <a:moveTo>
                      <a:pt x="261" y="1322"/>
                    </a:moveTo>
                    <a:cubicBezTo>
                      <a:pt x="260" y="1322"/>
                      <a:pt x="262" y="1323"/>
                      <a:pt x="261" y="1322"/>
                    </a:cubicBezTo>
                    <a:close/>
                    <a:moveTo>
                      <a:pt x="264" y="1323"/>
                    </a:moveTo>
                    <a:cubicBezTo>
                      <a:pt x="264" y="1324"/>
                      <a:pt x="264" y="1324"/>
                      <a:pt x="264" y="1324"/>
                    </a:cubicBezTo>
                    <a:cubicBezTo>
                      <a:pt x="279" y="1334"/>
                      <a:pt x="292" y="1346"/>
                      <a:pt x="308" y="1355"/>
                    </a:cubicBezTo>
                    <a:moveTo>
                      <a:pt x="308" y="1355"/>
                    </a:moveTo>
                    <a:cubicBezTo>
                      <a:pt x="308" y="1356"/>
                      <a:pt x="308" y="1356"/>
                      <a:pt x="309" y="1356"/>
                    </a:cubicBezTo>
                    <a:moveTo>
                      <a:pt x="309" y="1356"/>
                    </a:moveTo>
                    <a:cubicBezTo>
                      <a:pt x="309" y="1357"/>
                      <a:pt x="310" y="1356"/>
                      <a:pt x="309" y="1356"/>
                    </a:cubicBezTo>
                    <a:moveTo>
                      <a:pt x="309" y="1356"/>
                    </a:moveTo>
                    <a:cubicBezTo>
                      <a:pt x="309" y="1355"/>
                      <a:pt x="309" y="1355"/>
                      <a:pt x="308" y="1355"/>
                    </a:cubicBezTo>
                    <a:moveTo>
                      <a:pt x="308" y="1355"/>
                    </a:moveTo>
                    <a:cubicBezTo>
                      <a:pt x="299" y="1338"/>
                      <a:pt x="282" y="1330"/>
                      <a:pt x="264" y="1323"/>
                    </a:cubicBezTo>
                    <a:moveTo>
                      <a:pt x="264" y="1323"/>
                    </a:moveTo>
                    <a:cubicBezTo>
                      <a:pt x="263" y="1322"/>
                      <a:pt x="263" y="1323"/>
                      <a:pt x="264" y="1323"/>
                    </a:cubicBezTo>
                    <a:moveTo>
                      <a:pt x="327" y="1347"/>
                    </a:moveTo>
                    <a:cubicBezTo>
                      <a:pt x="343" y="1351"/>
                      <a:pt x="359" y="1360"/>
                      <a:pt x="374" y="1361"/>
                    </a:cubicBezTo>
                    <a:cubicBezTo>
                      <a:pt x="358" y="1353"/>
                      <a:pt x="345" y="1342"/>
                      <a:pt x="329" y="1333"/>
                    </a:cubicBezTo>
                    <a:cubicBezTo>
                      <a:pt x="328" y="1337"/>
                      <a:pt x="327" y="1341"/>
                      <a:pt x="327" y="1347"/>
                    </a:cubicBezTo>
                    <a:close/>
                    <a:moveTo>
                      <a:pt x="299" y="1340"/>
                    </a:moveTo>
                    <a:cubicBezTo>
                      <a:pt x="308" y="1349"/>
                      <a:pt x="314" y="1361"/>
                      <a:pt x="326" y="1367"/>
                    </a:cubicBezTo>
                    <a:cubicBezTo>
                      <a:pt x="325" y="1362"/>
                      <a:pt x="324" y="1356"/>
                      <a:pt x="324" y="1348"/>
                    </a:cubicBezTo>
                    <a:cubicBezTo>
                      <a:pt x="315" y="1346"/>
                      <a:pt x="309" y="1342"/>
                      <a:pt x="299" y="1340"/>
                    </a:cubicBezTo>
                    <a:moveTo>
                      <a:pt x="299" y="1340"/>
                    </a:moveTo>
                    <a:cubicBezTo>
                      <a:pt x="299" y="1338"/>
                      <a:pt x="298" y="1340"/>
                      <a:pt x="299" y="1340"/>
                    </a:cubicBezTo>
                    <a:moveTo>
                      <a:pt x="1254" y="1341"/>
                    </a:moveTo>
                    <a:cubicBezTo>
                      <a:pt x="1254" y="1340"/>
                      <a:pt x="1254" y="1341"/>
                      <a:pt x="1254" y="1342"/>
                    </a:cubicBezTo>
                    <a:moveTo>
                      <a:pt x="1254" y="1342"/>
                    </a:moveTo>
                    <a:cubicBezTo>
                      <a:pt x="1253" y="1341"/>
                      <a:pt x="1253" y="1342"/>
                      <a:pt x="1253" y="1343"/>
                    </a:cubicBezTo>
                    <a:moveTo>
                      <a:pt x="1253" y="1343"/>
                    </a:moveTo>
                    <a:cubicBezTo>
                      <a:pt x="1252" y="1342"/>
                      <a:pt x="1252" y="1343"/>
                      <a:pt x="1252" y="1343"/>
                    </a:cubicBezTo>
                    <a:moveTo>
                      <a:pt x="1252" y="1343"/>
                    </a:moveTo>
                    <a:cubicBezTo>
                      <a:pt x="1231" y="1356"/>
                      <a:pt x="1213" y="1372"/>
                      <a:pt x="1191" y="1383"/>
                    </a:cubicBezTo>
                    <a:cubicBezTo>
                      <a:pt x="1188" y="1390"/>
                      <a:pt x="1182" y="1395"/>
                      <a:pt x="1178" y="1402"/>
                    </a:cubicBezTo>
                    <a:moveTo>
                      <a:pt x="1178" y="1402"/>
                    </a:moveTo>
                    <a:cubicBezTo>
                      <a:pt x="1177" y="1402"/>
                      <a:pt x="1177" y="1402"/>
                      <a:pt x="1177" y="1403"/>
                    </a:cubicBezTo>
                    <a:moveTo>
                      <a:pt x="1177" y="1403"/>
                    </a:moveTo>
                    <a:cubicBezTo>
                      <a:pt x="1175" y="1404"/>
                      <a:pt x="1177" y="1404"/>
                      <a:pt x="1177" y="1403"/>
                    </a:cubicBezTo>
                    <a:moveTo>
                      <a:pt x="1177" y="1403"/>
                    </a:moveTo>
                    <a:cubicBezTo>
                      <a:pt x="1178" y="1403"/>
                      <a:pt x="1178" y="1403"/>
                      <a:pt x="1178" y="1402"/>
                    </a:cubicBezTo>
                    <a:moveTo>
                      <a:pt x="1178" y="1402"/>
                    </a:moveTo>
                    <a:cubicBezTo>
                      <a:pt x="1205" y="1385"/>
                      <a:pt x="1229" y="1365"/>
                      <a:pt x="1252" y="1343"/>
                    </a:cubicBezTo>
                    <a:moveTo>
                      <a:pt x="1252" y="1343"/>
                    </a:moveTo>
                    <a:cubicBezTo>
                      <a:pt x="1252" y="1344"/>
                      <a:pt x="1253" y="1343"/>
                      <a:pt x="1253" y="1343"/>
                    </a:cubicBezTo>
                    <a:moveTo>
                      <a:pt x="1253" y="1343"/>
                    </a:moveTo>
                    <a:cubicBezTo>
                      <a:pt x="1253" y="1343"/>
                      <a:pt x="1253" y="1342"/>
                      <a:pt x="1254" y="1342"/>
                    </a:cubicBezTo>
                    <a:moveTo>
                      <a:pt x="1254" y="1342"/>
                    </a:moveTo>
                    <a:cubicBezTo>
                      <a:pt x="1254" y="1342"/>
                      <a:pt x="1254" y="1341"/>
                      <a:pt x="1254" y="1341"/>
                    </a:cubicBezTo>
                    <a:moveTo>
                      <a:pt x="1254" y="1341"/>
                    </a:moveTo>
                    <a:cubicBezTo>
                      <a:pt x="1256" y="1340"/>
                      <a:pt x="1254" y="1339"/>
                      <a:pt x="1254" y="1341"/>
                    </a:cubicBezTo>
                    <a:moveTo>
                      <a:pt x="1193" y="1348"/>
                    </a:moveTo>
                    <a:cubicBezTo>
                      <a:pt x="1193" y="1348"/>
                      <a:pt x="1194" y="1349"/>
                      <a:pt x="1193" y="1348"/>
                    </a:cubicBezTo>
                    <a:close/>
                    <a:moveTo>
                      <a:pt x="330" y="1369"/>
                    </a:moveTo>
                    <a:cubicBezTo>
                      <a:pt x="368" y="1393"/>
                      <a:pt x="409" y="1413"/>
                      <a:pt x="454" y="1429"/>
                    </a:cubicBezTo>
                    <a:cubicBezTo>
                      <a:pt x="444" y="1415"/>
                      <a:pt x="432" y="1403"/>
                      <a:pt x="423" y="1388"/>
                    </a:cubicBezTo>
                    <a:cubicBezTo>
                      <a:pt x="395" y="1370"/>
                      <a:pt x="360" y="1360"/>
                      <a:pt x="326" y="1349"/>
                    </a:cubicBezTo>
                    <a:cubicBezTo>
                      <a:pt x="327" y="1357"/>
                      <a:pt x="327" y="1364"/>
                      <a:pt x="330" y="1369"/>
                    </a:cubicBezTo>
                    <a:close/>
                    <a:moveTo>
                      <a:pt x="1151" y="1402"/>
                    </a:moveTo>
                    <a:cubicBezTo>
                      <a:pt x="1149" y="1403"/>
                      <a:pt x="1151" y="1403"/>
                      <a:pt x="1151" y="1402"/>
                    </a:cubicBezTo>
                    <a:moveTo>
                      <a:pt x="1151" y="1402"/>
                    </a:moveTo>
                    <a:cubicBezTo>
                      <a:pt x="1165" y="1397"/>
                      <a:pt x="1176" y="1388"/>
                      <a:pt x="1189" y="1382"/>
                    </a:cubicBezTo>
                    <a:cubicBezTo>
                      <a:pt x="1193" y="1373"/>
                      <a:pt x="1197" y="1363"/>
                      <a:pt x="1198" y="1350"/>
                    </a:cubicBezTo>
                    <a:cubicBezTo>
                      <a:pt x="1183" y="1365"/>
                      <a:pt x="1168" y="1386"/>
                      <a:pt x="1151" y="1402"/>
                    </a:cubicBezTo>
                    <a:moveTo>
                      <a:pt x="1191" y="1352"/>
                    </a:moveTo>
                    <a:cubicBezTo>
                      <a:pt x="1142" y="1377"/>
                      <a:pt x="1096" y="1406"/>
                      <a:pt x="1039" y="1424"/>
                    </a:cubicBezTo>
                    <a:cubicBezTo>
                      <a:pt x="1033" y="1434"/>
                      <a:pt x="1025" y="1443"/>
                      <a:pt x="1017" y="1452"/>
                    </a:cubicBezTo>
                    <a:moveTo>
                      <a:pt x="1017" y="1452"/>
                    </a:moveTo>
                    <a:cubicBezTo>
                      <a:pt x="1016" y="1453"/>
                      <a:pt x="1017" y="1453"/>
                      <a:pt x="1017" y="1452"/>
                    </a:cubicBezTo>
                    <a:moveTo>
                      <a:pt x="1017" y="1452"/>
                    </a:moveTo>
                    <a:cubicBezTo>
                      <a:pt x="1063" y="1442"/>
                      <a:pt x="1102" y="1425"/>
                      <a:pt x="1141" y="1408"/>
                    </a:cubicBezTo>
                    <a:cubicBezTo>
                      <a:pt x="1159" y="1390"/>
                      <a:pt x="1176" y="1372"/>
                      <a:pt x="1191" y="1352"/>
                    </a:cubicBezTo>
                    <a:moveTo>
                      <a:pt x="1191" y="1352"/>
                    </a:moveTo>
                    <a:cubicBezTo>
                      <a:pt x="1193" y="1352"/>
                      <a:pt x="1191" y="1351"/>
                      <a:pt x="1191" y="1352"/>
                    </a:cubicBezTo>
                    <a:moveTo>
                      <a:pt x="735" y="1356"/>
                    </a:moveTo>
                    <a:cubicBezTo>
                      <a:pt x="733" y="1373"/>
                      <a:pt x="736" y="1393"/>
                      <a:pt x="736" y="1411"/>
                    </a:cubicBezTo>
                    <a:cubicBezTo>
                      <a:pt x="746" y="1411"/>
                      <a:pt x="756" y="1411"/>
                      <a:pt x="766" y="1411"/>
                    </a:cubicBezTo>
                    <a:cubicBezTo>
                      <a:pt x="768" y="1393"/>
                      <a:pt x="768" y="1374"/>
                      <a:pt x="770" y="1356"/>
                    </a:cubicBezTo>
                    <a:cubicBezTo>
                      <a:pt x="758" y="1356"/>
                      <a:pt x="747" y="1356"/>
                      <a:pt x="735" y="1356"/>
                    </a:cubicBezTo>
                    <a:close/>
                    <a:moveTo>
                      <a:pt x="773" y="1356"/>
                    </a:moveTo>
                    <a:cubicBezTo>
                      <a:pt x="771" y="1374"/>
                      <a:pt x="770" y="1392"/>
                      <a:pt x="769" y="1411"/>
                    </a:cubicBezTo>
                    <a:cubicBezTo>
                      <a:pt x="779" y="1411"/>
                      <a:pt x="789" y="1411"/>
                      <a:pt x="799" y="1411"/>
                    </a:cubicBezTo>
                    <a:cubicBezTo>
                      <a:pt x="809" y="1394"/>
                      <a:pt x="817" y="1376"/>
                      <a:pt x="825" y="1359"/>
                    </a:cubicBezTo>
                    <a:cubicBezTo>
                      <a:pt x="807" y="1358"/>
                      <a:pt x="791" y="1356"/>
                      <a:pt x="773" y="1356"/>
                    </a:cubicBezTo>
                    <a:close/>
                    <a:moveTo>
                      <a:pt x="718" y="1358"/>
                    </a:moveTo>
                    <a:cubicBezTo>
                      <a:pt x="721" y="1371"/>
                      <a:pt x="728" y="1389"/>
                      <a:pt x="733" y="1403"/>
                    </a:cubicBezTo>
                    <a:cubicBezTo>
                      <a:pt x="732" y="1388"/>
                      <a:pt x="731" y="1373"/>
                      <a:pt x="731" y="1357"/>
                    </a:cubicBezTo>
                    <a:cubicBezTo>
                      <a:pt x="727" y="1357"/>
                      <a:pt x="721" y="1356"/>
                      <a:pt x="718" y="1358"/>
                    </a:cubicBezTo>
                    <a:close/>
                    <a:moveTo>
                      <a:pt x="664" y="1365"/>
                    </a:moveTo>
                    <a:cubicBezTo>
                      <a:pt x="673" y="1379"/>
                      <a:pt x="687" y="1397"/>
                      <a:pt x="701" y="1410"/>
                    </a:cubicBezTo>
                    <a:cubicBezTo>
                      <a:pt x="712" y="1408"/>
                      <a:pt x="723" y="1413"/>
                      <a:pt x="732" y="1410"/>
                    </a:cubicBezTo>
                    <a:cubicBezTo>
                      <a:pt x="724" y="1394"/>
                      <a:pt x="719" y="1376"/>
                      <a:pt x="713" y="1358"/>
                    </a:cubicBezTo>
                    <a:cubicBezTo>
                      <a:pt x="696" y="1359"/>
                      <a:pt x="679" y="1361"/>
                      <a:pt x="664" y="1365"/>
                    </a:cubicBezTo>
                    <a:close/>
                    <a:moveTo>
                      <a:pt x="1171" y="1359"/>
                    </a:moveTo>
                    <a:cubicBezTo>
                      <a:pt x="1137" y="1369"/>
                      <a:pt x="1101" y="1378"/>
                      <a:pt x="1064" y="1386"/>
                    </a:cubicBezTo>
                    <a:cubicBezTo>
                      <a:pt x="1058" y="1397"/>
                      <a:pt x="1050" y="1409"/>
                      <a:pt x="1043" y="1420"/>
                    </a:cubicBezTo>
                    <a:cubicBezTo>
                      <a:pt x="1090" y="1404"/>
                      <a:pt x="1132" y="1383"/>
                      <a:pt x="1171" y="1359"/>
                    </a:cubicBezTo>
                    <a:moveTo>
                      <a:pt x="1171" y="1359"/>
                    </a:moveTo>
                    <a:cubicBezTo>
                      <a:pt x="1172" y="1358"/>
                      <a:pt x="1171" y="1358"/>
                      <a:pt x="1171" y="1359"/>
                    </a:cubicBezTo>
                    <a:moveTo>
                      <a:pt x="827" y="1360"/>
                    </a:moveTo>
                    <a:cubicBezTo>
                      <a:pt x="820" y="1378"/>
                      <a:pt x="811" y="1394"/>
                      <a:pt x="802" y="1411"/>
                    </a:cubicBezTo>
                    <a:cubicBezTo>
                      <a:pt x="813" y="1409"/>
                      <a:pt x="828" y="1411"/>
                      <a:pt x="838" y="1409"/>
                    </a:cubicBezTo>
                    <a:cubicBezTo>
                      <a:pt x="847" y="1399"/>
                      <a:pt x="859" y="1388"/>
                      <a:pt x="868" y="1378"/>
                    </a:cubicBezTo>
                    <a:cubicBezTo>
                      <a:pt x="871" y="1375"/>
                      <a:pt x="876" y="1371"/>
                      <a:pt x="874" y="1367"/>
                    </a:cubicBezTo>
                    <a:cubicBezTo>
                      <a:pt x="860" y="1364"/>
                      <a:pt x="844" y="1361"/>
                      <a:pt x="827" y="1360"/>
                    </a:cubicBezTo>
                    <a:close/>
                    <a:moveTo>
                      <a:pt x="375" y="1363"/>
                    </a:moveTo>
                    <a:cubicBezTo>
                      <a:pt x="375" y="1362"/>
                      <a:pt x="376" y="1363"/>
                      <a:pt x="375" y="1363"/>
                    </a:cubicBezTo>
                    <a:close/>
                    <a:moveTo>
                      <a:pt x="618" y="1375"/>
                    </a:moveTo>
                    <a:cubicBezTo>
                      <a:pt x="621" y="1381"/>
                      <a:pt x="628" y="1387"/>
                      <a:pt x="635" y="1392"/>
                    </a:cubicBezTo>
                    <a:cubicBezTo>
                      <a:pt x="641" y="1397"/>
                      <a:pt x="650" y="1406"/>
                      <a:pt x="657" y="1408"/>
                    </a:cubicBezTo>
                    <a:cubicBezTo>
                      <a:pt x="669" y="1411"/>
                      <a:pt x="681" y="1407"/>
                      <a:pt x="695" y="1410"/>
                    </a:cubicBezTo>
                    <a:cubicBezTo>
                      <a:pt x="685" y="1397"/>
                      <a:pt x="672" y="1379"/>
                      <a:pt x="659" y="1366"/>
                    </a:cubicBezTo>
                    <a:cubicBezTo>
                      <a:pt x="644" y="1368"/>
                      <a:pt x="632" y="1372"/>
                      <a:pt x="618" y="1375"/>
                    </a:cubicBezTo>
                    <a:close/>
                    <a:moveTo>
                      <a:pt x="879" y="1368"/>
                    </a:moveTo>
                    <a:cubicBezTo>
                      <a:pt x="870" y="1379"/>
                      <a:pt x="860" y="1391"/>
                      <a:pt x="850" y="1400"/>
                    </a:cubicBezTo>
                    <a:cubicBezTo>
                      <a:pt x="848" y="1403"/>
                      <a:pt x="842" y="1405"/>
                      <a:pt x="844" y="1409"/>
                    </a:cubicBezTo>
                    <a:cubicBezTo>
                      <a:pt x="857" y="1409"/>
                      <a:pt x="870" y="1407"/>
                      <a:pt x="884" y="1407"/>
                    </a:cubicBezTo>
                    <a:cubicBezTo>
                      <a:pt x="892" y="1402"/>
                      <a:pt x="900" y="1396"/>
                      <a:pt x="908" y="1391"/>
                    </a:cubicBezTo>
                    <a:cubicBezTo>
                      <a:pt x="908" y="1385"/>
                      <a:pt x="910" y="1381"/>
                      <a:pt x="911" y="1377"/>
                    </a:cubicBezTo>
                    <a:cubicBezTo>
                      <a:pt x="900" y="1374"/>
                      <a:pt x="890" y="1371"/>
                      <a:pt x="879" y="1368"/>
                    </a:cubicBezTo>
                    <a:close/>
                    <a:moveTo>
                      <a:pt x="419" y="1382"/>
                    </a:moveTo>
                    <a:cubicBezTo>
                      <a:pt x="416" y="1375"/>
                      <a:pt x="405" y="1372"/>
                      <a:pt x="398" y="1372"/>
                    </a:cubicBezTo>
                    <a:cubicBezTo>
                      <a:pt x="405" y="1375"/>
                      <a:pt x="413" y="1382"/>
                      <a:pt x="419" y="1382"/>
                    </a:cubicBezTo>
                    <a:close/>
                    <a:moveTo>
                      <a:pt x="332" y="1374"/>
                    </a:moveTo>
                    <a:cubicBezTo>
                      <a:pt x="368" y="1419"/>
                      <a:pt x="423" y="1445"/>
                      <a:pt x="487" y="1461"/>
                    </a:cubicBezTo>
                    <a:moveTo>
                      <a:pt x="487" y="1461"/>
                    </a:moveTo>
                    <a:cubicBezTo>
                      <a:pt x="488" y="1462"/>
                      <a:pt x="489" y="1461"/>
                      <a:pt x="487" y="1461"/>
                    </a:cubicBezTo>
                    <a:moveTo>
                      <a:pt x="487" y="1461"/>
                    </a:moveTo>
                    <a:cubicBezTo>
                      <a:pt x="476" y="1454"/>
                      <a:pt x="470" y="1441"/>
                      <a:pt x="458" y="1434"/>
                    </a:cubicBezTo>
                    <a:cubicBezTo>
                      <a:pt x="438" y="1423"/>
                      <a:pt x="414" y="1417"/>
                      <a:pt x="392" y="1407"/>
                    </a:cubicBezTo>
                    <a:cubicBezTo>
                      <a:pt x="371" y="1397"/>
                      <a:pt x="351" y="1384"/>
                      <a:pt x="332" y="1374"/>
                    </a:cubicBezTo>
                    <a:moveTo>
                      <a:pt x="332" y="1374"/>
                    </a:moveTo>
                    <a:cubicBezTo>
                      <a:pt x="331" y="1373"/>
                      <a:pt x="331" y="1374"/>
                      <a:pt x="332" y="1374"/>
                    </a:cubicBezTo>
                    <a:moveTo>
                      <a:pt x="419" y="1377"/>
                    </a:moveTo>
                    <a:cubicBezTo>
                      <a:pt x="420" y="1381"/>
                      <a:pt x="424" y="1383"/>
                      <a:pt x="425" y="1387"/>
                    </a:cubicBezTo>
                    <a:cubicBezTo>
                      <a:pt x="461" y="1403"/>
                      <a:pt x="496" y="1420"/>
                      <a:pt x="536" y="1431"/>
                    </a:cubicBezTo>
                    <a:cubicBezTo>
                      <a:pt x="537" y="1422"/>
                      <a:pt x="546" y="1417"/>
                      <a:pt x="546" y="1411"/>
                    </a:cubicBezTo>
                    <a:cubicBezTo>
                      <a:pt x="533" y="1406"/>
                      <a:pt x="522" y="1401"/>
                      <a:pt x="511" y="1394"/>
                    </a:cubicBezTo>
                    <a:cubicBezTo>
                      <a:pt x="479" y="1390"/>
                      <a:pt x="450" y="1383"/>
                      <a:pt x="419" y="1377"/>
                    </a:cubicBezTo>
                    <a:moveTo>
                      <a:pt x="419" y="1377"/>
                    </a:moveTo>
                    <a:cubicBezTo>
                      <a:pt x="419" y="1376"/>
                      <a:pt x="418" y="1377"/>
                      <a:pt x="419" y="1377"/>
                    </a:cubicBezTo>
                    <a:moveTo>
                      <a:pt x="612" y="1377"/>
                    </a:moveTo>
                    <a:cubicBezTo>
                      <a:pt x="601" y="1382"/>
                      <a:pt x="588" y="1386"/>
                      <a:pt x="579" y="1392"/>
                    </a:cubicBezTo>
                    <a:cubicBezTo>
                      <a:pt x="593" y="1405"/>
                      <a:pt x="625" y="1407"/>
                      <a:pt x="650" y="1406"/>
                    </a:cubicBezTo>
                    <a:cubicBezTo>
                      <a:pt x="636" y="1397"/>
                      <a:pt x="626" y="1386"/>
                      <a:pt x="612" y="1377"/>
                    </a:cubicBezTo>
                    <a:close/>
                    <a:moveTo>
                      <a:pt x="914" y="1387"/>
                    </a:moveTo>
                    <a:cubicBezTo>
                      <a:pt x="915" y="1384"/>
                      <a:pt x="920" y="1384"/>
                      <a:pt x="920" y="1380"/>
                    </a:cubicBezTo>
                    <a:cubicBezTo>
                      <a:pt x="917" y="1380"/>
                      <a:pt x="917" y="1378"/>
                      <a:pt x="914" y="1379"/>
                    </a:cubicBezTo>
                    <a:cubicBezTo>
                      <a:pt x="915" y="1382"/>
                      <a:pt x="911" y="1385"/>
                      <a:pt x="914" y="1387"/>
                    </a:cubicBezTo>
                    <a:close/>
                    <a:moveTo>
                      <a:pt x="1062" y="1382"/>
                    </a:moveTo>
                    <a:cubicBezTo>
                      <a:pt x="1061" y="1382"/>
                      <a:pt x="1059" y="1383"/>
                      <a:pt x="1059" y="1384"/>
                    </a:cubicBezTo>
                    <a:cubicBezTo>
                      <a:pt x="1061" y="1384"/>
                      <a:pt x="1062" y="1384"/>
                      <a:pt x="1062" y="1382"/>
                    </a:cubicBezTo>
                    <a:moveTo>
                      <a:pt x="1062" y="1382"/>
                    </a:moveTo>
                    <a:cubicBezTo>
                      <a:pt x="1064" y="1381"/>
                      <a:pt x="1062" y="1381"/>
                      <a:pt x="1062" y="1382"/>
                    </a:cubicBezTo>
                    <a:moveTo>
                      <a:pt x="911" y="1391"/>
                    </a:moveTo>
                    <a:cubicBezTo>
                      <a:pt x="911" y="1397"/>
                      <a:pt x="908" y="1400"/>
                      <a:pt x="908" y="1405"/>
                    </a:cubicBezTo>
                    <a:cubicBezTo>
                      <a:pt x="923" y="1401"/>
                      <a:pt x="944" y="1404"/>
                      <a:pt x="956" y="1397"/>
                    </a:cubicBezTo>
                    <a:cubicBezTo>
                      <a:pt x="941" y="1391"/>
                      <a:pt x="923" y="1374"/>
                      <a:pt x="911" y="1391"/>
                    </a:cubicBezTo>
                    <a:close/>
                    <a:moveTo>
                      <a:pt x="339" y="1387"/>
                    </a:moveTo>
                    <a:cubicBezTo>
                      <a:pt x="338" y="1387"/>
                      <a:pt x="339" y="1388"/>
                      <a:pt x="340" y="1388"/>
                    </a:cubicBezTo>
                    <a:moveTo>
                      <a:pt x="340" y="1388"/>
                    </a:moveTo>
                    <a:cubicBezTo>
                      <a:pt x="346" y="1400"/>
                      <a:pt x="356" y="1408"/>
                      <a:pt x="369" y="1414"/>
                    </a:cubicBezTo>
                    <a:moveTo>
                      <a:pt x="369" y="1414"/>
                    </a:moveTo>
                    <a:cubicBezTo>
                      <a:pt x="369" y="1414"/>
                      <a:pt x="371" y="1414"/>
                      <a:pt x="371" y="1415"/>
                    </a:cubicBezTo>
                    <a:moveTo>
                      <a:pt x="371" y="1415"/>
                    </a:moveTo>
                    <a:cubicBezTo>
                      <a:pt x="372" y="1416"/>
                      <a:pt x="372" y="1414"/>
                      <a:pt x="371" y="1415"/>
                    </a:cubicBezTo>
                    <a:moveTo>
                      <a:pt x="371" y="1415"/>
                    </a:moveTo>
                    <a:cubicBezTo>
                      <a:pt x="371" y="1414"/>
                      <a:pt x="370" y="1414"/>
                      <a:pt x="369" y="1414"/>
                    </a:cubicBezTo>
                    <a:moveTo>
                      <a:pt x="369" y="1414"/>
                    </a:moveTo>
                    <a:cubicBezTo>
                      <a:pt x="360" y="1405"/>
                      <a:pt x="349" y="1396"/>
                      <a:pt x="340" y="1388"/>
                    </a:cubicBezTo>
                    <a:moveTo>
                      <a:pt x="340" y="1388"/>
                    </a:moveTo>
                    <a:cubicBezTo>
                      <a:pt x="340" y="1387"/>
                      <a:pt x="339" y="1387"/>
                      <a:pt x="339" y="1387"/>
                    </a:cubicBezTo>
                    <a:moveTo>
                      <a:pt x="339" y="1387"/>
                    </a:moveTo>
                    <a:cubicBezTo>
                      <a:pt x="338" y="1385"/>
                      <a:pt x="337" y="1387"/>
                      <a:pt x="339" y="1387"/>
                    </a:cubicBezTo>
                    <a:moveTo>
                      <a:pt x="567" y="1396"/>
                    </a:moveTo>
                    <a:cubicBezTo>
                      <a:pt x="568" y="1393"/>
                      <a:pt x="572" y="1394"/>
                      <a:pt x="573" y="1391"/>
                    </a:cubicBezTo>
                    <a:cubicBezTo>
                      <a:pt x="570" y="1390"/>
                      <a:pt x="566" y="1388"/>
                      <a:pt x="563" y="1386"/>
                    </a:cubicBezTo>
                    <a:cubicBezTo>
                      <a:pt x="564" y="1390"/>
                      <a:pt x="565" y="1394"/>
                      <a:pt x="567" y="1396"/>
                    </a:cubicBezTo>
                    <a:close/>
                    <a:moveTo>
                      <a:pt x="982" y="1419"/>
                    </a:moveTo>
                    <a:cubicBezTo>
                      <a:pt x="986" y="1424"/>
                      <a:pt x="989" y="1430"/>
                      <a:pt x="989" y="1439"/>
                    </a:cubicBezTo>
                    <a:cubicBezTo>
                      <a:pt x="1006" y="1434"/>
                      <a:pt x="1021" y="1428"/>
                      <a:pt x="1038" y="1423"/>
                    </a:cubicBezTo>
                    <a:cubicBezTo>
                      <a:pt x="1040" y="1417"/>
                      <a:pt x="1046" y="1411"/>
                      <a:pt x="1050" y="1405"/>
                    </a:cubicBezTo>
                    <a:cubicBezTo>
                      <a:pt x="1054" y="1399"/>
                      <a:pt x="1059" y="1390"/>
                      <a:pt x="1059" y="1387"/>
                    </a:cubicBezTo>
                    <a:cubicBezTo>
                      <a:pt x="1030" y="1395"/>
                      <a:pt x="1008" y="1409"/>
                      <a:pt x="982" y="1419"/>
                    </a:cubicBezTo>
                    <a:close/>
                    <a:moveTo>
                      <a:pt x="1184" y="1388"/>
                    </a:moveTo>
                    <a:cubicBezTo>
                      <a:pt x="1153" y="1402"/>
                      <a:pt x="1127" y="1421"/>
                      <a:pt x="1103" y="1442"/>
                    </a:cubicBezTo>
                    <a:moveTo>
                      <a:pt x="1103" y="1442"/>
                    </a:moveTo>
                    <a:cubicBezTo>
                      <a:pt x="1102" y="1442"/>
                      <a:pt x="1101" y="1443"/>
                      <a:pt x="1101" y="1443"/>
                    </a:cubicBezTo>
                    <a:moveTo>
                      <a:pt x="1101" y="1443"/>
                    </a:moveTo>
                    <a:cubicBezTo>
                      <a:pt x="1099" y="1444"/>
                      <a:pt x="1101" y="1444"/>
                      <a:pt x="1101" y="1443"/>
                    </a:cubicBezTo>
                    <a:moveTo>
                      <a:pt x="1101" y="1443"/>
                    </a:moveTo>
                    <a:cubicBezTo>
                      <a:pt x="1102" y="1443"/>
                      <a:pt x="1103" y="1443"/>
                      <a:pt x="1103" y="1442"/>
                    </a:cubicBezTo>
                    <a:moveTo>
                      <a:pt x="1103" y="1442"/>
                    </a:moveTo>
                    <a:cubicBezTo>
                      <a:pt x="1134" y="1428"/>
                      <a:pt x="1167" y="1416"/>
                      <a:pt x="1184" y="1388"/>
                    </a:cubicBezTo>
                    <a:moveTo>
                      <a:pt x="1184" y="1388"/>
                    </a:moveTo>
                    <a:cubicBezTo>
                      <a:pt x="1186" y="1387"/>
                      <a:pt x="1184" y="1386"/>
                      <a:pt x="1184" y="1388"/>
                    </a:cubicBezTo>
                    <a:moveTo>
                      <a:pt x="429" y="1391"/>
                    </a:moveTo>
                    <a:cubicBezTo>
                      <a:pt x="438" y="1406"/>
                      <a:pt x="450" y="1419"/>
                      <a:pt x="461" y="1432"/>
                    </a:cubicBezTo>
                    <a:cubicBezTo>
                      <a:pt x="485" y="1439"/>
                      <a:pt x="511" y="1450"/>
                      <a:pt x="537" y="1452"/>
                    </a:cubicBezTo>
                    <a:cubicBezTo>
                      <a:pt x="534" y="1448"/>
                      <a:pt x="536" y="1440"/>
                      <a:pt x="535" y="1434"/>
                    </a:cubicBezTo>
                    <a:cubicBezTo>
                      <a:pt x="497" y="1422"/>
                      <a:pt x="463" y="1407"/>
                      <a:pt x="429" y="1391"/>
                    </a:cubicBezTo>
                    <a:moveTo>
                      <a:pt x="429" y="1391"/>
                    </a:moveTo>
                    <a:cubicBezTo>
                      <a:pt x="428" y="1390"/>
                      <a:pt x="428" y="1392"/>
                      <a:pt x="429" y="1391"/>
                    </a:cubicBezTo>
                    <a:moveTo>
                      <a:pt x="966" y="1402"/>
                    </a:moveTo>
                    <a:cubicBezTo>
                      <a:pt x="971" y="1406"/>
                      <a:pt x="976" y="1410"/>
                      <a:pt x="980" y="1416"/>
                    </a:cubicBezTo>
                    <a:cubicBezTo>
                      <a:pt x="1001" y="1409"/>
                      <a:pt x="1020" y="1400"/>
                      <a:pt x="1038" y="1391"/>
                    </a:cubicBezTo>
                    <a:cubicBezTo>
                      <a:pt x="1015" y="1395"/>
                      <a:pt x="989" y="1397"/>
                      <a:pt x="966" y="1402"/>
                    </a:cubicBezTo>
                    <a:close/>
                    <a:moveTo>
                      <a:pt x="567" y="1399"/>
                    </a:moveTo>
                    <a:cubicBezTo>
                      <a:pt x="573" y="1400"/>
                      <a:pt x="584" y="1403"/>
                      <a:pt x="589" y="1401"/>
                    </a:cubicBezTo>
                    <a:cubicBezTo>
                      <a:pt x="581" y="1397"/>
                      <a:pt x="574" y="1390"/>
                      <a:pt x="567" y="1399"/>
                    </a:cubicBezTo>
                    <a:close/>
                    <a:moveTo>
                      <a:pt x="891" y="1406"/>
                    </a:moveTo>
                    <a:cubicBezTo>
                      <a:pt x="896" y="1407"/>
                      <a:pt x="899" y="1404"/>
                      <a:pt x="904" y="1405"/>
                    </a:cubicBezTo>
                    <a:cubicBezTo>
                      <a:pt x="903" y="1401"/>
                      <a:pt x="907" y="1397"/>
                      <a:pt x="905" y="1395"/>
                    </a:cubicBezTo>
                    <a:cubicBezTo>
                      <a:pt x="901" y="1399"/>
                      <a:pt x="895" y="1402"/>
                      <a:pt x="891" y="1406"/>
                    </a:cubicBezTo>
                    <a:close/>
                    <a:moveTo>
                      <a:pt x="548" y="1410"/>
                    </a:moveTo>
                    <a:cubicBezTo>
                      <a:pt x="552" y="1408"/>
                      <a:pt x="555" y="1404"/>
                      <a:pt x="558" y="1401"/>
                    </a:cubicBezTo>
                    <a:cubicBezTo>
                      <a:pt x="546" y="1401"/>
                      <a:pt x="532" y="1396"/>
                      <a:pt x="521" y="1397"/>
                    </a:cubicBezTo>
                    <a:cubicBezTo>
                      <a:pt x="530" y="1401"/>
                      <a:pt x="539" y="1405"/>
                      <a:pt x="548" y="1410"/>
                    </a:cubicBezTo>
                    <a:close/>
                    <a:moveTo>
                      <a:pt x="552" y="1412"/>
                    </a:moveTo>
                    <a:cubicBezTo>
                      <a:pt x="559" y="1414"/>
                      <a:pt x="565" y="1417"/>
                      <a:pt x="572" y="1419"/>
                    </a:cubicBezTo>
                    <a:cubicBezTo>
                      <a:pt x="571" y="1413"/>
                      <a:pt x="567" y="1409"/>
                      <a:pt x="566" y="1402"/>
                    </a:cubicBezTo>
                    <a:cubicBezTo>
                      <a:pt x="558" y="1402"/>
                      <a:pt x="556" y="1408"/>
                      <a:pt x="552" y="1412"/>
                    </a:cubicBezTo>
                    <a:close/>
                    <a:moveTo>
                      <a:pt x="950" y="1403"/>
                    </a:moveTo>
                    <a:cubicBezTo>
                      <a:pt x="936" y="1407"/>
                      <a:pt x="915" y="1424"/>
                      <a:pt x="901" y="1427"/>
                    </a:cubicBezTo>
                    <a:cubicBezTo>
                      <a:pt x="899" y="1433"/>
                      <a:pt x="898" y="1439"/>
                      <a:pt x="895" y="1444"/>
                    </a:cubicBezTo>
                    <a:cubicBezTo>
                      <a:pt x="925" y="1438"/>
                      <a:pt x="950" y="1427"/>
                      <a:pt x="977" y="1418"/>
                    </a:cubicBezTo>
                    <a:cubicBezTo>
                      <a:pt x="971" y="1409"/>
                      <a:pt x="964" y="1399"/>
                      <a:pt x="950" y="1403"/>
                    </a:cubicBezTo>
                    <a:close/>
                    <a:moveTo>
                      <a:pt x="576" y="1421"/>
                    </a:moveTo>
                    <a:cubicBezTo>
                      <a:pt x="625" y="1439"/>
                      <a:pt x="678" y="1457"/>
                      <a:pt x="736" y="1463"/>
                    </a:cubicBezTo>
                    <a:cubicBezTo>
                      <a:pt x="684" y="1449"/>
                      <a:pt x="638" y="1429"/>
                      <a:pt x="596" y="1405"/>
                    </a:cubicBezTo>
                    <a:cubicBezTo>
                      <a:pt x="586" y="1405"/>
                      <a:pt x="579" y="1403"/>
                      <a:pt x="569" y="1403"/>
                    </a:cubicBezTo>
                    <a:cubicBezTo>
                      <a:pt x="571" y="1409"/>
                      <a:pt x="574" y="1415"/>
                      <a:pt x="576" y="1421"/>
                    </a:cubicBezTo>
                    <a:close/>
                    <a:moveTo>
                      <a:pt x="908" y="1407"/>
                    </a:moveTo>
                    <a:cubicBezTo>
                      <a:pt x="905" y="1412"/>
                      <a:pt x="905" y="1418"/>
                      <a:pt x="902" y="1423"/>
                    </a:cubicBezTo>
                    <a:cubicBezTo>
                      <a:pt x="917" y="1418"/>
                      <a:pt x="930" y="1411"/>
                      <a:pt x="942" y="1404"/>
                    </a:cubicBezTo>
                    <a:cubicBezTo>
                      <a:pt x="931" y="1405"/>
                      <a:pt x="920" y="1407"/>
                      <a:pt x="908" y="1407"/>
                    </a:cubicBezTo>
                    <a:close/>
                    <a:moveTo>
                      <a:pt x="606" y="1407"/>
                    </a:moveTo>
                    <a:cubicBezTo>
                      <a:pt x="645" y="1429"/>
                      <a:pt x="691" y="1449"/>
                      <a:pt x="737" y="1461"/>
                    </a:cubicBezTo>
                    <a:cubicBezTo>
                      <a:pt x="716" y="1449"/>
                      <a:pt x="695" y="1437"/>
                      <a:pt x="674" y="1423"/>
                    </a:cubicBezTo>
                    <a:cubicBezTo>
                      <a:pt x="667" y="1419"/>
                      <a:pt x="660" y="1411"/>
                      <a:pt x="654" y="1410"/>
                    </a:cubicBezTo>
                    <a:cubicBezTo>
                      <a:pt x="638" y="1406"/>
                      <a:pt x="624" y="1410"/>
                      <a:pt x="606" y="1407"/>
                    </a:cubicBezTo>
                    <a:moveTo>
                      <a:pt x="606" y="1407"/>
                    </a:moveTo>
                    <a:cubicBezTo>
                      <a:pt x="605" y="1404"/>
                      <a:pt x="602" y="1408"/>
                      <a:pt x="606" y="1407"/>
                    </a:cubicBezTo>
                    <a:moveTo>
                      <a:pt x="886" y="1409"/>
                    </a:moveTo>
                    <a:cubicBezTo>
                      <a:pt x="854" y="1430"/>
                      <a:pt x="820" y="1448"/>
                      <a:pt x="783" y="1463"/>
                    </a:cubicBezTo>
                    <a:cubicBezTo>
                      <a:pt x="824" y="1454"/>
                      <a:pt x="862" y="1441"/>
                      <a:pt x="897" y="1426"/>
                    </a:cubicBezTo>
                    <a:cubicBezTo>
                      <a:pt x="899" y="1420"/>
                      <a:pt x="901" y="1413"/>
                      <a:pt x="903" y="1408"/>
                    </a:cubicBezTo>
                    <a:cubicBezTo>
                      <a:pt x="897" y="1407"/>
                      <a:pt x="893" y="1410"/>
                      <a:pt x="886" y="1409"/>
                    </a:cubicBezTo>
                    <a:close/>
                    <a:moveTo>
                      <a:pt x="839" y="1412"/>
                    </a:moveTo>
                    <a:cubicBezTo>
                      <a:pt x="819" y="1430"/>
                      <a:pt x="798" y="1447"/>
                      <a:pt x="776" y="1463"/>
                    </a:cubicBezTo>
                    <a:cubicBezTo>
                      <a:pt x="814" y="1448"/>
                      <a:pt x="848" y="1430"/>
                      <a:pt x="879" y="1410"/>
                    </a:cubicBezTo>
                    <a:cubicBezTo>
                      <a:pt x="865" y="1410"/>
                      <a:pt x="853" y="1412"/>
                      <a:pt x="839" y="1412"/>
                    </a:cubicBezTo>
                    <a:close/>
                    <a:moveTo>
                      <a:pt x="736" y="1456"/>
                    </a:moveTo>
                    <a:cubicBezTo>
                      <a:pt x="735" y="1447"/>
                      <a:pt x="725" y="1440"/>
                      <a:pt x="718" y="1433"/>
                    </a:cubicBezTo>
                    <a:cubicBezTo>
                      <a:pt x="712" y="1427"/>
                      <a:pt x="704" y="1415"/>
                      <a:pt x="697" y="1413"/>
                    </a:cubicBezTo>
                    <a:cubicBezTo>
                      <a:pt x="687" y="1409"/>
                      <a:pt x="674" y="1412"/>
                      <a:pt x="661" y="1412"/>
                    </a:cubicBezTo>
                    <a:cubicBezTo>
                      <a:pt x="685" y="1428"/>
                      <a:pt x="708" y="1444"/>
                      <a:pt x="736" y="1456"/>
                    </a:cubicBezTo>
                    <a:close/>
                    <a:moveTo>
                      <a:pt x="770" y="1463"/>
                    </a:moveTo>
                    <a:cubicBezTo>
                      <a:pt x="769" y="1462"/>
                      <a:pt x="769" y="1463"/>
                      <a:pt x="769" y="1463"/>
                    </a:cubicBezTo>
                    <a:moveTo>
                      <a:pt x="769" y="1463"/>
                    </a:moveTo>
                    <a:cubicBezTo>
                      <a:pt x="767" y="1464"/>
                      <a:pt x="769" y="1465"/>
                      <a:pt x="769" y="1463"/>
                    </a:cubicBezTo>
                    <a:moveTo>
                      <a:pt x="769" y="1463"/>
                    </a:moveTo>
                    <a:cubicBezTo>
                      <a:pt x="770" y="1464"/>
                      <a:pt x="770" y="1463"/>
                      <a:pt x="770" y="1463"/>
                    </a:cubicBezTo>
                    <a:moveTo>
                      <a:pt x="770" y="1463"/>
                    </a:moveTo>
                    <a:cubicBezTo>
                      <a:pt x="789" y="1450"/>
                      <a:pt x="811" y="1435"/>
                      <a:pt x="828" y="1418"/>
                    </a:cubicBezTo>
                    <a:cubicBezTo>
                      <a:pt x="830" y="1417"/>
                      <a:pt x="834" y="1414"/>
                      <a:pt x="832" y="1412"/>
                    </a:cubicBezTo>
                    <a:cubicBezTo>
                      <a:pt x="824" y="1414"/>
                      <a:pt x="811" y="1412"/>
                      <a:pt x="801" y="1413"/>
                    </a:cubicBezTo>
                    <a:cubicBezTo>
                      <a:pt x="792" y="1430"/>
                      <a:pt x="781" y="1446"/>
                      <a:pt x="770" y="1463"/>
                    </a:cubicBezTo>
                    <a:moveTo>
                      <a:pt x="735" y="1445"/>
                    </a:moveTo>
                    <a:cubicBezTo>
                      <a:pt x="735" y="1434"/>
                      <a:pt x="734" y="1424"/>
                      <a:pt x="733" y="1414"/>
                    </a:cubicBezTo>
                    <a:cubicBezTo>
                      <a:pt x="724" y="1414"/>
                      <a:pt x="712" y="1411"/>
                      <a:pt x="702" y="1414"/>
                    </a:cubicBezTo>
                    <a:cubicBezTo>
                      <a:pt x="713" y="1424"/>
                      <a:pt x="723" y="1436"/>
                      <a:pt x="735" y="1445"/>
                    </a:cubicBezTo>
                    <a:close/>
                    <a:moveTo>
                      <a:pt x="574" y="1423"/>
                    </a:moveTo>
                    <a:cubicBezTo>
                      <a:pt x="566" y="1420"/>
                      <a:pt x="558" y="1416"/>
                      <a:pt x="549" y="1414"/>
                    </a:cubicBezTo>
                    <a:cubicBezTo>
                      <a:pt x="545" y="1420"/>
                      <a:pt x="540" y="1423"/>
                      <a:pt x="539" y="1433"/>
                    </a:cubicBezTo>
                    <a:cubicBezTo>
                      <a:pt x="554" y="1436"/>
                      <a:pt x="571" y="1443"/>
                      <a:pt x="584" y="1444"/>
                    </a:cubicBezTo>
                    <a:cubicBezTo>
                      <a:pt x="580" y="1438"/>
                      <a:pt x="578" y="1430"/>
                      <a:pt x="574" y="1423"/>
                    </a:cubicBezTo>
                    <a:close/>
                    <a:moveTo>
                      <a:pt x="761" y="1463"/>
                    </a:moveTo>
                    <a:cubicBezTo>
                      <a:pt x="763" y="1448"/>
                      <a:pt x="764" y="1430"/>
                      <a:pt x="766" y="1414"/>
                    </a:cubicBezTo>
                    <a:cubicBezTo>
                      <a:pt x="757" y="1414"/>
                      <a:pt x="745" y="1412"/>
                      <a:pt x="737" y="1415"/>
                    </a:cubicBezTo>
                    <a:cubicBezTo>
                      <a:pt x="745" y="1431"/>
                      <a:pt x="752" y="1449"/>
                      <a:pt x="761" y="1463"/>
                    </a:cubicBezTo>
                    <a:close/>
                    <a:moveTo>
                      <a:pt x="765" y="1464"/>
                    </a:moveTo>
                    <a:cubicBezTo>
                      <a:pt x="776" y="1448"/>
                      <a:pt x="788" y="1432"/>
                      <a:pt x="798" y="1414"/>
                    </a:cubicBezTo>
                    <a:cubicBezTo>
                      <a:pt x="788" y="1414"/>
                      <a:pt x="778" y="1414"/>
                      <a:pt x="768" y="1414"/>
                    </a:cubicBezTo>
                    <a:cubicBezTo>
                      <a:pt x="768" y="1431"/>
                      <a:pt x="764" y="1449"/>
                      <a:pt x="765" y="1464"/>
                    </a:cubicBezTo>
                    <a:close/>
                    <a:moveTo>
                      <a:pt x="366" y="1415"/>
                    </a:moveTo>
                    <a:cubicBezTo>
                      <a:pt x="366" y="1416"/>
                      <a:pt x="367" y="1416"/>
                      <a:pt x="367" y="1416"/>
                    </a:cubicBezTo>
                    <a:moveTo>
                      <a:pt x="367" y="1416"/>
                    </a:moveTo>
                    <a:cubicBezTo>
                      <a:pt x="382" y="1430"/>
                      <a:pt x="403" y="1442"/>
                      <a:pt x="422" y="1448"/>
                    </a:cubicBezTo>
                    <a:cubicBezTo>
                      <a:pt x="403" y="1438"/>
                      <a:pt x="388" y="1425"/>
                      <a:pt x="367" y="1416"/>
                    </a:cubicBezTo>
                    <a:moveTo>
                      <a:pt x="367" y="1416"/>
                    </a:moveTo>
                    <a:cubicBezTo>
                      <a:pt x="367" y="1416"/>
                      <a:pt x="366" y="1416"/>
                      <a:pt x="366" y="1415"/>
                    </a:cubicBezTo>
                    <a:moveTo>
                      <a:pt x="366" y="1415"/>
                    </a:moveTo>
                    <a:cubicBezTo>
                      <a:pt x="365" y="1414"/>
                      <a:pt x="364" y="1416"/>
                      <a:pt x="366" y="1415"/>
                    </a:cubicBezTo>
                    <a:moveTo>
                      <a:pt x="1132" y="1415"/>
                    </a:moveTo>
                    <a:cubicBezTo>
                      <a:pt x="1094" y="1431"/>
                      <a:pt x="1057" y="1446"/>
                      <a:pt x="1014" y="1456"/>
                    </a:cubicBezTo>
                    <a:cubicBezTo>
                      <a:pt x="1007" y="1463"/>
                      <a:pt x="999" y="1470"/>
                      <a:pt x="991" y="1477"/>
                    </a:cubicBezTo>
                    <a:cubicBezTo>
                      <a:pt x="1048" y="1467"/>
                      <a:pt x="1099" y="1450"/>
                      <a:pt x="1132" y="1415"/>
                    </a:cubicBezTo>
                    <a:moveTo>
                      <a:pt x="1132" y="1415"/>
                    </a:moveTo>
                    <a:cubicBezTo>
                      <a:pt x="1133" y="1415"/>
                      <a:pt x="1132" y="1414"/>
                      <a:pt x="1132" y="1415"/>
                    </a:cubicBezTo>
                    <a:moveTo>
                      <a:pt x="979" y="1419"/>
                    </a:moveTo>
                    <a:cubicBezTo>
                      <a:pt x="953" y="1430"/>
                      <a:pt x="925" y="1440"/>
                      <a:pt x="894" y="1447"/>
                    </a:cubicBezTo>
                    <a:cubicBezTo>
                      <a:pt x="893" y="1451"/>
                      <a:pt x="891" y="1455"/>
                      <a:pt x="890" y="1460"/>
                    </a:cubicBezTo>
                    <a:cubicBezTo>
                      <a:pt x="924" y="1455"/>
                      <a:pt x="955" y="1447"/>
                      <a:pt x="987" y="1439"/>
                    </a:cubicBezTo>
                    <a:cubicBezTo>
                      <a:pt x="986" y="1431"/>
                      <a:pt x="983" y="1424"/>
                      <a:pt x="979" y="1419"/>
                    </a:cubicBezTo>
                    <a:close/>
                    <a:moveTo>
                      <a:pt x="755" y="1463"/>
                    </a:moveTo>
                    <a:cubicBezTo>
                      <a:pt x="756" y="1464"/>
                      <a:pt x="756" y="1462"/>
                      <a:pt x="755" y="1463"/>
                    </a:cubicBezTo>
                    <a:moveTo>
                      <a:pt x="755" y="1463"/>
                    </a:moveTo>
                    <a:cubicBezTo>
                      <a:pt x="749" y="1449"/>
                      <a:pt x="743" y="1437"/>
                      <a:pt x="737" y="1424"/>
                    </a:cubicBezTo>
                    <a:cubicBezTo>
                      <a:pt x="736" y="1433"/>
                      <a:pt x="739" y="1439"/>
                      <a:pt x="738" y="1448"/>
                    </a:cubicBezTo>
                    <a:cubicBezTo>
                      <a:pt x="743" y="1453"/>
                      <a:pt x="749" y="1458"/>
                      <a:pt x="755" y="1463"/>
                    </a:cubicBezTo>
                    <a:moveTo>
                      <a:pt x="587" y="1446"/>
                    </a:moveTo>
                    <a:cubicBezTo>
                      <a:pt x="632" y="1456"/>
                      <a:pt x="682" y="1466"/>
                      <a:pt x="733" y="1466"/>
                    </a:cubicBezTo>
                    <a:cubicBezTo>
                      <a:pt x="676" y="1459"/>
                      <a:pt x="625" y="1440"/>
                      <a:pt x="578" y="1426"/>
                    </a:cubicBezTo>
                    <a:cubicBezTo>
                      <a:pt x="582" y="1432"/>
                      <a:pt x="584" y="1439"/>
                      <a:pt x="587" y="1446"/>
                    </a:cubicBezTo>
                    <a:close/>
                    <a:moveTo>
                      <a:pt x="1034" y="1427"/>
                    </a:moveTo>
                    <a:cubicBezTo>
                      <a:pt x="1019" y="1432"/>
                      <a:pt x="1004" y="1437"/>
                      <a:pt x="989" y="1441"/>
                    </a:cubicBezTo>
                    <a:cubicBezTo>
                      <a:pt x="989" y="1450"/>
                      <a:pt x="986" y="1454"/>
                      <a:pt x="984" y="1460"/>
                    </a:cubicBezTo>
                    <a:moveTo>
                      <a:pt x="984" y="1460"/>
                    </a:moveTo>
                    <a:cubicBezTo>
                      <a:pt x="982" y="1460"/>
                      <a:pt x="984" y="1461"/>
                      <a:pt x="984" y="1460"/>
                    </a:cubicBezTo>
                    <a:moveTo>
                      <a:pt x="984" y="1460"/>
                    </a:moveTo>
                    <a:cubicBezTo>
                      <a:pt x="994" y="1459"/>
                      <a:pt x="1001" y="1456"/>
                      <a:pt x="1011" y="1455"/>
                    </a:cubicBezTo>
                    <a:cubicBezTo>
                      <a:pt x="1019" y="1446"/>
                      <a:pt x="1027" y="1437"/>
                      <a:pt x="1034" y="1427"/>
                    </a:cubicBezTo>
                    <a:moveTo>
                      <a:pt x="1034" y="1427"/>
                    </a:moveTo>
                    <a:cubicBezTo>
                      <a:pt x="1035" y="1426"/>
                      <a:pt x="1034" y="1426"/>
                      <a:pt x="1034" y="1427"/>
                    </a:cubicBezTo>
                    <a:moveTo>
                      <a:pt x="1141" y="1428"/>
                    </a:moveTo>
                    <a:cubicBezTo>
                      <a:pt x="1141" y="1428"/>
                      <a:pt x="1142" y="1429"/>
                      <a:pt x="1141" y="1428"/>
                    </a:cubicBezTo>
                    <a:close/>
                    <a:moveTo>
                      <a:pt x="1139" y="1429"/>
                    </a:moveTo>
                    <a:cubicBezTo>
                      <a:pt x="1138" y="1429"/>
                      <a:pt x="1138" y="1429"/>
                      <a:pt x="1137" y="1430"/>
                    </a:cubicBezTo>
                    <a:moveTo>
                      <a:pt x="1137" y="1430"/>
                    </a:moveTo>
                    <a:cubicBezTo>
                      <a:pt x="1136" y="1430"/>
                      <a:pt x="1136" y="1430"/>
                      <a:pt x="1135" y="1431"/>
                    </a:cubicBezTo>
                    <a:moveTo>
                      <a:pt x="1135" y="1431"/>
                    </a:moveTo>
                    <a:cubicBezTo>
                      <a:pt x="1116" y="1441"/>
                      <a:pt x="1092" y="1448"/>
                      <a:pt x="1074" y="1461"/>
                    </a:cubicBezTo>
                    <a:cubicBezTo>
                      <a:pt x="1096" y="1452"/>
                      <a:pt x="1118" y="1443"/>
                      <a:pt x="1135" y="1431"/>
                    </a:cubicBezTo>
                    <a:moveTo>
                      <a:pt x="1135" y="1431"/>
                    </a:moveTo>
                    <a:cubicBezTo>
                      <a:pt x="1137" y="1431"/>
                      <a:pt x="1137" y="1431"/>
                      <a:pt x="1137" y="1430"/>
                    </a:cubicBezTo>
                    <a:moveTo>
                      <a:pt x="1137" y="1430"/>
                    </a:moveTo>
                    <a:cubicBezTo>
                      <a:pt x="1138" y="1430"/>
                      <a:pt x="1139" y="1430"/>
                      <a:pt x="1139" y="1429"/>
                    </a:cubicBezTo>
                    <a:moveTo>
                      <a:pt x="1139" y="1429"/>
                    </a:moveTo>
                    <a:cubicBezTo>
                      <a:pt x="1141" y="1428"/>
                      <a:pt x="1139" y="1428"/>
                      <a:pt x="1139" y="1429"/>
                    </a:cubicBezTo>
                    <a:moveTo>
                      <a:pt x="789" y="1465"/>
                    </a:moveTo>
                    <a:cubicBezTo>
                      <a:pt x="825" y="1461"/>
                      <a:pt x="858" y="1454"/>
                      <a:pt x="891" y="1446"/>
                    </a:cubicBezTo>
                    <a:cubicBezTo>
                      <a:pt x="892" y="1440"/>
                      <a:pt x="897" y="1434"/>
                      <a:pt x="895" y="1429"/>
                    </a:cubicBezTo>
                    <a:cubicBezTo>
                      <a:pt x="863" y="1444"/>
                      <a:pt x="826" y="1455"/>
                      <a:pt x="789" y="1465"/>
                    </a:cubicBezTo>
                    <a:close/>
                    <a:moveTo>
                      <a:pt x="404" y="1435"/>
                    </a:moveTo>
                    <a:cubicBezTo>
                      <a:pt x="404" y="1434"/>
                      <a:pt x="405" y="1435"/>
                      <a:pt x="404" y="1435"/>
                    </a:cubicBezTo>
                    <a:close/>
                    <a:moveTo>
                      <a:pt x="407" y="1436"/>
                    </a:moveTo>
                    <a:cubicBezTo>
                      <a:pt x="407" y="1437"/>
                      <a:pt x="408" y="1436"/>
                      <a:pt x="409" y="1437"/>
                    </a:cubicBezTo>
                    <a:moveTo>
                      <a:pt x="409" y="1437"/>
                    </a:moveTo>
                    <a:cubicBezTo>
                      <a:pt x="409" y="1437"/>
                      <a:pt x="409" y="1437"/>
                      <a:pt x="409" y="1438"/>
                    </a:cubicBezTo>
                    <a:cubicBezTo>
                      <a:pt x="439" y="1456"/>
                      <a:pt x="472" y="1472"/>
                      <a:pt x="513" y="1480"/>
                    </a:cubicBezTo>
                    <a:moveTo>
                      <a:pt x="513" y="1480"/>
                    </a:moveTo>
                    <a:cubicBezTo>
                      <a:pt x="514" y="1483"/>
                      <a:pt x="517" y="1479"/>
                      <a:pt x="513" y="1480"/>
                    </a:cubicBezTo>
                    <a:moveTo>
                      <a:pt x="513" y="1480"/>
                    </a:moveTo>
                    <a:cubicBezTo>
                      <a:pt x="487" y="1457"/>
                      <a:pt x="441" y="1454"/>
                      <a:pt x="409" y="1437"/>
                    </a:cubicBezTo>
                    <a:moveTo>
                      <a:pt x="409" y="1437"/>
                    </a:moveTo>
                    <a:cubicBezTo>
                      <a:pt x="409" y="1436"/>
                      <a:pt x="408" y="1436"/>
                      <a:pt x="407" y="1436"/>
                    </a:cubicBezTo>
                    <a:moveTo>
                      <a:pt x="407" y="1436"/>
                    </a:moveTo>
                    <a:cubicBezTo>
                      <a:pt x="406" y="1434"/>
                      <a:pt x="406" y="1436"/>
                      <a:pt x="407" y="1436"/>
                    </a:cubicBezTo>
                    <a:moveTo>
                      <a:pt x="541" y="1455"/>
                    </a:moveTo>
                    <a:cubicBezTo>
                      <a:pt x="559" y="1457"/>
                      <a:pt x="575" y="1462"/>
                      <a:pt x="594" y="1463"/>
                    </a:cubicBezTo>
                    <a:cubicBezTo>
                      <a:pt x="592" y="1458"/>
                      <a:pt x="588" y="1454"/>
                      <a:pt x="586" y="1448"/>
                    </a:cubicBezTo>
                    <a:cubicBezTo>
                      <a:pt x="570" y="1444"/>
                      <a:pt x="554" y="1440"/>
                      <a:pt x="538" y="1435"/>
                    </a:cubicBezTo>
                    <a:cubicBezTo>
                      <a:pt x="536" y="1441"/>
                      <a:pt x="539" y="1450"/>
                      <a:pt x="541" y="1455"/>
                    </a:cubicBezTo>
                    <a:close/>
                    <a:moveTo>
                      <a:pt x="466" y="1437"/>
                    </a:moveTo>
                    <a:cubicBezTo>
                      <a:pt x="466" y="1437"/>
                      <a:pt x="466" y="1437"/>
                      <a:pt x="466" y="1438"/>
                    </a:cubicBezTo>
                    <a:cubicBezTo>
                      <a:pt x="476" y="1446"/>
                      <a:pt x="485" y="1455"/>
                      <a:pt x="495" y="1463"/>
                    </a:cubicBezTo>
                    <a:cubicBezTo>
                      <a:pt x="514" y="1467"/>
                      <a:pt x="531" y="1473"/>
                      <a:pt x="552" y="1474"/>
                    </a:cubicBezTo>
                    <a:moveTo>
                      <a:pt x="552" y="1474"/>
                    </a:moveTo>
                    <a:cubicBezTo>
                      <a:pt x="552" y="1475"/>
                      <a:pt x="553" y="1474"/>
                      <a:pt x="552" y="1474"/>
                    </a:cubicBezTo>
                    <a:moveTo>
                      <a:pt x="552" y="1474"/>
                    </a:moveTo>
                    <a:cubicBezTo>
                      <a:pt x="547" y="1468"/>
                      <a:pt x="542" y="1463"/>
                      <a:pt x="538" y="1456"/>
                    </a:cubicBezTo>
                    <a:cubicBezTo>
                      <a:pt x="512" y="1451"/>
                      <a:pt x="490" y="1443"/>
                      <a:pt x="466" y="1437"/>
                    </a:cubicBezTo>
                    <a:moveTo>
                      <a:pt x="466" y="1437"/>
                    </a:moveTo>
                    <a:cubicBezTo>
                      <a:pt x="466" y="1435"/>
                      <a:pt x="465" y="1437"/>
                      <a:pt x="466" y="1437"/>
                    </a:cubicBezTo>
                    <a:moveTo>
                      <a:pt x="888" y="1463"/>
                    </a:moveTo>
                    <a:cubicBezTo>
                      <a:pt x="888" y="1467"/>
                      <a:pt x="885" y="1469"/>
                      <a:pt x="884" y="1472"/>
                    </a:cubicBezTo>
                    <a:cubicBezTo>
                      <a:pt x="919" y="1472"/>
                      <a:pt x="949" y="1466"/>
                      <a:pt x="980" y="1462"/>
                    </a:cubicBezTo>
                    <a:cubicBezTo>
                      <a:pt x="982" y="1456"/>
                      <a:pt x="988" y="1448"/>
                      <a:pt x="986" y="1441"/>
                    </a:cubicBezTo>
                    <a:cubicBezTo>
                      <a:pt x="956" y="1451"/>
                      <a:pt x="922" y="1458"/>
                      <a:pt x="888" y="1463"/>
                    </a:cubicBezTo>
                    <a:close/>
                    <a:moveTo>
                      <a:pt x="1098" y="1445"/>
                    </a:moveTo>
                    <a:cubicBezTo>
                      <a:pt x="1098" y="1445"/>
                      <a:pt x="1099" y="1446"/>
                      <a:pt x="1098" y="1445"/>
                    </a:cubicBezTo>
                    <a:close/>
                    <a:moveTo>
                      <a:pt x="423" y="1450"/>
                    </a:moveTo>
                    <a:cubicBezTo>
                      <a:pt x="423" y="1450"/>
                      <a:pt x="424" y="1451"/>
                      <a:pt x="423" y="1450"/>
                    </a:cubicBezTo>
                    <a:close/>
                    <a:moveTo>
                      <a:pt x="600" y="1464"/>
                    </a:moveTo>
                    <a:cubicBezTo>
                      <a:pt x="639" y="1469"/>
                      <a:pt x="688" y="1474"/>
                      <a:pt x="730" y="1469"/>
                    </a:cubicBezTo>
                    <a:cubicBezTo>
                      <a:pt x="679" y="1467"/>
                      <a:pt x="633" y="1459"/>
                      <a:pt x="590" y="1449"/>
                    </a:cubicBezTo>
                    <a:cubicBezTo>
                      <a:pt x="593" y="1455"/>
                      <a:pt x="595" y="1461"/>
                      <a:pt x="600" y="1464"/>
                    </a:cubicBezTo>
                    <a:close/>
                    <a:moveTo>
                      <a:pt x="888" y="1449"/>
                    </a:moveTo>
                    <a:cubicBezTo>
                      <a:pt x="859" y="1457"/>
                      <a:pt x="828" y="1462"/>
                      <a:pt x="797" y="1467"/>
                    </a:cubicBezTo>
                    <a:cubicBezTo>
                      <a:pt x="795" y="1467"/>
                      <a:pt x="793" y="1467"/>
                      <a:pt x="792" y="1467"/>
                    </a:cubicBezTo>
                    <a:cubicBezTo>
                      <a:pt x="790" y="1468"/>
                      <a:pt x="792" y="1469"/>
                      <a:pt x="794" y="1468"/>
                    </a:cubicBezTo>
                    <a:cubicBezTo>
                      <a:pt x="826" y="1467"/>
                      <a:pt x="856" y="1465"/>
                      <a:pt x="885" y="1461"/>
                    </a:cubicBezTo>
                    <a:cubicBezTo>
                      <a:pt x="887" y="1457"/>
                      <a:pt x="888" y="1453"/>
                      <a:pt x="890" y="1449"/>
                    </a:cubicBezTo>
                    <a:cubicBezTo>
                      <a:pt x="889" y="1449"/>
                      <a:pt x="888" y="1449"/>
                      <a:pt x="888" y="1449"/>
                    </a:cubicBezTo>
                    <a:close/>
                    <a:moveTo>
                      <a:pt x="425" y="1451"/>
                    </a:moveTo>
                    <a:cubicBezTo>
                      <a:pt x="425" y="1451"/>
                      <a:pt x="426" y="1452"/>
                      <a:pt x="425" y="1451"/>
                    </a:cubicBezTo>
                    <a:close/>
                    <a:moveTo>
                      <a:pt x="427" y="1452"/>
                    </a:moveTo>
                    <a:cubicBezTo>
                      <a:pt x="427" y="1452"/>
                      <a:pt x="428" y="1453"/>
                      <a:pt x="427" y="1452"/>
                    </a:cubicBezTo>
                    <a:close/>
                    <a:moveTo>
                      <a:pt x="429" y="1453"/>
                    </a:moveTo>
                    <a:cubicBezTo>
                      <a:pt x="428" y="1453"/>
                      <a:pt x="430" y="1454"/>
                      <a:pt x="429" y="1453"/>
                    </a:cubicBezTo>
                    <a:close/>
                    <a:moveTo>
                      <a:pt x="749" y="1462"/>
                    </a:moveTo>
                    <a:cubicBezTo>
                      <a:pt x="749" y="1462"/>
                      <a:pt x="750" y="1462"/>
                      <a:pt x="750" y="1463"/>
                    </a:cubicBezTo>
                    <a:moveTo>
                      <a:pt x="750" y="1463"/>
                    </a:moveTo>
                    <a:cubicBezTo>
                      <a:pt x="751" y="1464"/>
                      <a:pt x="752" y="1462"/>
                      <a:pt x="750" y="1463"/>
                    </a:cubicBezTo>
                    <a:moveTo>
                      <a:pt x="750" y="1463"/>
                    </a:moveTo>
                    <a:cubicBezTo>
                      <a:pt x="750" y="1462"/>
                      <a:pt x="749" y="1462"/>
                      <a:pt x="749" y="1462"/>
                    </a:cubicBezTo>
                    <a:moveTo>
                      <a:pt x="749" y="1462"/>
                    </a:moveTo>
                    <a:cubicBezTo>
                      <a:pt x="746" y="1458"/>
                      <a:pt x="742" y="1456"/>
                      <a:pt x="739" y="1453"/>
                    </a:cubicBezTo>
                    <a:cubicBezTo>
                      <a:pt x="738" y="1460"/>
                      <a:pt x="744" y="1460"/>
                      <a:pt x="749" y="1462"/>
                    </a:cubicBezTo>
                    <a:moveTo>
                      <a:pt x="559" y="1476"/>
                    </a:moveTo>
                    <a:cubicBezTo>
                      <a:pt x="572" y="1480"/>
                      <a:pt x="590" y="1477"/>
                      <a:pt x="605" y="1480"/>
                    </a:cubicBezTo>
                    <a:cubicBezTo>
                      <a:pt x="605" y="1476"/>
                      <a:pt x="598" y="1472"/>
                      <a:pt x="597" y="1466"/>
                    </a:cubicBezTo>
                    <a:cubicBezTo>
                      <a:pt x="577" y="1465"/>
                      <a:pt x="561" y="1460"/>
                      <a:pt x="543" y="1458"/>
                    </a:cubicBezTo>
                    <a:cubicBezTo>
                      <a:pt x="547" y="1464"/>
                      <a:pt x="551" y="1473"/>
                      <a:pt x="559" y="1476"/>
                    </a:cubicBezTo>
                    <a:close/>
                    <a:moveTo>
                      <a:pt x="981" y="1463"/>
                    </a:moveTo>
                    <a:cubicBezTo>
                      <a:pt x="976" y="1471"/>
                      <a:pt x="970" y="1476"/>
                      <a:pt x="964" y="1481"/>
                    </a:cubicBezTo>
                    <a:cubicBezTo>
                      <a:pt x="972" y="1480"/>
                      <a:pt x="978" y="1479"/>
                      <a:pt x="986" y="1478"/>
                    </a:cubicBezTo>
                    <a:cubicBezTo>
                      <a:pt x="993" y="1472"/>
                      <a:pt x="1000" y="1466"/>
                      <a:pt x="1007" y="1460"/>
                    </a:cubicBezTo>
                    <a:cubicBezTo>
                      <a:pt x="1007" y="1458"/>
                      <a:pt x="1008" y="1458"/>
                      <a:pt x="1006" y="1458"/>
                    </a:cubicBezTo>
                    <a:cubicBezTo>
                      <a:pt x="998" y="1460"/>
                      <a:pt x="989" y="1461"/>
                      <a:pt x="981" y="1463"/>
                    </a:cubicBezTo>
                    <a:close/>
                    <a:moveTo>
                      <a:pt x="1069" y="1460"/>
                    </a:moveTo>
                    <a:cubicBezTo>
                      <a:pt x="1069" y="1459"/>
                      <a:pt x="1070" y="1460"/>
                      <a:pt x="1069" y="1460"/>
                    </a:cubicBezTo>
                    <a:close/>
                    <a:moveTo>
                      <a:pt x="1066" y="1461"/>
                    </a:moveTo>
                    <a:cubicBezTo>
                      <a:pt x="1041" y="1468"/>
                      <a:pt x="1016" y="1476"/>
                      <a:pt x="987" y="1480"/>
                    </a:cubicBezTo>
                    <a:cubicBezTo>
                      <a:pt x="984" y="1484"/>
                      <a:pt x="979" y="1485"/>
                      <a:pt x="976" y="1488"/>
                    </a:cubicBezTo>
                    <a:cubicBezTo>
                      <a:pt x="1008" y="1481"/>
                      <a:pt x="1042" y="1475"/>
                      <a:pt x="1066" y="1461"/>
                    </a:cubicBezTo>
                    <a:moveTo>
                      <a:pt x="1066" y="1461"/>
                    </a:moveTo>
                    <a:cubicBezTo>
                      <a:pt x="1070" y="1462"/>
                      <a:pt x="1067" y="1458"/>
                      <a:pt x="1066" y="1461"/>
                    </a:cubicBezTo>
                    <a:moveTo>
                      <a:pt x="742" y="1463"/>
                    </a:moveTo>
                    <a:cubicBezTo>
                      <a:pt x="742" y="1465"/>
                      <a:pt x="746" y="1462"/>
                      <a:pt x="742" y="1463"/>
                    </a:cubicBezTo>
                    <a:moveTo>
                      <a:pt x="742" y="1463"/>
                    </a:moveTo>
                    <a:cubicBezTo>
                      <a:pt x="741" y="1462"/>
                      <a:pt x="740" y="1461"/>
                      <a:pt x="739" y="1461"/>
                    </a:cubicBezTo>
                    <a:cubicBezTo>
                      <a:pt x="739" y="1463"/>
                      <a:pt x="740" y="1462"/>
                      <a:pt x="742" y="1463"/>
                    </a:cubicBezTo>
                    <a:moveTo>
                      <a:pt x="1072" y="1462"/>
                    </a:moveTo>
                    <a:cubicBezTo>
                      <a:pt x="1072" y="1461"/>
                      <a:pt x="1073" y="1462"/>
                      <a:pt x="1072" y="1462"/>
                    </a:cubicBezTo>
                    <a:close/>
                    <a:moveTo>
                      <a:pt x="774" y="1463"/>
                    </a:moveTo>
                    <a:cubicBezTo>
                      <a:pt x="774" y="1463"/>
                      <a:pt x="775" y="1464"/>
                      <a:pt x="774" y="1463"/>
                    </a:cubicBezTo>
                    <a:close/>
                    <a:moveTo>
                      <a:pt x="746" y="1464"/>
                    </a:moveTo>
                    <a:cubicBezTo>
                      <a:pt x="745" y="1464"/>
                      <a:pt x="746" y="1465"/>
                      <a:pt x="746" y="1464"/>
                    </a:cubicBezTo>
                    <a:close/>
                    <a:moveTo>
                      <a:pt x="780" y="1464"/>
                    </a:moveTo>
                    <a:cubicBezTo>
                      <a:pt x="780" y="1464"/>
                      <a:pt x="781" y="1465"/>
                      <a:pt x="780" y="1464"/>
                    </a:cubicBezTo>
                    <a:close/>
                    <a:moveTo>
                      <a:pt x="796" y="1472"/>
                    </a:moveTo>
                    <a:cubicBezTo>
                      <a:pt x="823" y="1473"/>
                      <a:pt x="851" y="1473"/>
                      <a:pt x="879" y="1473"/>
                    </a:cubicBezTo>
                    <a:cubicBezTo>
                      <a:pt x="879" y="1470"/>
                      <a:pt x="886" y="1464"/>
                      <a:pt x="882" y="1463"/>
                    </a:cubicBezTo>
                    <a:cubicBezTo>
                      <a:pt x="855" y="1469"/>
                      <a:pt x="823" y="1468"/>
                      <a:pt x="796" y="1472"/>
                    </a:cubicBezTo>
                    <a:close/>
                    <a:moveTo>
                      <a:pt x="882" y="1475"/>
                    </a:moveTo>
                    <a:cubicBezTo>
                      <a:pt x="882" y="1479"/>
                      <a:pt x="879" y="1481"/>
                      <a:pt x="878" y="1485"/>
                    </a:cubicBezTo>
                    <a:cubicBezTo>
                      <a:pt x="901" y="1482"/>
                      <a:pt x="937" y="1489"/>
                      <a:pt x="958" y="1482"/>
                    </a:cubicBezTo>
                    <a:cubicBezTo>
                      <a:pt x="961" y="1480"/>
                      <a:pt x="965" y="1476"/>
                      <a:pt x="968" y="1473"/>
                    </a:cubicBezTo>
                    <a:cubicBezTo>
                      <a:pt x="971" y="1470"/>
                      <a:pt x="977" y="1467"/>
                      <a:pt x="975" y="1464"/>
                    </a:cubicBezTo>
                    <a:cubicBezTo>
                      <a:pt x="946" y="1470"/>
                      <a:pt x="916" y="1474"/>
                      <a:pt x="882" y="1475"/>
                    </a:cubicBezTo>
                    <a:close/>
                    <a:moveTo>
                      <a:pt x="784" y="1466"/>
                    </a:moveTo>
                    <a:cubicBezTo>
                      <a:pt x="784" y="1466"/>
                      <a:pt x="785" y="1467"/>
                      <a:pt x="784" y="1466"/>
                    </a:cubicBezTo>
                    <a:close/>
                    <a:moveTo>
                      <a:pt x="503" y="1468"/>
                    </a:moveTo>
                    <a:cubicBezTo>
                      <a:pt x="520" y="1486"/>
                      <a:pt x="554" y="1491"/>
                      <a:pt x="582" y="1493"/>
                    </a:cubicBezTo>
                    <a:cubicBezTo>
                      <a:pt x="572" y="1490"/>
                      <a:pt x="565" y="1483"/>
                      <a:pt x="556" y="1478"/>
                    </a:cubicBezTo>
                    <a:cubicBezTo>
                      <a:pt x="537" y="1475"/>
                      <a:pt x="521" y="1471"/>
                      <a:pt x="503" y="1468"/>
                    </a:cubicBezTo>
                    <a:moveTo>
                      <a:pt x="503" y="1468"/>
                    </a:moveTo>
                    <a:cubicBezTo>
                      <a:pt x="502" y="1467"/>
                      <a:pt x="502" y="1468"/>
                      <a:pt x="503" y="1468"/>
                    </a:cubicBezTo>
                    <a:moveTo>
                      <a:pt x="611" y="1480"/>
                    </a:moveTo>
                    <a:cubicBezTo>
                      <a:pt x="653" y="1483"/>
                      <a:pt x="697" y="1480"/>
                      <a:pt x="732" y="1473"/>
                    </a:cubicBezTo>
                    <a:cubicBezTo>
                      <a:pt x="687" y="1475"/>
                      <a:pt x="642" y="1473"/>
                      <a:pt x="601" y="1467"/>
                    </a:cubicBezTo>
                    <a:cubicBezTo>
                      <a:pt x="604" y="1472"/>
                      <a:pt x="605" y="1478"/>
                      <a:pt x="611" y="1480"/>
                    </a:cubicBezTo>
                    <a:close/>
                    <a:moveTo>
                      <a:pt x="738" y="1472"/>
                    </a:moveTo>
                    <a:cubicBezTo>
                      <a:pt x="737" y="1472"/>
                      <a:pt x="736" y="1472"/>
                      <a:pt x="736" y="1473"/>
                    </a:cubicBezTo>
                    <a:cubicBezTo>
                      <a:pt x="737" y="1473"/>
                      <a:pt x="738" y="1473"/>
                      <a:pt x="738" y="1472"/>
                    </a:cubicBezTo>
                    <a:close/>
                    <a:moveTo>
                      <a:pt x="789" y="1473"/>
                    </a:moveTo>
                    <a:cubicBezTo>
                      <a:pt x="788" y="1473"/>
                      <a:pt x="786" y="1473"/>
                      <a:pt x="786" y="1474"/>
                    </a:cubicBezTo>
                    <a:cubicBezTo>
                      <a:pt x="787" y="1474"/>
                      <a:pt x="789" y="1474"/>
                      <a:pt x="789" y="1473"/>
                    </a:cubicBezTo>
                    <a:close/>
                    <a:moveTo>
                      <a:pt x="742" y="1475"/>
                    </a:moveTo>
                    <a:cubicBezTo>
                      <a:pt x="741" y="1475"/>
                      <a:pt x="742" y="1476"/>
                      <a:pt x="742" y="1475"/>
                    </a:cubicBezTo>
                    <a:close/>
                    <a:moveTo>
                      <a:pt x="745" y="1509"/>
                    </a:moveTo>
                    <a:cubicBezTo>
                      <a:pt x="748" y="1509"/>
                      <a:pt x="752" y="1509"/>
                      <a:pt x="755" y="1509"/>
                    </a:cubicBezTo>
                    <a:cubicBezTo>
                      <a:pt x="757" y="1498"/>
                      <a:pt x="761" y="1484"/>
                      <a:pt x="759" y="1474"/>
                    </a:cubicBezTo>
                    <a:cubicBezTo>
                      <a:pt x="754" y="1485"/>
                      <a:pt x="737" y="1490"/>
                      <a:pt x="745" y="1509"/>
                    </a:cubicBezTo>
                    <a:close/>
                    <a:moveTo>
                      <a:pt x="877" y="1476"/>
                    </a:moveTo>
                    <a:cubicBezTo>
                      <a:pt x="879" y="1475"/>
                      <a:pt x="877" y="1475"/>
                      <a:pt x="877" y="1476"/>
                    </a:cubicBezTo>
                    <a:moveTo>
                      <a:pt x="877" y="1476"/>
                    </a:moveTo>
                    <a:cubicBezTo>
                      <a:pt x="848" y="1477"/>
                      <a:pt x="817" y="1475"/>
                      <a:pt x="791" y="1475"/>
                    </a:cubicBezTo>
                    <a:cubicBezTo>
                      <a:pt x="817" y="1479"/>
                      <a:pt x="844" y="1483"/>
                      <a:pt x="873" y="1485"/>
                    </a:cubicBezTo>
                    <a:cubicBezTo>
                      <a:pt x="875" y="1482"/>
                      <a:pt x="877" y="1480"/>
                      <a:pt x="877" y="1476"/>
                    </a:cubicBezTo>
                    <a:moveTo>
                      <a:pt x="655" y="1493"/>
                    </a:moveTo>
                    <a:cubicBezTo>
                      <a:pt x="685" y="1490"/>
                      <a:pt x="715" y="1482"/>
                      <a:pt x="737" y="1477"/>
                    </a:cubicBezTo>
                    <a:cubicBezTo>
                      <a:pt x="737" y="1476"/>
                      <a:pt x="739" y="1475"/>
                      <a:pt x="736" y="1475"/>
                    </a:cubicBezTo>
                    <a:cubicBezTo>
                      <a:pt x="700" y="1482"/>
                      <a:pt x="655" y="1485"/>
                      <a:pt x="612" y="1483"/>
                    </a:cubicBezTo>
                    <a:cubicBezTo>
                      <a:pt x="615" y="1498"/>
                      <a:pt x="635" y="1496"/>
                      <a:pt x="655" y="1493"/>
                    </a:cubicBezTo>
                    <a:close/>
                    <a:moveTo>
                      <a:pt x="749" y="1476"/>
                    </a:moveTo>
                    <a:cubicBezTo>
                      <a:pt x="748" y="1476"/>
                      <a:pt x="749" y="1477"/>
                      <a:pt x="749" y="1476"/>
                    </a:cubicBezTo>
                    <a:close/>
                    <a:moveTo>
                      <a:pt x="754" y="1476"/>
                    </a:moveTo>
                    <a:cubicBezTo>
                      <a:pt x="749" y="1477"/>
                      <a:pt x="746" y="1481"/>
                      <a:pt x="741" y="1483"/>
                    </a:cubicBezTo>
                    <a:cubicBezTo>
                      <a:pt x="742" y="1484"/>
                      <a:pt x="741" y="1488"/>
                      <a:pt x="743" y="1489"/>
                    </a:cubicBezTo>
                    <a:cubicBezTo>
                      <a:pt x="746" y="1485"/>
                      <a:pt x="752" y="1481"/>
                      <a:pt x="754" y="1476"/>
                    </a:cubicBezTo>
                    <a:moveTo>
                      <a:pt x="754" y="1476"/>
                    </a:moveTo>
                    <a:cubicBezTo>
                      <a:pt x="756" y="1475"/>
                      <a:pt x="754" y="1475"/>
                      <a:pt x="754" y="1476"/>
                    </a:cubicBezTo>
                    <a:moveTo>
                      <a:pt x="773" y="1476"/>
                    </a:moveTo>
                    <a:cubicBezTo>
                      <a:pt x="772" y="1476"/>
                      <a:pt x="773" y="1477"/>
                      <a:pt x="773" y="1476"/>
                    </a:cubicBezTo>
                    <a:close/>
                    <a:moveTo>
                      <a:pt x="782" y="1475"/>
                    </a:moveTo>
                    <a:cubicBezTo>
                      <a:pt x="781" y="1475"/>
                      <a:pt x="780" y="1475"/>
                      <a:pt x="780" y="1476"/>
                    </a:cubicBezTo>
                    <a:cubicBezTo>
                      <a:pt x="781" y="1476"/>
                      <a:pt x="782" y="1476"/>
                      <a:pt x="782" y="1475"/>
                    </a:cubicBezTo>
                    <a:close/>
                    <a:moveTo>
                      <a:pt x="746" y="1477"/>
                    </a:moveTo>
                    <a:cubicBezTo>
                      <a:pt x="743" y="1476"/>
                      <a:pt x="739" y="1478"/>
                      <a:pt x="742" y="1480"/>
                    </a:cubicBezTo>
                    <a:cubicBezTo>
                      <a:pt x="742" y="1478"/>
                      <a:pt x="745" y="1479"/>
                      <a:pt x="746" y="1477"/>
                    </a:cubicBezTo>
                    <a:moveTo>
                      <a:pt x="746" y="1477"/>
                    </a:moveTo>
                    <a:cubicBezTo>
                      <a:pt x="750" y="1478"/>
                      <a:pt x="746" y="1474"/>
                      <a:pt x="746" y="1477"/>
                    </a:cubicBezTo>
                    <a:moveTo>
                      <a:pt x="758" y="1509"/>
                    </a:moveTo>
                    <a:cubicBezTo>
                      <a:pt x="768" y="1509"/>
                      <a:pt x="777" y="1509"/>
                      <a:pt x="787" y="1509"/>
                    </a:cubicBezTo>
                    <a:cubicBezTo>
                      <a:pt x="781" y="1500"/>
                      <a:pt x="770" y="1487"/>
                      <a:pt x="763" y="1476"/>
                    </a:cubicBezTo>
                    <a:cubicBezTo>
                      <a:pt x="761" y="1486"/>
                      <a:pt x="760" y="1498"/>
                      <a:pt x="758" y="1509"/>
                    </a:cubicBezTo>
                    <a:close/>
                    <a:moveTo>
                      <a:pt x="796" y="1509"/>
                    </a:moveTo>
                    <a:cubicBezTo>
                      <a:pt x="804" y="1511"/>
                      <a:pt x="813" y="1505"/>
                      <a:pt x="826" y="1508"/>
                    </a:cubicBezTo>
                    <a:cubicBezTo>
                      <a:pt x="807" y="1497"/>
                      <a:pt x="786" y="1489"/>
                      <a:pt x="769" y="1476"/>
                    </a:cubicBezTo>
                    <a:cubicBezTo>
                      <a:pt x="777" y="1485"/>
                      <a:pt x="782" y="1505"/>
                      <a:pt x="796" y="1509"/>
                    </a:cubicBezTo>
                    <a:close/>
                    <a:moveTo>
                      <a:pt x="837" y="1507"/>
                    </a:moveTo>
                    <a:cubicBezTo>
                      <a:pt x="844" y="1507"/>
                      <a:pt x="860" y="1507"/>
                      <a:pt x="864" y="1499"/>
                    </a:cubicBezTo>
                    <a:cubicBezTo>
                      <a:pt x="831" y="1496"/>
                      <a:pt x="800" y="1484"/>
                      <a:pt x="774" y="1477"/>
                    </a:cubicBezTo>
                    <a:cubicBezTo>
                      <a:pt x="791" y="1485"/>
                      <a:pt x="814" y="1505"/>
                      <a:pt x="837" y="1507"/>
                    </a:cubicBezTo>
                    <a:close/>
                    <a:moveTo>
                      <a:pt x="865" y="1497"/>
                    </a:moveTo>
                    <a:cubicBezTo>
                      <a:pt x="867" y="1494"/>
                      <a:pt x="870" y="1491"/>
                      <a:pt x="871" y="1487"/>
                    </a:cubicBezTo>
                    <a:cubicBezTo>
                      <a:pt x="839" y="1487"/>
                      <a:pt x="810" y="1479"/>
                      <a:pt x="783" y="1477"/>
                    </a:cubicBezTo>
                    <a:cubicBezTo>
                      <a:pt x="809" y="1485"/>
                      <a:pt x="835" y="1493"/>
                      <a:pt x="865" y="1497"/>
                    </a:cubicBezTo>
                    <a:close/>
                    <a:moveTo>
                      <a:pt x="617" y="1495"/>
                    </a:moveTo>
                    <a:cubicBezTo>
                      <a:pt x="616" y="1492"/>
                      <a:pt x="610" y="1486"/>
                      <a:pt x="606" y="1483"/>
                    </a:cubicBezTo>
                    <a:cubicBezTo>
                      <a:pt x="592" y="1483"/>
                      <a:pt x="576" y="1479"/>
                      <a:pt x="563" y="1480"/>
                    </a:cubicBezTo>
                    <a:cubicBezTo>
                      <a:pt x="577" y="1489"/>
                      <a:pt x="591" y="1498"/>
                      <a:pt x="617" y="1495"/>
                    </a:cubicBezTo>
                    <a:close/>
                    <a:moveTo>
                      <a:pt x="626" y="1499"/>
                    </a:moveTo>
                    <a:cubicBezTo>
                      <a:pt x="667" y="1513"/>
                      <a:pt x="710" y="1498"/>
                      <a:pt x="738" y="1480"/>
                    </a:cubicBezTo>
                    <a:cubicBezTo>
                      <a:pt x="706" y="1488"/>
                      <a:pt x="665" y="1495"/>
                      <a:pt x="626" y="1499"/>
                    </a:cubicBezTo>
                    <a:close/>
                    <a:moveTo>
                      <a:pt x="1025" y="1480"/>
                    </a:moveTo>
                    <a:cubicBezTo>
                      <a:pt x="1025" y="1479"/>
                      <a:pt x="1026" y="1480"/>
                      <a:pt x="1025" y="1480"/>
                    </a:cubicBezTo>
                    <a:close/>
                    <a:moveTo>
                      <a:pt x="1022" y="1481"/>
                    </a:moveTo>
                    <a:cubicBezTo>
                      <a:pt x="1023" y="1481"/>
                      <a:pt x="1022" y="1480"/>
                      <a:pt x="1022" y="1481"/>
                    </a:cubicBezTo>
                    <a:close/>
                    <a:moveTo>
                      <a:pt x="516" y="1482"/>
                    </a:moveTo>
                    <a:cubicBezTo>
                      <a:pt x="516" y="1481"/>
                      <a:pt x="517" y="1482"/>
                      <a:pt x="516" y="1482"/>
                    </a:cubicBezTo>
                    <a:close/>
                    <a:moveTo>
                      <a:pt x="1018" y="1482"/>
                    </a:moveTo>
                    <a:cubicBezTo>
                      <a:pt x="1001" y="1486"/>
                      <a:pt x="981" y="1488"/>
                      <a:pt x="966" y="1495"/>
                    </a:cubicBezTo>
                    <a:moveTo>
                      <a:pt x="966" y="1495"/>
                    </a:moveTo>
                    <a:cubicBezTo>
                      <a:pt x="962" y="1494"/>
                      <a:pt x="965" y="1498"/>
                      <a:pt x="966" y="1495"/>
                    </a:cubicBezTo>
                    <a:moveTo>
                      <a:pt x="966" y="1495"/>
                    </a:moveTo>
                    <a:cubicBezTo>
                      <a:pt x="985" y="1493"/>
                      <a:pt x="1002" y="1488"/>
                      <a:pt x="1018" y="1482"/>
                    </a:cubicBezTo>
                    <a:moveTo>
                      <a:pt x="1018" y="1482"/>
                    </a:moveTo>
                    <a:cubicBezTo>
                      <a:pt x="1022" y="1483"/>
                      <a:pt x="1019" y="1479"/>
                      <a:pt x="1018" y="1482"/>
                    </a:cubicBezTo>
                    <a:moveTo>
                      <a:pt x="940" y="1495"/>
                    </a:moveTo>
                    <a:cubicBezTo>
                      <a:pt x="955" y="1492"/>
                      <a:pt x="972" y="1491"/>
                      <a:pt x="980" y="1482"/>
                    </a:cubicBezTo>
                    <a:cubicBezTo>
                      <a:pt x="962" y="1482"/>
                      <a:pt x="950" y="1488"/>
                      <a:pt x="940" y="1495"/>
                    </a:cubicBezTo>
                    <a:close/>
                    <a:moveTo>
                      <a:pt x="681" y="1507"/>
                    </a:moveTo>
                    <a:cubicBezTo>
                      <a:pt x="694" y="1507"/>
                      <a:pt x="707" y="1507"/>
                      <a:pt x="719" y="1509"/>
                    </a:cubicBezTo>
                    <a:cubicBezTo>
                      <a:pt x="726" y="1503"/>
                      <a:pt x="734" y="1498"/>
                      <a:pt x="740" y="1491"/>
                    </a:cubicBezTo>
                    <a:cubicBezTo>
                      <a:pt x="737" y="1491"/>
                      <a:pt x="741" y="1484"/>
                      <a:pt x="738" y="1484"/>
                    </a:cubicBezTo>
                    <a:cubicBezTo>
                      <a:pt x="722" y="1494"/>
                      <a:pt x="700" y="1499"/>
                      <a:pt x="681" y="1507"/>
                    </a:cubicBezTo>
                    <a:close/>
                    <a:moveTo>
                      <a:pt x="876" y="1487"/>
                    </a:moveTo>
                    <a:cubicBezTo>
                      <a:pt x="874" y="1491"/>
                      <a:pt x="871" y="1493"/>
                      <a:pt x="870" y="1498"/>
                    </a:cubicBezTo>
                    <a:cubicBezTo>
                      <a:pt x="900" y="1502"/>
                      <a:pt x="934" y="1501"/>
                      <a:pt x="950" y="1486"/>
                    </a:cubicBezTo>
                    <a:cubicBezTo>
                      <a:pt x="927" y="1487"/>
                      <a:pt x="902" y="1488"/>
                      <a:pt x="876" y="1487"/>
                    </a:cubicBezTo>
                    <a:close/>
                    <a:moveTo>
                      <a:pt x="542" y="1492"/>
                    </a:moveTo>
                    <a:cubicBezTo>
                      <a:pt x="542" y="1492"/>
                      <a:pt x="543" y="1493"/>
                      <a:pt x="542" y="1492"/>
                    </a:cubicBezTo>
                    <a:close/>
                    <a:moveTo>
                      <a:pt x="570" y="1495"/>
                    </a:moveTo>
                    <a:cubicBezTo>
                      <a:pt x="565" y="1495"/>
                      <a:pt x="538" y="1491"/>
                      <a:pt x="548" y="1494"/>
                    </a:cubicBezTo>
                    <a:cubicBezTo>
                      <a:pt x="571" y="1502"/>
                      <a:pt x="600" y="1512"/>
                      <a:pt x="625" y="1510"/>
                    </a:cubicBezTo>
                    <a:cubicBezTo>
                      <a:pt x="606" y="1504"/>
                      <a:pt x="592" y="1498"/>
                      <a:pt x="570" y="1495"/>
                    </a:cubicBezTo>
                    <a:close/>
                    <a:moveTo>
                      <a:pt x="958" y="1495"/>
                    </a:moveTo>
                    <a:cubicBezTo>
                      <a:pt x="949" y="1496"/>
                      <a:pt x="942" y="1497"/>
                      <a:pt x="935" y="1499"/>
                    </a:cubicBezTo>
                    <a:cubicBezTo>
                      <a:pt x="943" y="1498"/>
                      <a:pt x="953" y="1499"/>
                      <a:pt x="958" y="1495"/>
                    </a:cubicBezTo>
                    <a:moveTo>
                      <a:pt x="958" y="1495"/>
                    </a:moveTo>
                    <a:cubicBezTo>
                      <a:pt x="962" y="1496"/>
                      <a:pt x="958" y="1492"/>
                      <a:pt x="958" y="1495"/>
                    </a:cubicBezTo>
                    <a:moveTo>
                      <a:pt x="724" y="1509"/>
                    </a:moveTo>
                    <a:cubicBezTo>
                      <a:pt x="730" y="1509"/>
                      <a:pt x="736" y="1509"/>
                      <a:pt x="742" y="1509"/>
                    </a:cubicBezTo>
                    <a:cubicBezTo>
                      <a:pt x="740" y="1505"/>
                      <a:pt x="741" y="1498"/>
                      <a:pt x="739" y="1495"/>
                    </a:cubicBezTo>
                    <a:cubicBezTo>
                      <a:pt x="735" y="1501"/>
                      <a:pt x="728" y="1504"/>
                      <a:pt x="724" y="1509"/>
                    </a:cubicBezTo>
                    <a:close/>
                    <a:moveTo>
                      <a:pt x="613" y="1499"/>
                    </a:moveTo>
                    <a:cubicBezTo>
                      <a:pt x="615" y="1500"/>
                      <a:pt x="623" y="1501"/>
                      <a:pt x="624" y="1500"/>
                    </a:cubicBezTo>
                    <a:cubicBezTo>
                      <a:pt x="622" y="1496"/>
                      <a:pt x="599" y="1499"/>
                      <a:pt x="613" y="1499"/>
                    </a:cubicBezTo>
                    <a:close/>
                    <a:moveTo>
                      <a:pt x="929" y="1500"/>
                    </a:moveTo>
                    <a:cubicBezTo>
                      <a:pt x="929" y="1500"/>
                      <a:pt x="930" y="1501"/>
                      <a:pt x="929" y="1500"/>
                    </a:cubicBezTo>
                    <a:close/>
                    <a:moveTo>
                      <a:pt x="865" y="1505"/>
                    </a:moveTo>
                    <a:cubicBezTo>
                      <a:pt x="871" y="1503"/>
                      <a:pt x="880" y="1504"/>
                      <a:pt x="886" y="1502"/>
                    </a:cubicBezTo>
                    <a:cubicBezTo>
                      <a:pt x="879" y="1502"/>
                      <a:pt x="867" y="1497"/>
                      <a:pt x="865" y="1505"/>
                    </a:cubicBezTo>
                    <a:close/>
                    <a:moveTo>
                      <a:pt x="608" y="1501"/>
                    </a:moveTo>
                    <a:cubicBezTo>
                      <a:pt x="608" y="1501"/>
                      <a:pt x="607" y="1501"/>
                      <a:pt x="606" y="1502"/>
                    </a:cubicBezTo>
                    <a:cubicBezTo>
                      <a:pt x="607" y="1502"/>
                      <a:pt x="608" y="1502"/>
                      <a:pt x="608" y="1501"/>
                    </a:cubicBezTo>
                    <a:close/>
                    <a:moveTo>
                      <a:pt x="885" y="1514"/>
                    </a:moveTo>
                    <a:cubicBezTo>
                      <a:pt x="909" y="1514"/>
                      <a:pt x="929" y="1509"/>
                      <a:pt x="946" y="1501"/>
                    </a:cubicBezTo>
                    <a:cubicBezTo>
                      <a:pt x="921" y="1500"/>
                      <a:pt x="904" y="1509"/>
                      <a:pt x="885" y="1514"/>
                    </a:cubicBezTo>
                    <a:close/>
                    <a:moveTo>
                      <a:pt x="633" y="1509"/>
                    </a:moveTo>
                    <a:cubicBezTo>
                      <a:pt x="629" y="1504"/>
                      <a:pt x="618" y="1501"/>
                      <a:pt x="609" y="1503"/>
                    </a:cubicBezTo>
                    <a:cubicBezTo>
                      <a:pt x="618" y="1504"/>
                      <a:pt x="626" y="1509"/>
                      <a:pt x="633" y="1509"/>
                    </a:cubicBezTo>
                    <a:close/>
                    <a:moveTo>
                      <a:pt x="858" y="1512"/>
                    </a:moveTo>
                    <a:cubicBezTo>
                      <a:pt x="879" y="1516"/>
                      <a:pt x="896" y="1508"/>
                      <a:pt x="912" y="1503"/>
                    </a:cubicBezTo>
                    <a:cubicBezTo>
                      <a:pt x="893" y="1506"/>
                      <a:pt x="869" y="1502"/>
                      <a:pt x="858" y="1512"/>
                    </a:cubicBezTo>
                    <a:close/>
                    <a:moveTo>
                      <a:pt x="659" y="1507"/>
                    </a:moveTo>
                    <a:cubicBezTo>
                      <a:pt x="650" y="1508"/>
                      <a:pt x="641" y="1503"/>
                      <a:pt x="633" y="1506"/>
                    </a:cubicBezTo>
                    <a:cubicBezTo>
                      <a:pt x="638" y="1512"/>
                      <a:pt x="652" y="1509"/>
                      <a:pt x="659" y="1507"/>
                    </a:cubicBezTo>
                    <a:close/>
                    <a:moveTo>
                      <a:pt x="645" y="1512"/>
                    </a:moveTo>
                    <a:cubicBezTo>
                      <a:pt x="667" y="1518"/>
                      <a:pt x="698" y="1526"/>
                      <a:pt x="714" y="1511"/>
                    </a:cubicBezTo>
                    <a:cubicBezTo>
                      <a:pt x="688" y="1510"/>
                      <a:pt x="666" y="1506"/>
                      <a:pt x="645" y="1512"/>
                    </a:cubicBezTo>
                    <a:close/>
                    <a:moveTo>
                      <a:pt x="845" y="1510"/>
                    </a:moveTo>
                    <a:cubicBezTo>
                      <a:pt x="849" y="1510"/>
                      <a:pt x="855" y="1512"/>
                      <a:pt x="856" y="1508"/>
                    </a:cubicBezTo>
                    <a:cubicBezTo>
                      <a:pt x="852" y="1509"/>
                      <a:pt x="847" y="1508"/>
                      <a:pt x="845" y="1510"/>
                    </a:cubicBezTo>
                    <a:close/>
                    <a:moveTo>
                      <a:pt x="798" y="1512"/>
                    </a:moveTo>
                    <a:cubicBezTo>
                      <a:pt x="808" y="1524"/>
                      <a:pt x="839" y="1525"/>
                      <a:pt x="850" y="1513"/>
                    </a:cubicBezTo>
                    <a:cubicBezTo>
                      <a:pt x="837" y="1508"/>
                      <a:pt x="813" y="1509"/>
                      <a:pt x="798" y="1512"/>
                    </a:cubicBezTo>
                    <a:close/>
                    <a:moveTo>
                      <a:pt x="699" y="1522"/>
                    </a:moveTo>
                    <a:cubicBezTo>
                      <a:pt x="714" y="1522"/>
                      <a:pt x="731" y="1526"/>
                      <a:pt x="746" y="1524"/>
                    </a:cubicBezTo>
                    <a:cubicBezTo>
                      <a:pt x="743" y="1521"/>
                      <a:pt x="744" y="1515"/>
                      <a:pt x="742" y="1511"/>
                    </a:cubicBezTo>
                    <a:cubicBezTo>
                      <a:pt x="721" y="1509"/>
                      <a:pt x="710" y="1514"/>
                      <a:pt x="699" y="1522"/>
                    </a:cubicBezTo>
                    <a:close/>
                    <a:moveTo>
                      <a:pt x="750" y="1525"/>
                    </a:moveTo>
                    <a:cubicBezTo>
                      <a:pt x="753" y="1522"/>
                      <a:pt x="754" y="1517"/>
                      <a:pt x="754" y="1511"/>
                    </a:cubicBezTo>
                    <a:cubicBezTo>
                      <a:pt x="751" y="1511"/>
                      <a:pt x="748" y="1511"/>
                      <a:pt x="745" y="1511"/>
                    </a:cubicBezTo>
                    <a:cubicBezTo>
                      <a:pt x="747" y="1516"/>
                      <a:pt x="745" y="1524"/>
                      <a:pt x="750" y="1525"/>
                    </a:cubicBezTo>
                    <a:close/>
                    <a:moveTo>
                      <a:pt x="790" y="1511"/>
                    </a:moveTo>
                    <a:cubicBezTo>
                      <a:pt x="779" y="1511"/>
                      <a:pt x="768" y="1511"/>
                      <a:pt x="757" y="1511"/>
                    </a:cubicBezTo>
                    <a:cubicBezTo>
                      <a:pt x="757" y="1517"/>
                      <a:pt x="755" y="1520"/>
                      <a:pt x="754" y="1525"/>
                    </a:cubicBezTo>
                    <a:cubicBezTo>
                      <a:pt x="773" y="1525"/>
                      <a:pt x="792" y="1526"/>
                      <a:pt x="807" y="1522"/>
                    </a:cubicBezTo>
                    <a:cubicBezTo>
                      <a:pt x="800" y="1520"/>
                      <a:pt x="797" y="1514"/>
                      <a:pt x="790" y="1511"/>
                    </a:cubicBezTo>
                    <a:close/>
                    <a:moveTo>
                      <a:pt x="852" y="1517"/>
                    </a:moveTo>
                    <a:cubicBezTo>
                      <a:pt x="851" y="1518"/>
                      <a:pt x="852" y="1518"/>
                      <a:pt x="852" y="1517"/>
                    </a:cubicBezTo>
                    <a:moveTo>
                      <a:pt x="852" y="1517"/>
                    </a:moveTo>
                    <a:cubicBezTo>
                      <a:pt x="857" y="1517"/>
                      <a:pt x="861" y="1517"/>
                      <a:pt x="864" y="1515"/>
                    </a:cubicBezTo>
                    <a:cubicBezTo>
                      <a:pt x="859" y="1515"/>
                      <a:pt x="854" y="1513"/>
                      <a:pt x="852" y="1517"/>
                    </a:cubicBezTo>
                    <a:moveTo>
                      <a:pt x="655" y="1518"/>
                    </a:moveTo>
                    <a:cubicBezTo>
                      <a:pt x="655" y="1518"/>
                      <a:pt x="656" y="1519"/>
                      <a:pt x="655" y="1518"/>
                    </a:cubicBezTo>
                    <a:close/>
                    <a:moveTo>
                      <a:pt x="674" y="1522"/>
                    </a:moveTo>
                    <a:cubicBezTo>
                      <a:pt x="679" y="1522"/>
                      <a:pt x="678" y="1522"/>
                      <a:pt x="674" y="1521"/>
                    </a:cubicBezTo>
                    <a:cubicBezTo>
                      <a:pt x="672" y="1521"/>
                      <a:pt x="662" y="1518"/>
                      <a:pt x="658" y="1519"/>
                    </a:cubicBezTo>
                    <a:cubicBezTo>
                      <a:pt x="665" y="1520"/>
                      <a:pt x="671" y="1522"/>
                      <a:pt x="674" y="1522"/>
                    </a:cubicBezTo>
                    <a:close/>
                  </a:path>
                </a:pathLst>
              </a:custGeom>
              <a:solidFill>
                <a:srgbClr val="B2B2B2"/>
              </a:solidFill>
              <a:ln w="9525" cap="flat" cmpd="sng">
                <a:noFill/>
                <a:prstDash val="solid"/>
                <a:round/>
                <a:headEnd type="none" w="med" len="med"/>
                <a:tailEnd type="none" w="med" len="med"/>
              </a:ln>
            </p:spPr>
            <p:txBody>
              <a:bodyPr/>
              <a:lstStyle/>
              <a:p>
                <a:endParaRPr lang="en-GB" dirty="0"/>
              </a:p>
            </p:txBody>
          </p:sp>
          <p:sp>
            <p:nvSpPr>
              <p:cNvPr id="43" name="Freeform 70"/>
              <p:cNvSpPr>
                <a:spLocks noEditPoints="1"/>
              </p:cNvSpPr>
              <p:nvPr/>
            </p:nvSpPr>
            <p:spPr bwMode="auto">
              <a:xfrm>
                <a:off x="3647" y="1560"/>
                <a:ext cx="334" cy="335"/>
              </a:xfrm>
              <a:custGeom>
                <a:avLst/>
                <a:gdLst>
                  <a:gd name="T0" fmla="*/ 43 w 1525"/>
                  <a:gd name="T1" fmla="*/ 519 h 1529"/>
                  <a:gd name="T2" fmla="*/ 688 w 1525"/>
                  <a:gd name="T3" fmla="*/ 16 h 1529"/>
                  <a:gd name="T4" fmla="*/ 710 w 1525"/>
                  <a:gd name="T5" fmla="*/ 20 h 1529"/>
                  <a:gd name="T6" fmla="*/ 799 w 1525"/>
                  <a:gd name="T7" fmla="*/ 22 h 1529"/>
                  <a:gd name="T8" fmla="*/ 581 w 1525"/>
                  <a:gd name="T9" fmla="*/ 42 h 1529"/>
                  <a:gd name="T10" fmla="*/ 530 w 1525"/>
                  <a:gd name="T11" fmla="*/ 61 h 1529"/>
                  <a:gd name="T12" fmla="*/ 991 w 1525"/>
                  <a:gd name="T13" fmla="*/ 49 h 1529"/>
                  <a:gd name="T14" fmla="*/ 372 w 1525"/>
                  <a:gd name="T15" fmla="*/ 115 h 1529"/>
                  <a:gd name="T16" fmla="*/ 428 w 1525"/>
                  <a:gd name="T17" fmla="*/ 107 h 1529"/>
                  <a:gd name="T18" fmla="*/ 818 w 1525"/>
                  <a:gd name="T19" fmla="*/ 92 h 1529"/>
                  <a:gd name="T20" fmla="*/ 1055 w 1525"/>
                  <a:gd name="T21" fmla="*/ 192 h 1529"/>
                  <a:gd name="T22" fmla="*/ 825 w 1525"/>
                  <a:gd name="T23" fmla="*/ 120 h 1529"/>
                  <a:gd name="T24" fmla="*/ 386 w 1525"/>
                  <a:gd name="T25" fmla="*/ 131 h 1529"/>
                  <a:gd name="T26" fmla="*/ 360 w 1525"/>
                  <a:gd name="T27" fmla="*/ 122 h 1529"/>
                  <a:gd name="T28" fmla="*/ 307 w 1525"/>
                  <a:gd name="T29" fmla="*/ 157 h 1529"/>
                  <a:gd name="T30" fmla="*/ 1281 w 1525"/>
                  <a:gd name="T31" fmla="*/ 215 h 1529"/>
                  <a:gd name="T32" fmla="*/ 262 w 1525"/>
                  <a:gd name="T33" fmla="*/ 197 h 1529"/>
                  <a:gd name="T34" fmla="*/ 342 w 1525"/>
                  <a:gd name="T35" fmla="*/ 207 h 1529"/>
                  <a:gd name="T36" fmla="*/ 515 w 1525"/>
                  <a:gd name="T37" fmla="*/ 222 h 1529"/>
                  <a:gd name="T38" fmla="*/ 1092 w 1525"/>
                  <a:gd name="T39" fmla="*/ 232 h 1529"/>
                  <a:gd name="T40" fmla="*/ 1054 w 1525"/>
                  <a:gd name="T41" fmla="*/ 395 h 1529"/>
                  <a:gd name="T42" fmla="*/ 286 w 1525"/>
                  <a:gd name="T43" fmla="*/ 259 h 1529"/>
                  <a:gd name="T44" fmla="*/ 422 w 1525"/>
                  <a:gd name="T45" fmla="*/ 400 h 1529"/>
                  <a:gd name="T46" fmla="*/ 139 w 1525"/>
                  <a:gd name="T47" fmla="*/ 360 h 1529"/>
                  <a:gd name="T48" fmla="*/ 735 w 1525"/>
                  <a:gd name="T49" fmla="*/ 383 h 1529"/>
                  <a:gd name="T50" fmla="*/ 401 w 1525"/>
                  <a:gd name="T51" fmla="*/ 453 h 1529"/>
                  <a:gd name="T52" fmla="*/ 1275 w 1525"/>
                  <a:gd name="T53" fmla="*/ 515 h 1529"/>
                  <a:gd name="T54" fmla="*/ 965 w 1525"/>
                  <a:gd name="T55" fmla="*/ 472 h 1529"/>
                  <a:gd name="T56" fmla="*/ 1457 w 1525"/>
                  <a:gd name="T57" fmla="*/ 507 h 1529"/>
                  <a:gd name="T58" fmla="*/ 1123 w 1525"/>
                  <a:gd name="T59" fmla="*/ 716 h 1529"/>
                  <a:gd name="T60" fmla="*/ 1284 w 1525"/>
                  <a:gd name="T61" fmla="*/ 635 h 1529"/>
                  <a:gd name="T62" fmla="*/ 109 w 1525"/>
                  <a:gd name="T63" fmla="*/ 683 h 1529"/>
                  <a:gd name="T64" fmla="*/ 320 w 1525"/>
                  <a:gd name="T65" fmla="*/ 836 h 1529"/>
                  <a:gd name="T66" fmla="*/ 942 w 1525"/>
                  <a:gd name="T67" fmla="*/ 737 h 1529"/>
                  <a:gd name="T68" fmla="*/ 1520 w 1525"/>
                  <a:gd name="T69" fmla="*/ 791 h 1529"/>
                  <a:gd name="T70" fmla="*/ 1506 w 1525"/>
                  <a:gd name="T71" fmla="*/ 837 h 1529"/>
                  <a:gd name="T72" fmla="*/ 1392 w 1525"/>
                  <a:gd name="T73" fmla="*/ 910 h 1529"/>
                  <a:gd name="T74" fmla="*/ 1322 w 1525"/>
                  <a:gd name="T75" fmla="*/ 936 h 1529"/>
                  <a:gd name="T76" fmla="*/ 497 w 1525"/>
                  <a:gd name="T77" fmla="*/ 992 h 1529"/>
                  <a:gd name="T78" fmla="*/ 637 w 1525"/>
                  <a:gd name="T79" fmla="*/ 1004 h 1529"/>
                  <a:gd name="T80" fmla="*/ 75 w 1525"/>
                  <a:gd name="T81" fmla="*/ 1026 h 1529"/>
                  <a:gd name="T82" fmla="*/ 155 w 1525"/>
                  <a:gd name="T83" fmla="*/ 1216 h 1529"/>
                  <a:gd name="T84" fmla="*/ 1376 w 1525"/>
                  <a:gd name="T85" fmla="*/ 1175 h 1529"/>
                  <a:gd name="T86" fmla="*/ 187 w 1525"/>
                  <a:gd name="T87" fmla="*/ 1148 h 1529"/>
                  <a:gd name="T88" fmla="*/ 163 w 1525"/>
                  <a:gd name="T89" fmla="*/ 1223 h 1529"/>
                  <a:gd name="T90" fmla="*/ 363 w 1525"/>
                  <a:gd name="T91" fmla="*/ 1201 h 1529"/>
                  <a:gd name="T92" fmla="*/ 535 w 1525"/>
                  <a:gd name="T93" fmla="*/ 1295 h 1529"/>
                  <a:gd name="T94" fmla="*/ 170 w 1525"/>
                  <a:gd name="T95" fmla="*/ 1239 h 1529"/>
                  <a:gd name="T96" fmla="*/ 195 w 1525"/>
                  <a:gd name="T97" fmla="*/ 1266 h 1529"/>
                  <a:gd name="T98" fmla="*/ 224 w 1525"/>
                  <a:gd name="T99" fmla="*/ 1300 h 1529"/>
                  <a:gd name="T100" fmla="*/ 309 w 1525"/>
                  <a:gd name="T101" fmla="*/ 1356 h 1529"/>
                  <a:gd name="T102" fmla="*/ 1151 w 1525"/>
                  <a:gd name="T103" fmla="*/ 1402 h 1529"/>
                  <a:gd name="T104" fmla="*/ 618 w 1525"/>
                  <a:gd name="T105" fmla="*/ 1375 h 1529"/>
                  <a:gd name="T106" fmla="*/ 956 w 1525"/>
                  <a:gd name="T107" fmla="*/ 1397 h 1529"/>
                  <a:gd name="T108" fmla="*/ 1038 w 1525"/>
                  <a:gd name="T109" fmla="*/ 1391 h 1529"/>
                  <a:gd name="T110" fmla="*/ 697 w 1525"/>
                  <a:gd name="T111" fmla="*/ 1413 h 1529"/>
                  <a:gd name="T112" fmla="*/ 987 w 1525"/>
                  <a:gd name="T113" fmla="*/ 1439 h 1529"/>
                  <a:gd name="T114" fmla="*/ 513 w 1525"/>
                  <a:gd name="T115" fmla="*/ 1480 h 1529"/>
                  <a:gd name="T116" fmla="*/ 749 w 1525"/>
                  <a:gd name="T117" fmla="*/ 1462 h 1529"/>
                  <a:gd name="T118" fmla="*/ 975 w 1525"/>
                  <a:gd name="T119" fmla="*/ 1464 h 1529"/>
                  <a:gd name="T120" fmla="*/ 782 w 1525"/>
                  <a:gd name="T121" fmla="*/ 1475 h 1529"/>
                  <a:gd name="T122" fmla="*/ 738 w 1525"/>
                  <a:gd name="T123" fmla="*/ 1484 h 1529"/>
                  <a:gd name="T124" fmla="*/ 845 w 1525"/>
                  <a:gd name="T125" fmla="*/ 1510 h 15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25"/>
                  <a:gd name="T190" fmla="*/ 0 h 1529"/>
                  <a:gd name="T191" fmla="*/ 1525 w 1525"/>
                  <a:gd name="T192" fmla="*/ 1529 h 15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25" h="1529">
                    <a:moveTo>
                      <a:pt x="760" y="11"/>
                    </a:moveTo>
                    <a:cubicBezTo>
                      <a:pt x="764" y="10"/>
                      <a:pt x="762" y="3"/>
                      <a:pt x="767" y="3"/>
                    </a:cubicBezTo>
                    <a:cubicBezTo>
                      <a:pt x="772" y="2"/>
                      <a:pt x="769" y="11"/>
                      <a:pt x="774" y="8"/>
                    </a:cubicBezTo>
                    <a:cubicBezTo>
                      <a:pt x="798" y="0"/>
                      <a:pt x="832" y="6"/>
                      <a:pt x="860" y="10"/>
                    </a:cubicBezTo>
                    <a:cubicBezTo>
                      <a:pt x="920" y="18"/>
                      <a:pt x="979" y="31"/>
                      <a:pt x="1027" y="50"/>
                    </a:cubicBezTo>
                    <a:cubicBezTo>
                      <a:pt x="1077" y="70"/>
                      <a:pt x="1124" y="92"/>
                      <a:pt x="1166" y="119"/>
                    </a:cubicBezTo>
                    <a:cubicBezTo>
                      <a:pt x="1181" y="129"/>
                      <a:pt x="1197" y="136"/>
                      <a:pt x="1209" y="145"/>
                    </a:cubicBezTo>
                    <a:cubicBezTo>
                      <a:pt x="1217" y="151"/>
                      <a:pt x="1224" y="160"/>
                      <a:pt x="1232" y="167"/>
                    </a:cubicBezTo>
                    <a:cubicBezTo>
                      <a:pt x="1281" y="205"/>
                      <a:pt x="1322" y="252"/>
                      <a:pt x="1362" y="301"/>
                    </a:cubicBezTo>
                    <a:cubicBezTo>
                      <a:pt x="1369" y="310"/>
                      <a:pt x="1378" y="316"/>
                      <a:pt x="1383" y="323"/>
                    </a:cubicBezTo>
                    <a:cubicBezTo>
                      <a:pt x="1388" y="331"/>
                      <a:pt x="1392" y="340"/>
                      <a:pt x="1398" y="348"/>
                    </a:cubicBezTo>
                    <a:cubicBezTo>
                      <a:pt x="1468" y="449"/>
                      <a:pt x="1525" y="587"/>
                      <a:pt x="1522" y="761"/>
                    </a:cubicBezTo>
                    <a:cubicBezTo>
                      <a:pt x="1522" y="773"/>
                      <a:pt x="1525" y="784"/>
                      <a:pt x="1524" y="795"/>
                    </a:cubicBezTo>
                    <a:cubicBezTo>
                      <a:pt x="1524" y="805"/>
                      <a:pt x="1520" y="815"/>
                      <a:pt x="1518" y="826"/>
                    </a:cubicBezTo>
                    <a:cubicBezTo>
                      <a:pt x="1515" y="857"/>
                      <a:pt x="1508" y="890"/>
                      <a:pt x="1502" y="919"/>
                    </a:cubicBezTo>
                    <a:cubicBezTo>
                      <a:pt x="1495" y="950"/>
                      <a:pt x="1489" y="979"/>
                      <a:pt x="1481" y="1007"/>
                    </a:cubicBezTo>
                    <a:cubicBezTo>
                      <a:pt x="1478" y="1017"/>
                      <a:pt x="1477" y="1028"/>
                      <a:pt x="1474" y="1037"/>
                    </a:cubicBezTo>
                    <a:cubicBezTo>
                      <a:pt x="1472" y="1045"/>
                      <a:pt x="1468" y="1051"/>
                      <a:pt x="1465" y="1058"/>
                    </a:cubicBezTo>
                    <a:cubicBezTo>
                      <a:pt x="1455" y="1079"/>
                      <a:pt x="1446" y="1102"/>
                      <a:pt x="1436" y="1122"/>
                    </a:cubicBezTo>
                    <a:cubicBezTo>
                      <a:pt x="1414" y="1164"/>
                      <a:pt x="1392" y="1199"/>
                      <a:pt x="1364" y="1233"/>
                    </a:cubicBezTo>
                    <a:cubicBezTo>
                      <a:pt x="1355" y="1245"/>
                      <a:pt x="1347" y="1257"/>
                      <a:pt x="1337" y="1268"/>
                    </a:cubicBezTo>
                    <a:cubicBezTo>
                      <a:pt x="1318" y="1289"/>
                      <a:pt x="1295" y="1305"/>
                      <a:pt x="1274" y="1326"/>
                    </a:cubicBezTo>
                    <a:cubicBezTo>
                      <a:pt x="1232" y="1368"/>
                      <a:pt x="1185" y="1404"/>
                      <a:pt x="1136" y="1434"/>
                    </a:cubicBezTo>
                    <a:cubicBezTo>
                      <a:pt x="1110" y="1450"/>
                      <a:pt x="1082" y="1460"/>
                      <a:pt x="1052" y="1471"/>
                    </a:cubicBezTo>
                    <a:cubicBezTo>
                      <a:pt x="1037" y="1477"/>
                      <a:pt x="1023" y="1484"/>
                      <a:pt x="1008" y="1488"/>
                    </a:cubicBezTo>
                    <a:cubicBezTo>
                      <a:pt x="992" y="1493"/>
                      <a:pt x="976" y="1494"/>
                      <a:pt x="958" y="1499"/>
                    </a:cubicBezTo>
                    <a:cubicBezTo>
                      <a:pt x="948" y="1502"/>
                      <a:pt x="940" y="1508"/>
                      <a:pt x="930" y="1511"/>
                    </a:cubicBezTo>
                    <a:cubicBezTo>
                      <a:pt x="904" y="1518"/>
                      <a:pt x="872" y="1514"/>
                      <a:pt x="846" y="1522"/>
                    </a:cubicBezTo>
                    <a:cubicBezTo>
                      <a:pt x="840" y="1524"/>
                      <a:pt x="835" y="1527"/>
                      <a:pt x="828" y="1528"/>
                    </a:cubicBezTo>
                    <a:cubicBezTo>
                      <a:pt x="823" y="1528"/>
                      <a:pt x="818" y="1526"/>
                      <a:pt x="813" y="1526"/>
                    </a:cubicBezTo>
                    <a:cubicBezTo>
                      <a:pt x="796" y="1525"/>
                      <a:pt x="777" y="1527"/>
                      <a:pt x="758" y="1528"/>
                    </a:cubicBezTo>
                    <a:cubicBezTo>
                      <a:pt x="735" y="1529"/>
                      <a:pt x="713" y="1524"/>
                      <a:pt x="691" y="1523"/>
                    </a:cubicBezTo>
                    <a:cubicBezTo>
                      <a:pt x="683" y="1523"/>
                      <a:pt x="676" y="1525"/>
                      <a:pt x="669" y="1524"/>
                    </a:cubicBezTo>
                    <a:cubicBezTo>
                      <a:pt x="656" y="1523"/>
                      <a:pt x="646" y="1514"/>
                      <a:pt x="635" y="1512"/>
                    </a:cubicBezTo>
                    <a:cubicBezTo>
                      <a:pt x="620" y="1510"/>
                      <a:pt x="607" y="1512"/>
                      <a:pt x="594" y="1511"/>
                    </a:cubicBezTo>
                    <a:cubicBezTo>
                      <a:pt x="571" y="1507"/>
                      <a:pt x="551" y="1496"/>
                      <a:pt x="531" y="1489"/>
                    </a:cubicBezTo>
                    <a:cubicBezTo>
                      <a:pt x="520" y="1486"/>
                      <a:pt x="508" y="1484"/>
                      <a:pt x="497" y="1481"/>
                    </a:cubicBezTo>
                    <a:cubicBezTo>
                      <a:pt x="454" y="1468"/>
                      <a:pt x="414" y="1451"/>
                      <a:pt x="380" y="1429"/>
                    </a:cubicBezTo>
                    <a:cubicBezTo>
                      <a:pt x="363" y="1418"/>
                      <a:pt x="347" y="1404"/>
                      <a:pt x="330" y="1393"/>
                    </a:cubicBezTo>
                    <a:cubicBezTo>
                      <a:pt x="287" y="1366"/>
                      <a:pt x="251" y="1334"/>
                      <a:pt x="216" y="1296"/>
                    </a:cubicBezTo>
                    <a:cubicBezTo>
                      <a:pt x="202" y="1282"/>
                      <a:pt x="187" y="1270"/>
                      <a:pt x="174" y="1252"/>
                    </a:cubicBezTo>
                    <a:cubicBezTo>
                      <a:pt x="169" y="1244"/>
                      <a:pt x="165" y="1234"/>
                      <a:pt x="159" y="1225"/>
                    </a:cubicBezTo>
                    <a:cubicBezTo>
                      <a:pt x="147" y="1209"/>
                      <a:pt x="133" y="1193"/>
                      <a:pt x="123" y="1177"/>
                    </a:cubicBezTo>
                    <a:cubicBezTo>
                      <a:pt x="60" y="1083"/>
                      <a:pt x="16" y="977"/>
                      <a:pt x="6" y="830"/>
                    </a:cubicBezTo>
                    <a:cubicBezTo>
                      <a:pt x="5" y="816"/>
                      <a:pt x="0" y="804"/>
                      <a:pt x="0" y="791"/>
                    </a:cubicBezTo>
                    <a:cubicBezTo>
                      <a:pt x="0" y="782"/>
                      <a:pt x="4" y="772"/>
                      <a:pt x="5" y="762"/>
                    </a:cubicBezTo>
                    <a:cubicBezTo>
                      <a:pt x="11" y="698"/>
                      <a:pt x="14" y="634"/>
                      <a:pt x="27" y="577"/>
                    </a:cubicBezTo>
                    <a:cubicBezTo>
                      <a:pt x="29" y="567"/>
                      <a:pt x="29" y="558"/>
                      <a:pt x="31" y="549"/>
                    </a:cubicBezTo>
                    <a:cubicBezTo>
                      <a:pt x="34" y="539"/>
                      <a:pt x="40" y="529"/>
                      <a:pt x="43" y="519"/>
                    </a:cubicBezTo>
                    <a:cubicBezTo>
                      <a:pt x="65" y="448"/>
                      <a:pt x="100" y="386"/>
                      <a:pt x="137" y="330"/>
                    </a:cubicBezTo>
                    <a:cubicBezTo>
                      <a:pt x="170" y="280"/>
                      <a:pt x="209" y="240"/>
                      <a:pt x="252" y="202"/>
                    </a:cubicBezTo>
                    <a:cubicBezTo>
                      <a:pt x="266" y="190"/>
                      <a:pt x="282" y="179"/>
                      <a:pt x="296" y="166"/>
                    </a:cubicBezTo>
                    <a:cubicBezTo>
                      <a:pt x="303" y="159"/>
                      <a:pt x="307" y="151"/>
                      <a:pt x="315" y="145"/>
                    </a:cubicBezTo>
                    <a:cubicBezTo>
                      <a:pt x="323" y="139"/>
                      <a:pt x="332" y="137"/>
                      <a:pt x="341" y="132"/>
                    </a:cubicBezTo>
                    <a:cubicBezTo>
                      <a:pt x="354" y="124"/>
                      <a:pt x="367" y="114"/>
                      <a:pt x="380" y="106"/>
                    </a:cubicBezTo>
                    <a:cubicBezTo>
                      <a:pt x="419" y="82"/>
                      <a:pt x="466" y="61"/>
                      <a:pt x="514" y="46"/>
                    </a:cubicBezTo>
                    <a:cubicBezTo>
                      <a:pt x="531" y="40"/>
                      <a:pt x="546" y="33"/>
                      <a:pt x="563" y="29"/>
                    </a:cubicBezTo>
                    <a:cubicBezTo>
                      <a:pt x="605" y="19"/>
                      <a:pt x="652" y="8"/>
                      <a:pt x="702" y="5"/>
                    </a:cubicBezTo>
                    <a:cubicBezTo>
                      <a:pt x="711" y="5"/>
                      <a:pt x="721" y="5"/>
                      <a:pt x="731" y="3"/>
                    </a:cubicBezTo>
                    <a:cubicBezTo>
                      <a:pt x="741" y="1"/>
                      <a:pt x="752" y="5"/>
                      <a:pt x="760" y="11"/>
                    </a:cubicBezTo>
                    <a:close/>
                    <a:moveTo>
                      <a:pt x="765" y="11"/>
                    </a:moveTo>
                    <a:cubicBezTo>
                      <a:pt x="767" y="11"/>
                      <a:pt x="769" y="11"/>
                      <a:pt x="770" y="9"/>
                    </a:cubicBezTo>
                    <a:cubicBezTo>
                      <a:pt x="768" y="9"/>
                      <a:pt x="769" y="6"/>
                      <a:pt x="767" y="5"/>
                    </a:cubicBezTo>
                    <a:cubicBezTo>
                      <a:pt x="766" y="7"/>
                      <a:pt x="764" y="8"/>
                      <a:pt x="765" y="11"/>
                    </a:cubicBezTo>
                    <a:close/>
                    <a:moveTo>
                      <a:pt x="737" y="6"/>
                    </a:moveTo>
                    <a:cubicBezTo>
                      <a:pt x="736" y="6"/>
                      <a:pt x="735" y="6"/>
                      <a:pt x="735" y="7"/>
                    </a:cubicBezTo>
                    <a:cubicBezTo>
                      <a:pt x="736" y="7"/>
                      <a:pt x="737" y="7"/>
                      <a:pt x="737" y="6"/>
                    </a:cubicBezTo>
                    <a:close/>
                    <a:moveTo>
                      <a:pt x="800" y="6"/>
                    </a:moveTo>
                    <a:cubicBezTo>
                      <a:pt x="790" y="5"/>
                      <a:pt x="794" y="9"/>
                      <a:pt x="800" y="6"/>
                    </a:cubicBezTo>
                    <a:close/>
                    <a:moveTo>
                      <a:pt x="744" y="7"/>
                    </a:moveTo>
                    <a:cubicBezTo>
                      <a:pt x="742" y="8"/>
                      <a:pt x="738" y="6"/>
                      <a:pt x="738" y="8"/>
                    </a:cubicBezTo>
                    <a:cubicBezTo>
                      <a:pt x="740" y="8"/>
                      <a:pt x="744" y="9"/>
                      <a:pt x="744" y="7"/>
                    </a:cubicBezTo>
                    <a:close/>
                    <a:moveTo>
                      <a:pt x="792" y="7"/>
                    </a:moveTo>
                    <a:cubicBezTo>
                      <a:pt x="790" y="8"/>
                      <a:pt x="785" y="6"/>
                      <a:pt x="785" y="8"/>
                    </a:cubicBezTo>
                    <a:cubicBezTo>
                      <a:pt x="787" y="8"/>
                      <a:pt x="791" y="9"/>
                      <a:pt x="792" y="7"/>
                    </a:cubicBezTo>
                    <a:close/>
                    <a:moveTo>
                      <a:pt x="727" y="8"/>
                    </a:moveTo>
                    <a:cubicBezTo>
                      <a:pt x="726" y="8"/>
                      <a:pt x="725" y="8"/>
                      <a:pt x="725" y="9"/>
                    </a:cubicBezTo>
                    <a:cubicBezTo>
                      <a:pt x="726" y="9"/>
                      <a:pt x="727" y="9"/>
                      <a:pt x="727" y="8"/>
                    </a:cubicBezTo>
                    <a:close/>
                    <a:moveTo>
                      <a:pt x="747" y="8"/>
                    </a:moveTo>
                    <a:cubicBezTo>
                      <a:pt x="746" y="8"/>
                      <a:pt x="745" y="8"/>
                      <a:pt x="745" y="9"/>
                    </a:cubicBezTo>
                    <a:cubicBezTo>
                      <a:pt x="745" y="9"/>
                      <a:pt x="747" y="9"/>
                      <a:pt x="747" y="8"/>
                    </a:cubicBezTo>
                    <a:close/>
                    <a:moveTo>
                      <a:pt x="784" y="8"/>
                    </a:moveTo>
                    <a:cubicBezTo>
                      <a:pt x="783" y="8"/>
                      <a:pt x="781" y="8"/>
                      <a:pt x="781" y="9"/>
                    </a:cubicBezTo>
                    <a:cubicBezTo>
                      <a:pt x="782" y="9"/>
                      <a:pt x="784" y="9"/>
                      <a:pt x="784" y="8"/>
                    </a:cubicBezTo>
                    <a:close/>
                    <a:moveTo>
                      <a:pt x="748" y="10"/>
                    </a:moveTo>
                    <a:cubicBezTo>
                      <a:pt x="747" y="10"/>
                      <a:pt x="748" y="11"/>
                      <a:pt x="748" y="10"/>
                    </a:cubicBezTo>
                    <a:close/>
                    <a:moveTo>
                      <a:pt x="778" y="10"/>
                    </a:moveTo>
                    <a:cubicBezTo>
                      <a:pt x="778" y="10"/>
                      <a:pt x="779" y="11"/>
                      <a:pt x="778" y="10"/>
                    </a:cubicBezTo>
                    <a:close/>
                    <a:moveTo>
                      <a:pt x="688" y="10"/>
                    </a:moveTo>
                    <a:cubicBezTo>
                      <a:pt x="686" y="11"/>
                      <a:pt x="682" y="9"/>
                      <a:pt x="682" y="11"/>
                    </a:cubicBezTo>
                    <a:cubicBezTo>
                      <a:pt x="684" y="10"/>
                      <a:pt x="688" y="12"/>
                      <a:pt x="688" y="10"/>
                    </a:cubicBezTo>
                    <a:close/>
                    <a:moveTo>
                      <a:pt x="841" y="11"/>
                    </a:moveTo>
                    <a:cubicBezTo>
                      <a:pt x="836" y="10"/>
                      <a:pt x="840" y="14"/>
                      <a:pt x="841" y="11"/>
                    </a:cubicBezTo>
                    <a:close/>
                    <a:moveTo>
                      <a:pt x="857" y="12"/>
                    </a:moveTo>
                    <a:cubicBezTo>
                      <a:pt x="856" y="12"/>
                      <a:pt x="854" y="12"/>
                      <a:pt x="854" y="13"/>
                    </a:cubicBezTo>
                    <a:cubicBezTo>
                      <a:pt x="855" y="13"/>
                      <a:pt x="857" y="13"/>
                      <a:pt x="857" y="12"/>
                    </a:cubicBezTo>
                    <a:close/>
                    <a:moveTo>
                      <a:pt x="688" y="16"/>
                    </a:moveTo>
                    <a:cubicBezTo>
                      <a:pt x="680" y="15"/>
                      <a:pt x="684" y="19"/>
                      <a:pt x="688" y="16"/>
                    </a:cubicBezTo>
                    <a:close/>
                    <a:moveTo>
                      <a:pt x="678" y="17"/>
                    </a:moveTo>
                    <a:cubicBezTo>
                      <a:pt x="676" y="17"/>
                      <a:pt x="671" y="16"/>
                      <a:pt x="671" y="18"/>
                    </a:cubicBezTo>
                    <a:cubicBezTo>
                      <a:pt x="673" y="17"/>
                      <a:pt x="677" y="19"/>
                      <a:pt x="678" y="17"/>
                    </a:cubicBezTo>
                    <a:close/>
                    <a:moveTo>
                      <a:pt x="842" y="17"/>
                    </a:moveTo>
                    <a:cubicBezTo>
                      <a:pt x="836" y="16"/>
                      <a:pt x="840" y="20"/>
                      <a:pt x="842" y="17"/>
                    </a:cubicBezTo>
                    <a:close/>
                    <a:moveTo>
                      <a:pt x="664" y="19"/>
                    </a:moveTo>
                    <a:cubicBezTo>
                      <a:pt x="674" y="17"/>
                      <a:pt x="664" y="18"/>
                      <a:pt x="658" y="19"/>
                    </a:cubicBezTo>
                    <a:cubicBezTo>
                      <a:pt x="655" y="19"/>
                      <a:pt x="652" y="18"/>
                      <a:pt x="651" y="21"/>
                    </a:cubicBezTo>
                    <a:cubicBezTo>
                      <a:pt x="656" y="20"/>
                      <a:pt x="660" y="19"/>
                      <a:pt x="664" y="19"/>
                    </a:cubicBezTo>
                    <a:close/>
                    <a:moveTo>
                      <a:pt x="700" y="19"/>
                    </a:moveTo>
                    <a:cubicBezTo>
                      <a:pt x="699" y="18"/>
                      <a:pt x="700" y="19"/>
                      <a:pt x="700" y="19"/>
                    </a:cubicBezTo>
                    <a:close/>
                    <a:moveTo>
                      <a:pt x="698" y="81"/>
                    </a:moveTo>
                    <a:cubicBezTo>
                      <a:pt x="716" y="81"/>
                      <a:pt x="734" y="81"/>
                      <a:pt x="751" y="81"/>
                    </a:cubicBezTo>
                    <a:cubicBezTo>
                      <a:pt x="753" y="60"/>
                      <a:pt x="757" y="36"/>
                      <a:pt x="759" y="18"/>
                    </a:cubicBezTo>
                    <a:cubicBezTo>
                      <a:pt x="733" y="34"/>
                      <a:pt x="714" y="56"/>
                      <a:pt x="698" y="81"/>
                    </a:cubicBezTo>
                    <a:close/>
                    <a:moveTo>
                      <a:pt x="852" y="19"/>
                    </a:moveTo>
                    <a:cubicBezTo>
                      <a:pt x="852" y="19"/>
                      <a:pt x="852" y="19"/>
                      <a:pt x="852" y="20"/>
                    </a:cubicBezTo>
                    <a:cubicBezTo>
                      <a:pt x="870" y="21"/>
                      <a:pt x="885" y="24"/>
                      <a:pt x="901" y="26"/>
                    </a:cubicBezTo>
                    <a:moveTo>
                      <a:pt x="901" y="26"/>
                    </a:moveTo>
                    <a:cubicBezTo>
                      <a:pt x="902" y="29"/>
                      <a:pt x="906" y="25"/>
                      <a:pt x="901" y="26"/>
                    </a:cubicBezTo>
                    <a:moveTo>
                      <a:pt x="901" y="26"/>
                    </a:moveTo>
                    <a:cubicBezTo>
                      <a:pt x="901" y="26"/>
                      <a:pt x="901" y="26"/>
                      <a:pt x="901" y="25"/>
                    </a:cubicBezTo>
                    <a:cubicBezTo>
                      <a:pt x="887" y="21"/>
                      <a:pt x="870" y="20"/>
                      <a:pt x="852" y="19"/>
                    </a:cubicBezTo>
                    <a:moveTo>
                      <a:pt x="852" y="19"/>
                    </a:moveTo>
                    <a:cubicBezTo>
                      <a:pt x="846" y="16"/>
                      <a:pt x="842" y="20"/>
                      <a:pt x="852" y="19"/>
                    </a:cubicBezTo>
                    <a:moveTo>
                      <a:pt x="693" y="19"/>
                    </a:moveTo>
                    <a:cubicBezTo>
                      <a:pt x="683" y="17"/>
                      <a:pt x="687" y="22"/>
                      <a:pt x="693" y="19"/>
                    </a:cubicBezTo>
                    <a:close/>
                    <a:moveTo>
                      <a:pt x="751" y="20"/>
                    </a:moveTo>
                    <a:cubicBezTo>
                      <a:pt x="751" y="19"/>
                      <a:pt x="752" y="20"/>
                      <a:pt x="751" y="20"/>
                    </a:cubicBezTo>
                    <a:close/>
                    <a:moveTo>
                      <a:pt x="754" y="81"/>
                    </a:moveTo>
                    <a:cubicBezTo>
                      <a:pt x="762" y="81"/>
                      <a:pt x="770" y="81"/>
                      <a:pt x="778" y="81"/>
                    </a:cubicBezTo>
                    <a:cubicBezTo>
                      <a:pt x="774" y="59"/>
                      <a:pt x="781" y="26"/>
                      <a:pt x="762" y="19"/>
                    </a:cubicBezTo>
                    <a:cubicBezTo>
                      <a:pt x="759" y="39"/>
                      <a:pt x="756" y="59"/>
                      <a:pt x="754" y="81"/>
                    </a:cubicBezTo>
                    <a:close/>
                    <a:moveTo>
                      <a:pt x="826" y="19"/>
                    </a:moveTo>
                    <a:cubicBezTo>
                      <a:pt x="820" y="18"/>
                      <a:pt x="824" y="22"/>
                      <a:pt x="826" y="19"/>
                    </a:cubicBezTo>
                    <a:close/>
                    <a:moveTo>
                      <a:pt x="641" y="21"/>
                    </a:moveTo>
                    <a:cubicBezTo>
                      <a:pt x="619" y="23"/>
                      <a:pt x="596" y="25"/>
                      <a:pt x="580" y="33"/>
                    </a:cubicBezTo>
                    <a:moveTo>
                      <a:pt x="580" y="33"/>
                    </a:moveTo>
                    <a:cubicBezTo>
                      <a:pt x="576" y="32"/>
                      <a:pt x="579" y="36"/>
                      <a:pt x="580" y="33"/>
                    </a:cubicBezTo>
                    <a:moveTo>
                      <a:pt x="580" y="33"/>
                    </a:moveTo>
                    <a:cubicBezTo>
                      <a:pt x="600" y="29"/>
                      <a:pt x="622" y="26"/>
                      <a:pt x="641" y="21"/>
                    </a:cubicBezTo>
                    <a:moveTo>
                      <a:pt x="641" y="21"/>
                    </a:moveTo>
                    <a:cubicBezTo>
                      <a:pt x="646" y="22"/>
                      <a:pt x="642" y="18"/>
                      <a:pt x="641" y="21"/>
                    </a:cubicBezTo>
                    <a:moveTo>
                      <a:pt x="632" y="29"/>
                    </a:moveTo>
                    <a:cubicBezTo>
                      <a:pt x="649" y="25"/>
                      <a:pt x="668" y="24"/>
                      <a:pt x="684" y="20"/>
                    </a:cubicBezTo>
                    <a:cubicBezTo>
                      <a:pt x="666" y="22"/>
                      <a:pt x="644" y="21"/>
                      <a:pt x="632" y="29"/>
                    </a:cubicBezTo>
                    <a:close/>
                    <a:moveTo>
                      <a:pt x="710" y="20"/>
                    </a:moveTo>
                    <a:cubicBezTo>
                      <a:pt x="709" y="20"/>
                      <a:pt x="707" y="19"/>
                      <a:pt x="707" y="21"/>
                    </a:cubicBezTo>
                    <a:cubicBezTo>
                      <a:pt x="708" y="20"/>
                      <a:pt x="710" y="21"/>
                      <a:pt x="710" y="20"/>
                    </a:cubicBezTo>
                    <a:close/>
                    <a:moveTo>
                      <a:pt x="726" y="21"/>
                    </a:moveTo>
                    <a:cubicBezTo>
                      <a:pt x="725" y="20"/>
                      <a:pt x="726" y="21"/>
                      <a:pt x="726" y="21"/>
                    </a:cubicBezTo>
                    <a:close/>
                    <a:moveTo>
                      <a:pt x="739" y="21"/>
                    </a:moveTo>
                    <a:cubicBezTo>
                      <a:pt x="739" y="20"/>
                      <a:pt x="740" y="21"/>
                      <a:pt x="739" y="21"/>
                    </a:cubicBezTo>
                    <a:close/>
                    <a:moveTo>
                      <a:pt x="749" y="21"/>
                    </a:moveTo>
                    <a:cubicBezTo>
                      <a:pt x="725" y="27"/>
                      <a:pt x="705" y="37"/>
                      <a:pt x="686" y="48"/>
                    </a:cubicBezTo>
                    <a:cubicBezTo>
                      <a:pt x="681" y="59"/>
                      <a:pt x="675" y="70"/>
                      <a:pt x="672" y="82"/>
                    </a:cubicBezTo>
                    <a:cubicBezTo>
                      <a:pt x="679" y="82"/>
                      <a:pt x="686" y="82"/>
                      <a:pt x="693" y="82"/>
                    </a:cubicBezTo>
                    <a:cubicBezTo>
                      <a:pt x="709" y="59"/>
                      <a:pt x="727" y="38"/>
                      <a:pt x="749" y="21"/>
                    </a:cubicBezTo>
                    <a:moveTo>
                      <a:pt x="749" y="21"/>
                    </a:moveTo>
                    <a:cubicBezTo>
                      <a:pt x="753" y="22"/>
                      <a:pt x="749" y="18"/>
                      <a:pt x="749" y="21"/>
                    </a:cubicBezTo>
                    <a:moveTo>
                      <a:pt x="793" y="21"/>
                    </a:moveTo>
                    <a:cubicBezTo>
                      <a:pt x="792" y="20"/>
                      <a:pt x="793" y="21"/>
                      <a:pt x="793" y="21"/>
                    </a:cubicBezTo>
                    <a:close/>
                    <a:moveTo>
                      <a:pt x="810" y="20"/>
                    </a:moveTo>
                    <a:cubicBezTo>
                      <a:pt x="809" y="20"/>
                      <a:pt x="808" y="20"/>
                      <a:pt x="808" y="21"/>
                    </a:cubicBezTo>
                    <a:cubicBezTo>
                      <a:pt x="809" y="20"/>
                      <a:pt x="810" y="21"/>
                      <a:pt x="810" y="20"/>
                    </a:cubicBezTo>
                    <a:close/>
                    <a:moveTo>
                      <a:pt x="837" y="21"/>
                    </a:moveTo>
                    <a:cubicBezTo>
                      <a:pt x="837" y="22"/>
                      <a:pt x="839" y="22"/>
                      <a:pt x="839" y="21"/>
                    </a:cubicBezTo>
                    <a:cubicBezTo>
                      <a:pt x="834" y="18"/>
                      <a:pt x="826" y="21"/>
                      <a:pt x="837" y="21"/>
                    </a:cubicBezTo>
                    <a:close/>
                    <a:moveTo>
                      <a:pt x="699" y="22"/>
                    </a:moveTo>
                    <a:cubicBezTo>
                      <a:pt x="667" y="27"/>
                      <a:pt x="629" y="26"/>
                      <a:pt x="610" y="45"/>
                    </a:cubicBezTo>
                    <a:moveTo>
                      <a:pt x="610" y="45"/>
                    </a:moveTo>
                    <a:cubicBezTo>
                      <a:pt x="606" y="44"/>
                      <a:pt x="610" y="47"/>
                      <a:pt x="610" y="45"/>
                    </a:cubicBezTo>
                    <a:moveTo>
                      <a:pt x="699" y="22"/>
                    </a:moveTo>
                    <a:cubicBezTo>
                      <a:pt x="668" y="28"/>
                      <a:pt x="639" y="36"/>
                      <a:pt x="610" y="45"/>
                    </a:cubicBezTo>
                    <a:moveTo>
                      <a:pt x="699" y="22"/>
                    </a:moveTo>
                    <a:cubicBezTo>
                      <a:pt x="703" y="22"/>
                      <a:pt x="699" y="19"/>
                      <a:pt x="699" y="22"/>
                    </a:cubicBezTo>
                    <a:moveTo>
                      <a:pt x="720" y="22"/>
                    </a:moveTo>
                    <a:cubicBezTo>
                      <a:pt x="713" y="23"/>
                      <a:pt x="705" y="22"/>
                      <a:pt x="702" y="26"/>
                    </a:cubicBezTo>
                    <a:cubicBezTo>
                      <a:pt x="708" y="25"/>
                      <a:pt x="714" y="24"/>
                      <a:pt x="720" y="22"/>
                    </a:cubicBezTo>
                    <a:moveTo>
                      <a:pt x="720" y="22"/>
                    </a:moveTo>
                    <a:cubicBezTo>
                      <a:pt x="725" y="23"/>
                      <a:pt x="721" y="19"/>
                      <a:pt x="720" y="22"/>
                    </a:cubicBezTo>
                    <a:moveTo>
                      <a:pt x="690" y="43"/>
                    </a:moveTo>
                    <a:cubicBezTo>
                      <a:pt x="689" y="43"/>
                      <a:pt x="690" y="44"/>
                      <a:pt x="690" y="43"/>
                    </a:cubicBezTo>
                    <a:moveTo>
                      <a:pt x="690" y="43"/>
                    </a:moveTo>
                    <a:cubicBezTo>
                      <a:pt x="705" y="35"/>
                      <a:pt x="721" y="28"/>
                      <a:pt x="737" y="21"/>
                    </a:cubicBezTo>
                    <a:cubicBezTo>
                      <a:pt x="720" y="26"/>
                      <a:pt x="695" y="25"/>
                      <a:pt x="690" y="43"/>
                    </a:cubicBezTo>
                    <a:moveTo>
                      <a:pt x="812" y="81"/>
                    </a:moveTo>
                    <a:cubicBezTo>
                      <a:pt x="830" y="82"/>
                      <a:pt x="849" y="82"/>
                      <a:pt x="867" y="83"/>
                    </a:cubicBezTo>
                    <a:cubicBezTo>
                      <a:pt x="844" y="58"/>
                      <a:pt x="811" y="35"/>
                      <a:pt x="774" y="21"/>
                    </a:cubicBezTo>
                    <a:cubicBezTo>
                      <a:pt x="788" y="40"/>
                      <a:pt x="803" y="58"/>
                      <a:pt x="812" y="81"/>
                    </a:cubicBezTo>
                    <a:close/>
                    <a:moveTo>
                      <a:pt x="852" y="66"/>
                    </a:moveTo>
                    <a:cubicBezTo>
                      <a:pt x="863" y="75"/>
                      <a:pt x="870" y="86"/>
                      <a:pt x="887" y="84"/>
                    </a:cubicBezTo>
                    <a:cubicBezTo>
                      <a:pt x="882" y="71"/>
                      <a:pt x="874" y="61"/>
                      <a:pt x="867" y="49"/>
                    </a:cubicBezTo>
                    <a:cubicBezTo>
                      <a:pt x="840" y="39"/>
                      <a:pt x="812" y="26"/>
                      <a:pt x="783" y="22"/>
                    </a:cubicBezTo>
                    <a:cubicBezTo>
                      <a:pt x="810" y="32"/>
                      <a:pt x="831" y="48"/>
                      <a:pt x="852" y="66"/>
                    </a:cubicBezTo>
                    <a:close/>
                    <a:moveTo>
                      <a:pt x="799" y="22"/>
                    </a:moveTo>
                    <a:cubicBezTo>
                      <a:pt x="821" y="29"/>
                      <a:pt x="844" y="36"/>
                      <a:pt x="863" y="46"/>
                    </a:cubicBezTo>
                    <a:cubicBezTo>
                      <a:pt x="854" y="26"/>
                      <a:pt x="823" y="27"/>
                      <a:pt x="799" y="22"/>
                    </a:cubicBezTo>
                    <a:moveTo>
                      <a:pt x="799" y="22"/>
                    </a:moveTo>
                    <a:cubicBezTo>
                      <a:pt x="797" y="19"/>
                      <a:pt x="793" y="23"/>
                      <a:pt x="799" y="22"/>
                    </a:cubicBezTo>
                    <a:moveTo>
                      <a:pt x="817" y="21"/>
                    </a:moveTo>
                    <a:cubicBezTo>
                      <a:pt x="811" y="19"/>
                      <a:pt x="815" y="24"/>
                      <a:pt x="817" y="21"/>
                    </a:cubicBezTo>
                    <a:close/>
                    <a:moveTo>
                      <a:pt x="928" y="41"/>
                    </a:moveTo>
                    <a:cubicBezTo>
                      <a:pt x="928" y="44"/>
                      <a:pt x="932" y="40"/>
                      <a:pt x="928" y="41"/>
                    </a:cubicBezTo>
                    <a:moveTo>
                      <a:pt x="928" y="41"/>
                    </a:moveTo>
                    <a:cubicBezTo>
                      <a:pt x="909" y="25"/>
                      <a:pt x="871" y="25"/>
                      <a:pt x="844" y="22"/>
                    </a:cubicBezTo>
                    <a:cubicBezTo>
                      <a:pt x="872" y="28"/>
                      <a:pt x="901" y="33"/>
                      <a:pt x="928" y="41"/>
                    </a:cubicBezTo>
                    <a:moveTo>
                      <a:pt x="901" y="21"/>
                    </a:moveTo>
                    <a:cubicBezTo>
                      <a:pt x="900" y="21"/>
                      <a:pt x="899" y="21"/>
                      <a:pt x="899" y="22"/>
                    </a:cubicBezTo>
                    <a:cubicBezTo>
                      <a:pt x="900" y="21"/>
                      <a:pt x="901" y="22"/>
                      <a:pt x="901" y="21"/>
                    </a:cubicBezTo>
                    <a:close/>
                    <a:moveTo>
                      <a:pt x="847" y="28"/>
                    </a:moveTo>
                    <a:cubicBezTo>
                      <a:pt x="848" y="30"/>
                      <a:pt x="849" y="28"/>
                      <a:pt x="847" y="28"/>
                    </a:cubicBezTo>
                    <a:moveTo>
                      <a:pt x="847" y="28"/>
                    </a:moveTo>
                    <a:cubicBezTo>
                      <a:pt x="842" y="22"/>
                      <a:pt x="827" y="22"/>
                      <a:pt x="818" y="23"/>
                    </a:cubicBezTo>
                    <a:cubicBezTo>
                      <a:pt x="829" y="23"/>
                      <a:pt x="837" y="27"/>
                      <a:pt x="847" y="28"/>
                    </a:cubicBezTo>
                    <a:moveTo>
                      <a:pt x="909" y="22"/>
                    </a:moveTo>
                    <a:cubicBezTo>
                      <a:pt x="904" y="21"/>
                      <a:pt x="908" y="24"/>
                      <a:pt x="909" y="22"/>
                    </a:cubicBezTo>
                    <a:close/>
                    <a:moveTo>
                      <a:pt x="916" y="23"/>
                    </a:moveTo>
                    <a:cubicBezTo>
                      <a:pt x="914" y="23"/>
                      <a:pt x="913" y="22"/>
                      <a:pt x="913" y="23"/>
                    </a:cubicBezTo>
                    <a:cubicBezTo>
                      <a:pt x="914" y="23"/>
                      <a:pt x="915" y="24"/>
                      <a:pt x="916" y="23"/>
                    </a:cubicBezTo>
                    <a:close/>
                    <a:moveTo>
                      <a:pt x="922" y="24"/>
                    </a:moveTo>
                    <a:cubicBezTo>
                      <a:pt x="922" y="25"/>
                      <a:pt x="922" y="25"/>
                      <a:pt x="922" y="25"/>
                    </a:cubicBezTo>
                    <a:cubicBezTo>
                      <a:pt x="927" y="25"/>
                      <a:pt x="928" y="27"/>
                      <a:pt x="932" y="26"/>
                    </a:cubicBezTo>
                    <a:moveTo>
                      <a:pt x="932" y="26"/>
                    </a:moveTo>
                    <a:cubicBezTo>
                      <a:pt x="934" y="29"/>
                      <a:pt x="938" y="25"/>
                      <a:pt x="932" y="26"/>
                    </a:cubicBezTo>
                    <a:moveTo>
                      <a:pt x="932" y="26"/>
                    </a:moveTo>
                    <a:cubicBezTo>
                      <a:pt x="932" y="26"/>
                      <a:pt x="932" y="26"/>
                      <a:pt x="932" y="25"/>
                    </a:cubicBezTo>
                    <a:cubicBezTo>
                      <a:pt x="928" y="26"/>
                      <a:pt x="927" y="24"/>
                      <a:pt x="922" y="24"/>
                    </a:cubicBezTo>
                    <a:moveTo>
                      <a:pt x="922" y="24"/>
                    </a:moveTo>
                    <a:cubicBezTo>
                      <a:pt x="919" y="22"/>
                      <a:pt x="915" y="26"/>
                      <a:pt x="922" y="24"/>
                    </a:cubicBezTo>
                    <a:moveTo>
                      <a:pt x="907" y="25"/>
                    </a:moveTo>
                    <a:cubicBezTo>
                      <a:pt x="907" y="26"/>
                      <a:pt x="907" y="26"/>
                      <a:pt x="907" y="26"/>
                    </a:cubicBezTo>
                    <a:cubicBezTo>
                      <a:pt x="934" y="34"/>
                      <a:pt x="965" y="42"/>
                      <a:pt x="990" y="47"/>
                    </a:cubicBezTo>
                    <a:cubicBezTo>
                      <a:pt x="967" y="36"/>
                      <a:pt x="938" y="29"/>
                      <a:pt x="907" y="25"/>
                    </a:cubicBezTo>
                    <a:moveTo>
                      <a:pt x="907" y="25"/>
                    </a:moveTo>
                    <a:cubicBezTo>
                      <a:pt x="907" y="23"/>
                      <a:pt x="903" y="26"/>
                      <a:pt x="907" y="25"/>
                    </a:cubicBezTo>
                    <a:moveTo>
                      <a:pt x="602" y="50"/>
                    </a:moveTo>
                    <a:cubicBezTo>
                      <a:pt x="598" y="55"/>
                      <a:pt x="592" y="59"/>
                      <a:pt x="587" y="64"/>
                    </a:cubicBezTo>
                    <a:cubicBezTo>
                      <a:pt x="583" y="68"/>
                      <a:pt x="576" y="75"/>
                      <a:pt x="577" y="78"/>
                    </a:cubicBezTo>
                    <a:cubicBezTo>
                      <a:pt x="587" y="77"/>
                      <a:pt x="597" y="71"/>
                      <a:pt x="606" y="66"/>
                    </a:cubicBezTo>
                    <a:cubicBezTo>
                      <a:pt x="631" y="53"/>
                      <a:pt x="656" y="41"/>
                      <a:pt x="683" y="32"/>
                    </a:cubicBezTo>
                    <a:cubicBezTo>
                      <a:pt x="687" y="31"/>
                      <a:pt x="696" y="31"/>
                      <a:pt x="695" y="25"/>
                    </a:cubicBezTo>
                    <a:cubicBezTo>
                      <a:pt x="662" y="32"/>
                      <a:pt x="632" y="41"/>
                      <a:pt x="602" y="50"/>
                    </a:cubicBezTo>
                    <a:close/>
                    <a:moveTo>
                      <a:pt x="530" y="58"/>
                    </a:moveTo>
                    <a:cubicBezTo>
                      <a:pt x="526" y="57"/>
                      <a:pt x="529" y="61"/>
                      <a:pt x="530" y="58"/>
                    </a:cubicBezTo>
                    <a:moveTo>
                      <a:pt x="530" y="58"/>
                    </a:moveTo>
                    <a:cubicBezTo>
                      <a:pt x="546" y="53"/>
                      <a:pt x="563" y="47"/>
                      <a:pt x="581" y="42"/>
                    </a:cubicBezTo>
                    <a:cubicBezTo>
                      <a:pt x="598" y="37"/>
                      <a:pt x="617" y="35"/>
                      <a:pt x="631" y="26"/>
                    </a:cubicBezTo>
                    <a:cubicBezTo>
                      <a:pt x="593" y="33"/>
                      <a:pt x="554" y="38"/>
                      <a:pt x="530" y="58"/>
                    </a:cubicBezTo>
                    <a:moveTo>
                      <a:pt x="969" y="73"/>
                    </a:moveTo>
                    <a:cubicBezTo>
                      <a:pt x="947" y="41"/>
                      <a:pt x="895" y="34"/>
                      <a:pt x="850" y="27"/>
                    </a:cubicBezTo>
                    <a:cubicBezTo>
                      <a:pt x="890" y="42"/>
                      <a:pt x="933" y="54"/>
                      <a:pt x="969" y="73"/>
                    </a:cubicBezTo>
                    <a:close/>
                    <a:moveTo>
                      <a:pt x="939" y="27"/>
                    </a:moveTo>
                    <a:cubicBezTo>
                      <a:pt x="938" y="28"/>
                      <a:pt x="937" y="27"/>
                      <a:pt x="937" y="28"/>
                    </a:cubicBezTo>
                    <a:cubicBezTo>
                      <a:pt x="937" y="28"/>
                      <a:pt x="939" y="28"/>
                      <a:pt x="939" y="27"/>
                    </a:cubicBezTo>
                    <a:close/>
                    <a:moveTo>
                      <a:pt x="574" y="32"/>
                    </a:moveTo>
                    <a:cubicBezTo>
                      <a:pt x="574" y="33"/>
                      <a:pt x="573" y="32"/>
                      <a:pt x="574" y="32"/>
                    </a:cubicBezTo>
                    <a:close/>
                    <a:moveTo>
                      <a:pt x="781" y="81"/>
                    </a:moveTo>
                    <a:cubicBezTo>
                      <a:pt x="790" y="80"/>
                      <a:pt x="801" y="82"/>
                      <a:pt x="808" y="80"/>
                    </a:cubicBezTo>
                    <a:cubicBezTo>
                      <a:pt x="798" y="63"/>
                      <a:pt x="789" y="45"/>
                      <a:pt x="776" y="31"/>
                    </a:cubicBezTo>
                    <a:cubicBezTo>
                      <a:pt x="778" y="48"/>
                      <a:pt x="779" y="65"/>
                      <a:pt x="781" y="81"/>
                    </a:cubicBezTo>
                    <a:close/>
                    <a:moveTo>
                      <a:pt x="526" y="47"/>
                    </a:moveTo>
                    <a:cubicBezTo>
                      <a:pt x="524" y="48"/>
                      <a:pt x="526" y="49"/>
                      <a:pt x="526" y="47"/>
                    </a:cubicBezTo>
                    <a:moveTo>
                      <a:pt x="526" y="47"/>
                    </a:moveTo>
                    <a:cubicBezTo>
                      <a:pt x="543" y="43"/>
                      <a:pt x="560" y="40"/>
                      <a:pt x="573" y="32"/>
                    </a:cubicBezTo>
                    <a:cubicBezTo>
                      <a:pt x="557" y="37"/>
                      <a:pt x="537" y="38"/>
                      <a:pt x="526" y="47"/>
                    </a:cubicBezTo>
                    <a:moveTo>
                      <a:pt x="963" y="32"/>
                    </a:moveTo>
                    <a:cubicBezTo>
                      <a:pt x="962" y="32"/>
                      <a:pt x="961" y="32"/>
                      <a:pt x="961" y="33"/>
                    </a:cubicBezTo>
                    <a:cubicBezTo>
                      <a:pt x="961" y="33"/>
                      <a:pt x="963" y="33"/>
                      <a:pt x="963" y="32"/>
                    </a:cubicBezTo>
                    <a:close/>
                    <a:moveTo>
                      <a:pt x="585" y="80"/>
                    </a:moveTo>
                    <a:cubicBezTo>
                      <a:pt x="601" y="82"/>
                      <a:pt x="616" y="87"/>
                      <a:pt x="632" y="84"/>
                    </a:cubicBezTo>
                    <a:cubicBezTo>
                      <a:pt x="648" y="70"/>
                      <a:pt x="665" y="58"/>
                      <a:pt x="683" y="47"/>
                    </a:cubicBezTo>
                    <a:cubicBezTo>
                      <a:pt x="683" y="42"/>
                      <a:pt x="693" y="36"/>
                      <a:pt x="689" y="33"/>
                    </a:cubicBezTo>
                    <a:cubicBezTo>
                      <a:pt x="652" y="46"/>
                      <a:pt x="617" y="61"/>
                      <a:pt x="585" y="80"/>
                    </a:cubicBezTo>
                    <a:close/>
                    <a:moveTo>
                      <a:pt x="966" y="34"/>
                    </a:moveTo>
                    <a:cubicBezTo>
                      <a:pt x="968" y="37"/>
                      <a:pt x="972" y="33"/>
                      <a:pt x="966" y="34"/>
                    </a:cubicBezTo>
                    <a:moveTo>
                      <a:pt x="966" y="34"/>
                    </a:moveTo>
                    <a:cubicBezTo>
                      <a:pt x="965" y="31"/>
                      <a:pt x="961" y="35"/>
                      <a:pt x="966" y="34"/>
                    </a:cubicBezTo>
                    <a:moveTo>
                      <a:pt x="575" y="35"/>
                    </a:moveTo>
                    <a:cubicBezTo>
                      <a:pt x="574" y="35"/>
                      <a:pt x="575" y="36"/>
                      <a:pt x="575" y="35"/>
                    </a:cubicBezTo>
                    <a:close/>
                    <a:moveTo>
                      <a:pt x="859" y="35"/>
                    </a:moveTo>
                    <a:cubicBezTo>
                      <a:pt x="861" y="40"/>
                      <a:pt x="866" y="43"/>
                      <a:pt x="869" y="48"/>
                    </a:cubicBezTo>
                    <a:cubicBezTo>
                      <a:pt x="878" y="53"/>
                      <a:pt x="889" y="57"/>
                      <a:pt x="900" y="64"/>
                    </a:cubicBezTo>
                    <a:cubicBezTo>
                      <a:pt x="909" y="69"/>
                      <a:pt x="921" y="80"/>
                      <a:pt x="930" y="81"/>
                    </a:cubicBezTo>
                    <a:cubicBezTo>
                      <a:pt x="940" y="82"/>
                      <a:pt x="953" y="76"/>
                      <a:pt x="965" y="73"/>
                    </a:cubicBezTo>
                    <a:cubicBezTo>
                      <a:pt x="931" y="59"/>
                      <a:pt x="898" y="44"/>
                      <a:pt x="859" y="35"/>
                    </a:cubicBezTo>
                    <a:moveTo>
                      <a:pt x="859" y="35"/>
                    </a:moveTo>
                    <a:cubicBezTo>
                      <a:pt x="858" y="34"/>
                      <a:pt x="858" y="35"/>
                      <a:pt x="859" y="35"/>
                    </a:cubicBezTo>
                    <a:moveTo>
                      <a:pt x="993" y="63"/>
                    </a:moveTo>
                    <a:cubicBezTo>
                      <a:pt x="997" y="61"/>
                      <a:pt x="1000" y="59"/>
                      <a:pt x="1001" y="55"/>
                    </a:cubicBezTo>
                    <a:cubicBezTo>
                      <a:pt x="977" y="47"/>
                      <a:pt x="949" y="38"/>
                      <a:pt x="924" y="35"/>
                    </a:cubicBezTo>
                    <a:cubicBezTo>
                      <a:pt x="943" y="48"/>
                      <a:pt x="970" y="54"/>
                      <a:pt x="993" y="63"/>
                    </a:cubicBezTo>
                    <a:close/>
                    <a:moveTo>
                      <a:pt x="973" y="35"/>
                    </a:moveTo>
                    <a:cubicBezTo>
                      <a:pt x="972" y="35"/>
                      <a:pt x="970" y="35"/>
                      <a:pt x="970" y="36"/>
                    </a:cubicBezTo>
                    <a:cubicBezTo>
                      <a:pt x="971" y="36"/>
                      <a:pt x="973" y="36"/>
                      <a:pt x="973" y="35"/>
                    </a:cubicBezTo>
                    <a:close/>
                    <a:moveTo>
                      <a:pt x="530" y="61"/>
                    </a:moveTo>
                    <a:cubicBezTo>
                      <a:pt x="542" y="76"/>
                      <a:pt x="556" y="66"/>
                      <a:pt x="573" y="59"/>
                    </a:cubicBezTo>
                    <a:cubicBezTo>
                      <a:pt x="588" y="53"/>
                      <a:pt x="599" y="49"/>
                      <a:pt x="608" y="42"/>
                    </a:cubicBezTo>
                    <a:cubicBezTo>
                      <a:pt x="611" y="39"/>
                      <a:pt x="617" y="37"/>
                      <a:pt x="614" y="36"/>
                    </a:cubicBezTo>
                    <a:cubicBezTo>
                      <a:pt x="585" y="43"/>
                      <a:pt x="557" y="52"/>
                      <a:pt x="530" y="61"/>
                    </a:cubicBezTo>
                    <a:close/>
                    <a:moveTo>
                      <a:pt x="976" y="36"/>
                    </a:moveTo>
                    <a:cubicBezTo>
                      <a:pt x="975" y="36"/>
                      <a:pt x="974" y="36"/>
                      <a:pt x="974" y="37"/>
                    </a:cubicBezTo>
                    <a:cubicBezTo>
                      <a:pt x="975" y="37"/>
                      <a:pt x="976" y="37"/>
                      <a:pt x="976" y="36"/>
                    </a:cubicBezTo>
                    <a:close/>
                    <a:moveTo>
                      <a:pt x="978" y="38"/>
                    </a:moveTo>
                    <a:cubicBezTo>
                      <a:pt x="978" y="37"/>
                      <a:pt x="979" y="39"/>
                      <a:pt x="978" y="38"/>
                    </a:cubicBezTo>
                    <a:close/>
                    <a:moveTo>
                      <a:pt x="982" y="39"/>
                    </a:moveTo>
                    <a:cubicBezTo>
                      <a:pt x="981" y="38"/>
                      <a:pt x="982" y="39"/>
                      <a:pt x="982" y="39"/>
                    </a:cubicBezTo>
                    <a:close/>
                    <a:moveTo>
                      <a:pt x="931" y="43"/>
                    </a:moveTo>
                    <a:cubicBezTo>
                      <a:pt x="931" y="42"/>
                      <a:pt x="932" y="43"/>
                      <a:pt x="931" y="43"/>
                    </a:cubicBezTo>
                    <a:close/>
                    <a:moveTo>
                      <a:pt x="985" y="43"/>
                    </a:moveTo>
                    <a:cubicBezTo>
                      <a:pt x="984" y="42"/>
                      <a:pt x="985" y="43"/>
                      <a:pt x="985" y="43"/>
                    </a:cubicBezTo>
                    <a:close/>
                    <a:moveTo>
                      <a:pt x="1000" y="48"/>
                    </a:moveTo>
                    <a:cubicBezTo>
                      <a:pt x="997" y="46"/>
                      <a:pt x="991" y="42"/>
                      <a:pt x="987" y="44"/>
                    </a:cubicBezTo>
                    <a:cubicBezTo>
                      <a:pt x="992" y="44"/>
                      <a:pt x="996" y="50"/>
                      <a:pt x="1000" y="48"/>
                    </a:cubicBezTo>
                    <a:close/>
                    <a:moveTo>
                      <a:pt x="489" y="60"/>
                    </a:moveTo>
                    <a:cubicBezTo>
                      <a:pt x="488" y="60"/>
                      <a:pt x="487" y="60"/>
                      <a:pt x="486" y="61"/>
                    </a:cubicBezTo>
                    <a:moveTo>
                      <a:pt x="486" y="61"/>
                    </a:moveTo>
                    <a:cubicBezTo>
                      <a:pt x="485" y="61"/>
                      <a:pt x="485" y="61"/>
                      <a:pt x="485" y="62"/>
                    </a:cubicBezTo>
                    <a:moveTo>
                      <a:pt x="485" y="62"/>
                    </a:moveTo>
                    <a:cubicBezTo>
                      <a:pt x="481" y="61"/>
                      <a:pt x="484" y="65"/>
                      <a:pt x="485" y="62"/>
                    </a:cubicBezTo>
                    <a:moveTo>
                      <a:pt x="485" y="62"/>
                    </a:moveTo>
                    <a:cubicBezTo>
                      <a:pt x="486" y="62"/>
                      <a:pt x="486" y="62"/>
                      <a:pt x="486" y="61"/>
                    </a:cubicBezTo>
                    <a:moveTo>
                      <a:pt x="486" y="61"/>
                    </a:moveTo>
                    <a:cubicBezTo>
                      <a:pt x="488" y="61"/>
                      <a:pt x="489" y="61"/>
                      <a:pt x="489" y="60"/>
                    </a:cubicBezTo>
                    <a:moveTo>
                      <a:pt x="489" y="60"/>
                    </a:moveTo>
                    <a:cubicBezTo>
                      <a:pt x="500" y="55"/>
                      <a:pt x="516" y="55"/>
                      <a:pt x="523" y="46"/>
                    </a:cubicBezTo>
                    <a:cubicBezTo>
                      <a:pt x="511" y="50"/>
                      <a:pt x="500" y="54"/>
                      <a:pt x="489" y="60"/>
                    </a:cubicBezTo>
                    <a:moveTo>
                      <a:pt x="542" y="47"/>
                    </a:moveTo>
                    <a:cubicBezTo>
                      <a:pt x="535" y="47"/>
                      <a:pt x="530" y="50"/>
                      <a:pt x="523" y="51"/>
                    </a:cubicBezTo>
                    <a:cubicBezTo>
                      <a:pt x="523" y="54"/>
                      <a:pt x="523" y="56"/>
                      <a:pt x="524" y="57"/>
                    </a:cubicBezTo>
                    <a:cubicBezTo>
                      <a:pt x="531" y="55"/>
                      <a:pt x="537" y="50"/>
                      <a:pt x="542" y="47"/>
                    </a:cubicBezTo>
                    <a:moveTo>
                      <a:pt x="542" y="47"/>
                    </a:moveTo>
                    <a:cubicBezTo>
                      <a:pt x="546" y="47"/>
                      <a:pt x="542" y="44"/>
                      <a:pt x="542" y="47"/>
                    </a:cubicBezTo>
                    <a:moveTo>
                      <a:pt x="1113" y="98"/>
                    </a:moveTo>
                    <a:cubicBezTo>
                      <a:pt x="1113" y="99"/>
                      <a:pt x="1115" y="99"/>
                      <a:pt x="1115" y="99"/>
                    </a:cubicBezTo>
                    <a:moveTo>
                      <a:pt x="1115" y="99"/>
                    </a:moveTo>
                    <a:cubicBezTo>
                      <a:pt x="1116" y="101"/>
                      <a:pt x="1116" y="99"/>
                      <a:pt x="1115" y="99"/>
                    </a:cubicBezTo>
                    <a:moveTo>
                      <a:pt x="1115" y="99"/>
                    </a:moveTo>
                    <a:cubicBezTo>
                      <a:pt x="1115" y="98"/>
                      <a:pt x="1114" y="99"/>
                      <a:pt x="1113" y="98"/>
                    </a:cubicBezTo>
                    <a:moveTo>
                      <a:pt x="1113" y="98"/>
                    </a:moveTo>
                    <a:cubicBezTo>
                      <a:pt x="1081" y="77"/>
                      <a:pt x="1043" y="57"/>
                      <a:pt x="1002" y="48"/>
                    </a:cubicBezTo>
                    <a:cubicBezTo>
                      <a:pt x="1008" y="57"/>
                      <a:pt x="1020" y="58"/>
                      <a:pt x="1029" y="62"/>
                    </a:cubicBezTo>
                    <a:cubicBezTo>
                      <a:pt x="1057" y="72"/>
                      <a:pt x="1086" y="86"/>
                      <a:pt x="1113" y="98"/>
                    </a:cubicBezTo>
                    <a:moveTo>
                      <a:pt x="991" y="49"/>
                    </a:moveTo>
                    <a:cubicBezTo>
                      <a:pt x="991" y="49"/>
                      <a:pt x="992" y="50"/>
                      <a:pt x="991" y="49"/>
                    </a:cubicBezTo>
                    <a:close/>
                    <a:moveTo>
                      <a:pt x="948" y="50"/>
                    </a:moveTo>
                    <a:cubicBezTo>
                      <a:pt x="957" y="57"/>
                      <a:pt x="965" y="65"/>
                      <a:pt x="974" y="71"/>
                    </a:cubicBezTo>
                    <a:cubicBezTo>
                      <a:pt x="979" y="69"/>
                      <a:pt x="987" y="69"/>
                      <a:pt x="990" y="64"/>
                    </a:cubicBezTo>
                    <a:cubicBezTo>
                      <a:pt x="975" y="60"/>
                      <a:pt x="963" y="54"/>
                      <a:pt x="948" y="50"/>
                    </a:cubicBezTo>
                    <a:moveTo>
                      <a:pt x="948" y="50"/>
                    </a:moveTo>
                    <a:cubicBezTo>
                      <a:pt x="948" y="49"/>
                      <a:pt x="947" y="50"/>
                      <a:pt x="948" y="50"/>
                    </a:cubicBezTo>
                    <a:moveTo>
                      <a:pt x="399" y="114"/>
                    </a:moveTo>
                    <a:cubicBezTo>
                      <a:pt x="405" y="112"/>
                      <a:pt x="411" y="111"/>
                      <a:pt x="416" y="110"/>
                    </a:cubicBezTo>
                    <a:cubicBezTo>
                      <a:pt x="433" y="101"/>
                      <a:pt x="450" y="91"/>
                      <a:pt x="468" y="83"/>
                    </a:cubicBezTo>
                    <a:cubicBezTo>
                      <a:pt x="486" y="75"/>
                      <a:pt x="506" y="70"/>
                      <a:pt x="522" y="58"/>
                    </a:cubicBezTo>
                    <a:cubicBezTo>
                      <a:pt x="520" y="58"/>
                      <a:pt x="520" y="56"/>
                      <a:pt x="520" y="53"/>
                    </a:cubicBezTo>
                    <a:cubicBezTo>
                      <a:pt x="473" y="66"/>
                      <a:pt x="432" y="86"/>
                      <a:pt x="399" y="114"/>
                    </a:cubicBezTo>
                    <a:close/>
                    <a:moveTo>
                      <a:pt x="593" y="54"/>
                    </a:moveTo>
                    <a:cubicBezTo>
                      <a:pt x="578" y="59"/>
                      <a:pt x="564" y="65"/>
                      <a:pt x="550" y="71"/>
                    </a:cubicBezTo>
                    <a:cubicBezTo>
                      <a:pt x="556" y="74"/>
                      <a:pt x="564" y="75"/>
                      <a:pt x="570" y="77"/>
                    </a:cubicBezTo>
                    <a:cubicBezTo>
                      <a:pt x="579" y="71"/>
                      <a:pt x="585" y="62"/>
                      <a:pt x="593" y="54"/>
                    </a:cubicBezTo>
                    <a:moveTo>
                      <a:pt x="593" y="54"/>
                    </a:moveTo>
                    <a:cubicBezTo>
                      <a:pt x="594" y="54"/>
                      <a:pt x="593" y="53"/>
                      <a:pt x="593" y="54"/>
                    </a:cubicBezTo>
                    <a:moveTo>
                      <a:pt x="637" y="84"/>
                    </a:moveTo>
                    <a:cubicBezTo>
                      <a:pt x="647" y="83"/>
                      <a:pt x="659" y="84"/>
                      <a:pt x="668" y="82"/>
                    </a:cubicBezTo>
                    <a:cubicBezTo>
                      <a:pt x="669" y="72"/>
                      <a:pt x="679" y="60"/>
                      <a:pt x="678" y="53"/>
                    </a:cubicBezTo>
                    <a:cubicBezTo>
                      <a:pt x="664" y="64"/>
                      <a:pt x="649" y="72"/>
                      <a:pt x="637" y="84"/>
                    </a:cubicBezTo>
                    <a:close/>
                    <a:moveTo>
                      <a:pt x="890" y="84"/>
                    </a:moveTo>
                    <a:cubicBezTo>
                      <a:pt x="901" y="85"/>
                      <a:pt x="916" y="86"/>
                      <a:pt x="924" y="81"/>
                    </a:cubicBezTo>
                    <a:cubicBezTo>
                      <a:pt x="907" y="73"/>
                      <a:pt x="890" y="59"/>
                      <a:pt x="872" y="54"/>
                    </a:cubicBezTo>
                    <a:cubicBezTo>
                      <a:pt x="879" y="63"/>
                      <a:pt x="885" y="73"/>
                      <a:pt x="890" y="84"/>
                    </a:cubicBezTo>
                    <a:close/>
                    <a:moveTo>
                      <a:pt x="1063" y="94"/>
                    </a:moveTo>
                    <a:cubicBezTo>
                      <a:pt x="1063" y="94"/>
                      <a:pt x="1063" y="94"/>
                      <a:pt x="1063" y="95"/>
                    </a:cubicBezTo>
                    <a:cubicBezTo>
                      <a:pt x="1064" y="95"/>
                      <a:pt x="1065" y="96"/>
                      <a:pt x="1066" y="95"/>
                    </a:cubicBezTo>
                    <a:moveTo>
                      <a:pt x="1066" y="95"/>
                    </a:moveTo>
                    <a:cubicBezTo>
                      <a:pt x="1067" y="97"/>
                      <a:pt x="1067" y="95"/>
                      <a:pt x="1066" y="95"/>
                    </a:cubicBezTo>
                    <a:moveTo>
                      <a:pt x="1066" y="95"/>
                    </a:moveTo>
                    <a:cubicBezTo>
                      <a:pt x="1066" y="94"/>
                      <a:pt x="1065" y="94"/>
                      <a:pt x="1063" y="94"/>
                    </a:cubicBezTo>
                    <a:moveTo>
                      <a:pt x="1063" y="94"/>
                    </a:moveTo>
                    <a:cubicBezTo>
                      <a:pt x="1046" y="79"/>
                      <a:pt x="1027" y="67"/>
                      <a:pt x="1006" y="56"/>
                    </a:cubicBezTo>
                    <a:cubicBezTo>
                      <a:pt x="1001" y="58"/>
                      <a:pt x="1000" y="63"/>
                      <a:pt x="996" y="65"/>
                    </a:cubicBezTo>
                    <a:cubicBezTo>
                      <a:pt x="1020" y="73"/>
                      <a:pt x="1041" y="84"/>
                      <a:pt x="1063" y="94"/>
                    </a:cubicBezTo>
                    <a:moveTo>
                      <a:pt x="482" y="60"/>
                    </a:moveTo>
                    <a:cubicBezTo>
                      <a:pt x="482" y="61"/>
                      <a:pt x="481" y="60"/>
                      <a:pt x="482" y="60"/>
                    </a:cubicBezTo>
                    <a:close/>
                    <a:moveTo>
                      <a:pt x="526" y="60"/>
                    </a:moveTo>
                    <a:cubicBezTo>
                      <a:pt x="526" y="61"/>
                      <a:pt x="525" y="60"/>
                      <a:pt x="526" y="60"/>
                    </a:cubicBezTo>
                    <a:close/>
                    <a:moveTo>
                      <a:pt x="479" y="61"/>
                    </a:moveTo>
                    <a:cubicBezTo>
                      <a:pt x="478" y="61"/>
                      <a:pt x="477" y="61"/>
                      <a:pt x="477" y="62"/>
                    </a:cubicBezTo>
                    <a:moveTo>
                      <a:pt x="477" y="62"/>
                    </a:moveTo>
                    <a:cubicBezTo>
                      <a:pt x="441" y="76"/>
                      <a:pt x="407" y="92"/>
                      <a:pt x="377" y="112"/>
                    </a:cubicBezTo>
                    <a:moveTo>
                      <a:pt x="377" y="112"/>
                    </a:moveTo>
                    <a:cubicBezTo>
                      <a:pt x="375" y="112"/>
                      <a:pt x="375" y="113"/>
                      <a:pt x="374" y="114"/>
                    </a:cubicBezTo>
                    <a:moveTo>
                      <a:pt x="374" y="114"/>
                    </a:moveTo>
                    <a:cubicBezTo>
                      <a:pt x="373" y="114"/>
                      <a:pt x="372" y="114"/>
                      <a:pt x="372" y="115"/>
                    </a:cubicBezTo>
                    <a:moveTo>
                      <a:pt x="372" y="115"/>
                    </a:moveTo>
                    <a:cubicBezTo>
                      <a:pt x="371" y="115"/>
                      <a:pt x="371" y="115"/>
                      <a:pt x="370" y="116"/>
                    </a:cubicBezTo>
                    <a:moveTo>
                      <a:pt x="370" y="116"/>
                    </a:moveTo>
                    <a:cubicBezTo>
                      <a:pt x="370" y="115"/>
                      <a:pt x="369" y="116"/>
                      <a:pt x="369" y="117"/>
                    </a:cubicBezTo>
                    <a:moveTo>
                      <a:pt x="369" y="117"/>
                    </a:moveTo>
                    <a:cubicBezTo>
                      <a:pt x="368" y="116"/>
                      <a:pt x="368" y="117"/>
                      <a:pt x="367" y="118"/>
                    </a:cubicBezTo>
                    <a:moveTo>
                      <a:pt x="367" y="118"/>
                    </a:moveTo>
                    <a:cubicBezTo>
                      <a:pt x="366" y="118"/>
                      <a:pt x="368" y="119"/>
                      <a:pt x="367" y="118"/>
                    </a:cubicBezTo>
                    <a:moveTo>
                      <a:pt x="367" y="118"/>
                    </a:moveTo>
                    <a:cubicBezTo>
                      <a:pt x="369" y="118"/>
                      <a:pt x="369" y="117"/>
                      <a:pt x="369" y="117"/>
                    </a:cubicBezTo>
                    <a:moveTo>
                      <a:pt x="369" y="117"/>
                    </a:moveTo>
                    <a:cubicBezTo>
                      <a:pt x="370" y="117"/>
                      <a:pt x="370" y="116"/>
                      <a:pt x="370" y="116"/>
                    </a:cubicBezTo>
                    <a:moveTo>
                      <a:pt x="370" y="116"/>
                    </a:moveTo>
                    <a:cubicBezTo>
                      <a:pt x="371" y="116"/>
                      <a:pt x="372" y="115"/>
                      <a:pt x="372" y="115"/>
                    </a:cubicBezTo>
                    <a:moveTo>
                      <a:pt x="372" y="115"/>
                    </a:moveTo>
                    <a:cubicBezTo>
                      <a:pt x="373" y="115"/>
                      <a:pt x="374" y="114"/>
                      <a:pt x="374" y="114"/>
                    </a:cubicBezTo>
                    <a:moveTo>
                      <a:pt x="374" y="114"/>
                    </a:moveTo>
                    <a:cubicBezTo>
                      <a:pt x="376" y="114"/>
                      <a:pt x="377" y="113"/>
                      <a:pt x="377" y="112"/>
                    </a:cubicBezTo>
                    <a:moveTo>
                      <a:pt x="377" y="112"/>
                    </a:moveTo>
                    <a:cubicBezTo>
                      <a:pt x="409" y="94"/>
                      <a:pt x="445" y="80"/>
                      <a:pt x="477" y="62"/>
                    </a:cubicBezTo>
                    <a:moveTo>
                      <a:pt x="477" y="62"/>
                    </a:moveTo>
                    <a:cubicBezTo>
                      <a:pt x="478" y="62"/>
                      <a:pt x="479" y="62"/>
                      <a:pt x="479" y="61"/>
                    </a:cubicBezTo>
                    <a:moveTo>
                      <a:pt x="479" y="61"/>
                    </a:moveTo>
                    <a:cubicBezTo>
                      <a:pt x="483" y="62"/>
                      <a:pt x="479" y="58"/>
                      <a:pt x="479" y="61"/>
                    </a:cubicBezTo>
                    <a:moveTo>
                      <a:pt x="481" y="64"/>
                    </a:moveTo>
                    <a:cubicBezTo>
                      <a:pt x="480" y="63"/>
                      <a:pt x="481" y="64"/>
                      <a:pt x="481" y="64"/>
                    </a:cubicBezTo>
                    <a:close/>
                    <a:moveTo>
                      <a:pt x="524" y="63"/>
                    </a:moveTo>
                    <a:cubicBezTo>
                      <a:pt x="510" y="69"/>
                      <a:pt x="495" y="80"/>
                      <a:pt x="484" y="90"/>
                    </a:cubicBezTo>
                    <a:cubicBezTo>
                      <a:pt x="480" y="92"/>
                      <a:pt x="475" y="96"/>
                      <a:pt x="476" y="99"/>
                    </a:cubicBezTo>
                    <a:cubicBezTo>
                      <a:pt x="504" y="96"/>
                      <a:pt x="519" y="80"/>
                      <a:pt x="542" y="71"/>
                    </a:cubicBezTo>
                    <a:cubicBezTo>
                      <a:pt x="535" y="69"/>
                      <a:pt x="530" y="65"/>
                      <a:pt x="524" y="63"/>
                    </a:cubicBezTo>
                    <a:close/>
                    <a:moveTo>
                      <a:pt x="479" y="65"/>
                    </a:moveTo>
                    <a:cubicBezTo>
                      <a:pt x="478" y="64"/>
                      <a:pt x="479" y="65"/>
                      <a:pt x="479" y="65"/>
                    </a:cubicBezTo>
                    <a:close/>
                    <a:moveTo>
                      <a:pt x="1028" y="65"/>
                    </a:moveTo>
                    <a:cubicBezTo>
                      <a:pt x="1048" y="78"/>
                      <a:pt x="1066" y="92"/>
                      <a:pt x="1086" y="106"/>
                    </a:cubicBezTo>
                    <a:cubicBezTo>
                      <a:pt x="1106" y="107"/>
                      <a:pt x="1124" y="115"/>
                      <a:pt x="1141" y="117"/>
                    </a:cubicBezTo>
                    <a:cubicBezTo>
                      <a:pt x="1105" y="97"/>
                      <a:pt x="1069" y="79"/>
                      <a:pt x="1028" y="65"/>
                    </a:cubicBezTo>
                    <a:moveTo>
                      <a:pt x="1028" y="65"/>
                    </a:moveTo>
                    <a:cubicBezTo>
                      <a:pt x="1028" y="62"/>
                      <a:pt x="1024" y="66"/>
                      <a:pt x="1028" y="65"/>
                    </a:cubicBezTo>
                    <a:moveTo>
                      <a:pt x="993" y="66"/>
                    </a:moveTo>
                    <a:cubicBezTo>
                      <a:pt x="989" y="70"/>
                      <a:pt x="981" y="71"/>
                      <a:pt x="975" y="74"/>
                    </a:cubicBezTo>
                    <a:cubicBezTo>
                      <a:pt x="984" y="83"/>
                      <a:pt x="999" y="87"/>
                      <a:pt x="1009" y="95"/>
                    </a:cubicBezTo>
                    <a:cubicBezTo>
                      <a:pt x="1032" y="95"/>
                      <a:pt x="1054" y="102"/>
                      <a:pt x="1074" y="102"/>
                    </a:cubicBezTo>
                    <a:cubicBezTo>
                      <a:pt x="1048" y="89"/>
                      <a:pt x="1021" y="77"/>
                      <a:pt x="993" y="66"/>
                    </a:cubicBezTo>
                    <a:close/>
                    <a:moveTo>
                      <a:pt x="504" y="71"/>
                    </a:moveTo>
                    <a:cubicBezTo>
                      <a:pt x="503" y="71"/>
                      <a:pt x="504" y="72"/>
                      <a:pt x="504" y="71"/>
                    </a:cubicBezTo>
                    <a:close/>
                    <a:moveTo>
                      <a:pt x="502" y="72"/>
                    </a:moveTo>
                    <a:cubicBezTo>
                      <a:pt x="476" y="83"/>
                      <a:pt x="450" y="93"/>
                      <a:pt x="428" y="107"/>
                    </a:cubicBezTo>
                    <a:moveTo>
                      <a:pt x="428" y="107"/>
                    </a:moveTo>
                    <a:cubicBezTo>
                      <a:pt x="424" y="106"/>
                      <a:pt x="428" y="110"/>
                      <a:pt x="428" y="107"/>
                    </a:cubicBezTo>
                    <a:moveTo>
                      <a:pt x="428" y="107"/>
                    </a:moveTo>
                    <a:cubicBezTo>
                      <a:pt x="442" y="105"/>
                      <a:pt x="455" y="103"/>
                      <a:pt x="468" y="100"/>
                    </a:cubicBezTo>
                    <a:cubicBezTo>
                      <a:pt x="479" y="91"/>
                      <a:pt x="490" y="82"/>
                      <a:pt x="502" y="72"/>
                    </a:cubicBezTo>
                    <a:moveTo>
                      <a:pt x="502" y="72"/>
                    </a:moveTo>
                    <a:cubicBezTo>
                      <a:pt x="503" y="72"/>
                      <a:pt x="502" y="71"/>
                      <a:pt x="502" y="72"/>
                    </a:cubicBezTo>
                    <a:moveTo>
                      <a:pt x="544" y="73"/>
                    </a:moveTo>
                    <a:cubicBezTo>
                      <a:pt x="530" y="79"/>
                      <a:pt x="513" y="89"/>
                      <a:pt x="501" y="95"/>
                    </a:cubicBezTo>
                    <a:cubicBezTo>
                      <a:pt x="522" y="94"/>
                      <a:pt x="540" y="90"/>
                      <a:pt x="561" y="90"/>
                    </a:cubicBezTo>
                    <a:cubicBezTo>
                      <a:pt x="565" y="87"/>
                      <a:pt x="567" y="83"/>
                      <a:pt x="570" y="79"/>
                    </a:cubicBezTo>
                    <a:cubicBezTo>
                      <a:pt x="561" y="81"/>
                      <a:pt x="551" y="71"/>
                      <a:pt x="544" y="73"/>
                    </a:cubicBezTo>
                    <a:close/>
                    <a:moveTo>
                      <a:pt x="933" y="85"/>
                    </a:moveTo>
                    <a:cubicBezTo>
                      <a:pt x="948" y="90"/>
                      <a:pt x="970" y="89"/>
                      <a:pt x="988" y="92"/>
                    </a:cubicBezTo>
                    <a:cubicBezTo>
                      <a:pt x="981" y="71"/>
                      <a:pt x="952" y="78"/>
                      <a:pt x="933" y="85"/>
                    </a:cubicBezTo>
                    <a:close/>
                    <a:moveTo>
                      <a:pt x="569" y="86"/>
                    </a:moveTo>
                    <a:cubicBezTo>
                      <a:pt x="568" y="86"/>
                      <a:pt x="569" y="87"/>
                      <a:pt x="569" y="86"/>
                    </a:cubicBezTo>
                    <a:moveTo>
                      <a:pt x="569" y="86"/>
                    </a:moveTo>
                    <a:cubicBezTo>
                      <a:pt x="572" y="85"/>
                      <a:pt x="575" y="84"/>
                      <a:pt x="577" y="81"/>
                    </a:cubicBezTo>
                    <a:cubicBezTo>
                      <a:pt x="574" y="81"/>
                      <a:pt x="575" y="79"/>
                      <a:pt x="572" y="80"/>
                    </a:cubicBezTo>
                    <a:cubicBezTo>
                      <a:pt x="572" y="84"/>
                      <a:pt x="569" y="82"/>
                      <a:pt x="569" y="86"/>
                    </a:cubicBezTo>
                    <a:moveTo>
                      <a:pt x="573" y="88"/>
                    </a:moveTo>
                    <a:cubicBezTo>
                      <a:pt x="569" y="87"/>
                      <a:pt x="573" y="91"/>
                      <a:pt x="573" y="88"/>
                    </a:cubicBezTo>
                    <a:moveTo>
                      <a:pt x="573" y="88"/>
                    </a:moveTo>
                    <a:cubicBezTo>
                      <a:pt x="583" y="87"/>
                      <a:pt x="594" y="88"/>
                      <a:pt x="602" y="85"/>
                    </a:cubicBezTo>
                    <a:cubicBezTo>
                      <a:pt x="590" y="84"/>
                      <a:pt x="579" y="79"/>
                      <a:pt x="573" y="88"/>
                    </a:cubicBezTo>
                    <a:moveTo>
                      <a:pt x="1092" y="83"/>
                    </a:moveTo>
                    <a:cubicBezTo>
                      <a:pt x="1092" y="83"/>
                      <a:pt x="1093" y="84"/>
                      <a:pt x="1092" y="83"/>
                    </a:cubicBezTo>
                    <a:close/>
                    <a:moveTo>
                      <a:pt x="695" y="84"/>
                    </a:moveTo>
                    <a:cubicBezTo>
                      <a:pt x="694" y="87"/>
                      <a:pt x="692" y="89"/>
                      <a:pt x="690" y="92"/>
                    </a:cubicBezTo>
                    <a:cubicBezTo>
                      <a:pt x="710" y="92"/>
                      <a:pt x="729" y="93"/>
                      <a:pt x="750" y="93"/>
                    </a:cubicBezTo>
                    <a:cubicBezTo>
                      <a:pt x="750" y="88"/>
                      <a:pt x="752" y="87"/>
                      <a:pt x="751" y="83"/>
                    </a:cubicBezTo>
                    <a:cubicBezTo>
                      <a:pt x="732" y="82"/>
                      <a:pt x="715" y="85"/>
                      <a:pt x="695" y="84"/>
                    </a:cubicBezTo>
                    <a:close/>
                    <a:moveTo>
                      <a:pt x="753" y="94"/>
                    </a:moveTo>
                    <a:cubicBezTo>
                      <a:pt x="763" y="94"/>
                      <a:pt x="770" y="92"/>
                      <a:pt x="779" y="93"/>
                    </a:cubicBezTo>
                    <a:cubicBezTo>
                      <a:pt x="780" y="89"/>
                      <a:pt x="778" y="87"/>
                      <a:pt x="778" y="83"/>
                    </a:cubicBezTo>
                    <a:cubicBezTo>
                      <a:pt x="768" y="84"/>
                      <a:pt x="749" y="77"/>
                      <a:pt x="753" y="94"/>
                    </a:cubicBezTo>
                    <a:close/>
                    <a:moveTo>
                      <a:pt x="781" y="93"/>
                    </a:moveTo>
                    <a:cubicBezTo>
                      <a:pt x="792" y="92"/>
                      <a:pt x="805" y="94"/>
                      <a:pt x="814" y="92"/>
                    </a:cubicBezTo>
                    <a:cubicBezTo>
                      <a:pt x="812" y="90"/>
                      <a:pt x="811" y="87"/>
                      <a:pt x="810" y="84"/>
                    </a:cubicBezTo>
                    <a:cubicBezTo>
                      <a:pt x="800" y="84"/>
                      <a:pt x="792" y="82"/>
                      <a:pt x="781" y="83"/>
                    </a:cubicBezTo>
                    <a:cubicBezTo>
                      <a:pt x="781" y="86"/>
                      <a:pt x="781" y="89"/>
                      <a:pt x="781" y="93"/>
                    </a:cubicBezTo>
                    <a:close/>
                    <a:moveTo>
                      <a:pt x="1094" y="84"/>
                    </a:moveTo>
                    <a:cubicBezTo>
                      <a:pt x="1095" y="85"/>
                      <a:pt x="1094" y="84"/>
                      <a:pt x="1094" y="84"/>
                    </a:cubicBezTo>
                    <a:close/>
                    <a:moveTo>
                      <a:pt x="670" y="85"/>
                    </a:moveTo>
                    <a:cubicBezTo>
                      <a:pt x="671" y="88"/>
                      <a:pt x="668" y="87"/>
                      <a:pt x="669" y="90"/>
                    </a:cubicBezTo>
                    <a:cubicBezTo>
                      <a:pt x="675" y="90"/>
                      <a:pt x="681" y="91"/>
                      <a:pt x="688" y="91"/>
                    </a:cubicBezTo>
                    <a:cubicBezTo>
                      <a:pt x="688" y="88"/>
                      <a:pt x="691" y="86"/>
                      <a:pt x="692" y="84"/>
                    </a:cubicBezTo>
                    <a:cubicBezTo>
                      <a:pt x="685" y="84"/>
                      <a:pt x="678" y="85"/>
                      <a:pt x="670" y="85"/>
                    </a:cubicBezTo>
                    <a:close/>
                    <a:moveTo>
                      <a:pt x="818" y="92"/>
                    </a:moveTo>
                    <a:cubicBezTo>
                      <a:pt x="837" y="91"/>
                      <a:pt x="856" y="90"/>
                      <a:pt x="873" y="88"/>
                    </a:cubicBezTo>
                    <a:cubicBezTo>
                      <a:pt x="858" y="83"/>
                      <a:pt x="832" y="84"/>
                      <a:pt x="814" y="85"/>
                    </a:cubicBezTo>
                    <a:cubicBezTo>
                      <a:pt x="816" y="86"/>
                      <a:pt x="816" y="90"/>
                      <a:pt x="818" y="92"/>
                    </a:cubicBezTo>
                    <a:close/>
                    <a:moveTo>
                      <a:pt x="1096" y="85"/>
                    </a:moveTo>
                    <a:cubicBezTo>
                      <a:pt x="1096" y="85"/>
                      <a:pt x="1097" y="86"/>
                      <a:pt x="1096" y="85"/>
                    </a:cubicBezTo>
                    <a:close/>
                    <a:moveTo>
                      <a:pt x="639" y="88"/>
                    </a:moveTo>
                    <a:cubicBezTo>
                      <a:pt x="648" y="88"/>
                      <a:pt x="656" y="89"/>
                      <a:pt x="665" y="90"/>
                    </a:cubicBezTo>
                    <a:cubicBezTo>
                      <a:pt x="664" y="87"/>
                      <a:pt x="666" y="87"/>
                      <a:pt x="666" y="85"/>
                    </a:cubicBezTo>
                    <a:cubicBezTo>
                      <a:pt x="658" y="87"/>
                      <a:pt x="645" y="84"/>
                      <a:pt x="639" y="88"/>
                    </a:cubicBezTo>
                    <a:close/>
                    <a:moveTo>
                      <a:pt x="931" y="86"/>
                    </a:moveTo>
                    <a:cubicBezTo>
                      <a:pt x="930" y="85"/>
                      <a:pt x="923" y="84"/>
                      <a:pt x="922" y="86"/>
                    </a:cubicBezTo>
                    <a:cubicBezTo>
                      <a:pt x="926" y="85"/>
                      <a:pt x="929" y="89"/>
                      <a:pt x="931" y="86"/>
                    </a:cubicBezTo>
                    <a:close/>
                    <a:moveTo>
                      <a:pt x="988" y="86"/>
                    </a:moveTo>
                    <a:cubicBezTo>
                      <a:pt x="988" y="86"/>
                      <a:pt x="988" y="87"/>
                      <a:pt x="988" y="87"/>
                    </a:cubicBezTo>
                    <a:cubicBezTo>
                      <a:pt x="990" y="88"/>
                      <a:pt x="991" y="90"/>
                      <a:pt x="992" y="93"/>
                    </a:cubicBezTo>
                    <a:cubicBezTo>
                      <a:pt x="995" y="93"/>
                      <a:pt x="998" y="93"/>
                      <a:pt x="1000" y="93"/>
                    </a:cubicBezTo>
                    <a:moveTo>
                      <a:pt x="1000" y="93"/>
                    </a:moveTo>
                    <a:cubicBezTo>
                      <a:pt x="1001" y="94"/>
                      <a:pt x="1001" y="93"/>
                      <a:pt x="1000" y="93"/>
                    </a:cubicBezTo>
                    <a:moveTo>
                      <a:pt x="1000" y="93"/>
                    </a:moveTo>
                    <a:cubicBezTo>
                      <a:pt x="996" y="90"/>
                      <a:pt x="993" y="87"/>
                      <a:pt x="988" y="86"/>
                    </a:cubicBezTo>
                    <a:moveTo>
                      <a:pt x="988" y="86"/>
                    </a:moveTo>
                    <a:cubicBezTo>
                      <a:pt x="987" y="84"/>
                      <a:pt x="986" y="86"/>
                      <a:pt x="988" y="86"/>
                    </a:cubicBezTo>
                    <a:moveTo>
                      <a:pt x="1173" y="127"/>
                    </a:moveTo>
                    <a:cubicBezTo>
                      <a:pt x="1173" y="128"/>
                      <a:pt x="1174" y="128"/>
                      <a:pt x="1175" y="128"/>
                    </a:cubicBezTo>
                    <a:moveTo>
                      <a:pt x="1175" y="128"/>
                    </a:moveTo>
                    <a:cubicBezTo>
                      <a:pt x="1175" y="130"/>
                      <a:pt x="1176" y="128"/>
                      <a:pt x="1175" y="128"/>
                    </a:cubicBezTo>
                    <a:moveTo>
                      <a:pt x="1175" y="128"/>
                    </a:moveTo>
                    <a:cubicBezTo>
                      <a:pt x="1175" y="127"/>
                      <a:pt x="1174" y="127"/>
                      <a:pt x="1173" y="127"/>
                    </a:cubicBezTo>
                    <a:moveTo>
                      <a:pt x="1173" y="127"/>
                    </a:moveTo>
                    <a:cubicBezTo>
                      <a:pt x="1150" y="112"/>
                      <a:pt x="1124" y="95"/>
                      <a:pt x="1098" y="86"/>
                    </a:cubicBezTo>
                    <a:cubicBezTo>
                      <a:pt x="1125" y="98"/>
                      <a:pt x="1141" y="120"/>
                      <a:pt x="1173" y="127"/>
                    </a:cubicBezTo>
                    <a:moveTo>
                      <a:pt x="885" y="86"/>
                    </a:moveTo>
                    <a:cubicBezTo>
                      <a:pt x="882" y="86"/>
                      <a:pt x="877" y="85"/>
                      <a:pt x="875" y="87"/>
                    </a:cubicBezTo>
                    <a:cubicBezTo>
                      <a:pt x="877" y="88"/>
                      <a:pt x="885" y="90"/>
                      <a:pt x="885" y="86"/>
                    </a:cubicBezTo>
                    <a:close/>
                    <a:moveTo>
                      <a:pt x="430" y="89"/>
                    </a:moveTo>
                    <a:cubicBezTo>
                      <a:pt x="429" y="88"/>
                      <a:pt x="430" y="89"/>
                      <a:pt x="430" y="89"/>
                    </a:cubicBezTo>
                    <a:close/>
                    <a:moveTo>
                      <a:pt x="564" y="92"/>
                    </a:moveTo>
                    <a:cubicBezTo>
                      <a:pt x="535" y="128"/>
                      <a:pt x="514" y="173"/>
                      <a:pt x="497" y="221"/>
                    </a:cubicBezTo>
                    <a:cubicBezTo>
                      <a:pt x="502" y="220"/>
                      <a:pt x="508" y="220"/>
                      <a:pt x="513" y="219"/>
                    </a:cubicBezTo>
                    <a:cubicBezTo>
                      <a:pt x="545" y="174"/>
                      <a:pt x="578" y="131"/>
                      <a:pt x="619" y="95"/>
                    </a:cubicBezTo>
                    <a:cubicBezTo>
                      <a:pt x="620" y="94"/>
                      <a:pt x="628" y="90"/>
                      <a:pt x="624" y="89"/>
                    </a:cubicBezTo>
                    <a:cubicBezTo>
                      <a:pt x="604" y="86"/>
                      <a:pt x="584" y="91"/>
                      <a:pt x="564" y="92"/>
                    </a:cubicBezTo>
                    <a:close/>
                    <a:moveTo>
                      <a:pt x="1055" y="192"/>
                    </a:moveTo>
                    <a:cubicBezTo>
                      <a:pt x="1019" y="154"/>
                      <a:pt x="980" y="120"/>
                      <a:pt x="937" y="90"/>
                    </a:cubicBezTo>
                    <a:cubicBezTo>
                      <a:pt x="922" y="89"/>
                      <a:pt x="906" y="86"/>
                      <a:pt x="893" y="90"/>
                    </a:cubicBezTo>
                    <a:cubicBezTo>
                      <a:pt x="901" y="111"/>
                      <a:pt x="911" y="126"/>
                      <a:pt x="923" y="142"/>
                    </a:cubicBezTo>
                    <a:cubicBezTo>
                      <a:pt x="942" y="166"/>
                      <a:pt x="959" y="189"/>
                      <a:pt x="973" y="216"/>
                    </a:cubicBezTo>
                    <a:cubicBezTo>
                      <a:pt x="1006" y="219"/>
                      <a:pt x="1038" y="222"/>
                      <a:pt x="1069" y="226"/>
                    </a:cubicBezTo>
                    <a:cubicBezTo>
                      <a:pt x="1065" y="214"/>
                      <a:pt x="1059" y="204"/>
                      <a:pt x="1055" y="192"/>
                    </a:cubicBezTo>
                    <a:close/>
                    <a:moveTo>
                      <a:pt x="366" y="122"/>
                    </a:moveTo>
                    <a:cubicBezTo>
                      <a:pt x="394" y="118"/>
                      <a:pt x="410" y="101"/>
                      <a:pt x="429" y="89"/>
                    </a:cubicBezTo>
                    <a:cubicBezTo>
                      <a:pt x="407" y="99"/>
                      <a:pt x="386" y="110"/>
                      <a:pt x="366" y="122"/>
                    </a:cubicBezTo>
                    <a:close/>
                    <a:moveTo>
                      <a:pt x="631" y="90"/>
                    </a:moveTo>
                    <a:cubicBezTo>
                      <a:pt x="632" y="88"/>
                      <a:pt x="629" y="90"/>
                      <a:pt x="629" y="91"/>
                    </a:cubicBezTo>
                    <a:cubicBezTo>
                      <a:pt x="589" y="125"/>
                      <a:pt x="552" y="168"/>
                      <a:pt x="523" y="212"/>
                    </a:cubicBezTo>
                    <a:cubicBezTo>
                      <a:pt x="522" y="214"/>
                      <a:pt x="517" y="216"/>
                      <a:pt x="519" y="219"/>
                    </a:cubicBezTo>
                    <a:cubicBezTo>
                      <a:pt x="554" y="215"/>
                      <a:pt x="591" y="214"/>
                      <a:pt x="629" y="212"/>
                    </a:cubicBezTo>
                    <a:cubicBezTo>
                      <a:pt x="645" y="177"/>
                      <a:pt x="650" y="130"/>
                      <a:pt x="663" y="93"/>
                    </a:cubicBezTo>
                    <a:cubicBezTo>
                      <a:pt x="653" y="91"/>
                      <a:pt x="643" y="90"/>
                      <a:pt x="631" y="90"/>
                    </a:cubicBezTo>
                    <a:close/>
                    <a:moveTo>
                      <a:pt x="899" y="111"/>
                    </a:moveTo>
                    <a:cubicBezTo>
                      <a:pt x="900" y="112"/>
                      <a:pt x="900" y="111"/>
                      <a:pt x="899" y="111"/>
                    </a:cubicBezTo>
                    <a:moveTo>
                      <a:pt x="899" y="111"/>
                    </a:moveTo>
                    <a:cubicBezTo>
                      <a:pt x="897" y="103"/>
                      <a:pt x="893" y="97"/>
                      <a:pt x="891" y="90"/>
                    </a:cubicBezTo>
                    <a:cubicBezTo>
                      <a:pt x="886" y="90"/>
                      <a:pt x="882" y="89"/>
                      <a:pt x="880" y="92"/>
                    </a:cubicBezTo>
                    <a:cubicBezTo>
                      <a:pt x="887" y="97"/>
                      <a:pt x="892" y="105"/>
                      <a:pt x="899" y="111"/>
                    </a:cubicBezTo>
                    <a:moveTo>
                      <a:pt x="943" y="91"/>
                    </a:moveTo>
                    <a:cubicBezTo>
                      <a:pt x="979" y="114"/>
                      <a:pt x="1013" y="148"/>
                      <a:pt x="1044" y="177"/>
                    </a:cubicBezTo>
                    <a:cubicBezTo>
                      <a:pt x="1045" y="178"/>
                      <a:pt x="1047" y="183"/>
                      <a:pt x="1049" y="180"/>
                    </a:cubicBezTo>
                    <a:cubicBezTo>
                      <a:pt x="1032" y="150"/>
                      <a:pt x="1014" y="120"/>
                      <a:pt x="991" y="95"/>
                    </a:cubicBezTo>
                    <a:cubicBezTo>
                      <a:pt x="975" y="94"/>
                      <a:pt x="961" y="91"/>
                      <a:pt x="943" y="91"/>
                    </a:cubicBezTo>
                    <a:moveTo>
                      <a:pt x="943" y="91"/>
                    </a:moveTo>
                    <a:cubicBezTo>
                      <a:pt x="943" y="88"/>
                      <a:pt x="939" y="92"/>
                      <a:pt x="943" y="91"/>
                    </a:cubicBezTo>
                    <a:moveTo>
                      <a:pt x="904" y="120"/>
                    </a:moveTo>
                    <a:cubicBezTo>
                      <a:pt x="894" y="111"/>
                      <a:pt x="886" y="98"/>
                      <a:pt x="874" y="91"/>
                    </a:cubicBezTo>
                    <a:cubicBezTo>
                      <a:pt x="857" y="93"/>
                      <a:pt x="838" y="94"/>
                      <a:pt x="820" y="95"/>
                    </a:cubicBezTo>
                    <a:cubicBezTo>
                      <a:pt x="835" y="132"/>
                      <a:pt x="849" y="170"/>
                      <a:pt x="860" y="211"/>
                    </a:cubicBezTo>
                    <a:cubicBezTo>
                      <a:pt x="885" y="210"/>
                      <a:pt x="907" y="212"/>
                      <a:pt x="931" y="214"/>
                    </a:cubicBezTo>
                    <a:cubicBezTo>
                      <a:pt x="924" y="180"/>
                      <a:pt x="914" y="150"/>
                      <a:pt x="904" y="120"/>
                    </a:cubicBezTo>
                    <a:close/>
                    <a:moveTo>
                      <a:pt x="558" y="93"/>
                    </a:moveTo>
                    <a:cubicBezTo>
                      <a:pt x="558" y="92"/>
                      <a:pt x="559" y="93"/>
                      <a:pt x="558" y="93"/>
                    </a:cubicBezTo>
                    <a:close/>
                    <a:moveTo>
                      <a:pt x="492" y="99"/>
                    </a:moveTo>
                    <a:cubicBezTo>
                      <a:pt x="485" y="102"/>
                      <a:pt x="476" y="109"/>
                      <a:pt x="468" y="114"/>
                    </a:cubicBezTo>
                    <a:cubicBezTo>
                      <a:pt x="460" y="119"/>
                      <a:pt x="450" y="123"/>
                      <a:pt x="444" y="128"/>
                    </a:cubicBezTo>
                    <a:cubicBezTo>
                      <a:pt x="432" y="139"/>
                      <a:pt x="421" y="155"/>
                      <a:pt x="411" y="169"/>
                    </a:cubicBezTo>
                    <a:cubicBezTo>
                      <a:pt x="400" y="185"/>
                      <a:pt x="389" y="201"/>
                      <a:pt x="382" y="216"/>
                    </a:cubicBezTo>
                    <a:cubicBezTo>
                      <a:pt x="390" y="219"/>
                      <a:pt x="399" y="220"/>
                      <a:pt x="407" y="223"/>
                    </a:cubicBezTo>
                    <a:cubicBezTo>
                      <a:pt x="452" y="175"/>
                      <a:pt x="501" y="130"/>
                      <a:pt x="558" y="93"/>
                    </a:cubicBezTo>
                    <a:cubicBezTo>
                      <a:pt x="533" y="97"/>
                      <a:pt x="512" y="93"/>
                      <a:pt x="492" y="99"/>
                    </a:cubicBezTo>
                    <a:close/>
                    <a:moveTo>
                      <a:pt x="667" y="93"/>
                    </a:moveTo>
                    <a:cubicBezTo>
                      <a:pt x="661" y="115"/>
                      <a:pt x="652" y="139"/>
                      <a:pt x="650" y="163"/>
                    </a:cubicBezTo>
                    <a:cubicBezTo>
                      <a:pt x="660" y="138"/>
                      <a:pt x="673" y="116"/>
                      <a:pt x="685" y="94"/>
                    </a:cubicBezTo>
                    <a:cubicBezTo>
                      <a:pt x="678" y="94"/>
                      <a:pt x="674" y="92"/>
                      <a:pt x="667" y="93"/>
                    </a:cubicBezTo>
                    <a:close/>
                    <a:moveTo>
                      <a:pt x="639" y="211"/>
                    </a:moveTo>
                    <a:cubicBezTo>
                      <a:pt x="674" y="211"/>
                      <a:pt x="707" y="208"/>
                      <a:pt x="743" y="209"/>
                    </a:cubicBezTo>
                    <a:cubicBezTo>
                      <a:pt x="745" y="170"/>
                      <a:pt x="747" y="132"/>
                      <a:pt x="750" y="95"/>
                    </a:cubicBezTo>
                    <a:cubicBezTo>
                      <a:pt x="729" y="96"/>
                      <a:pt x="708" y="95"/>
                      <a:pt x="689" y="94"/>
                    </a:cubicBezTo>
                    <a:cubicBezTo>
                      <a:pt x="669" y="129"/>
                      <a:pt x="646" y="162"/>
                      <a:pt x="639" y="211"/>
                    </a:cubicBezTo>
                    <a:close/>
                    <a:moveTo>
                      <a:pt x="825" y="120"/>
                    </a:moveTo>
                    <a:cubicBezTo>
                      <a:pt x="823" y="113"/>
                      <a:pt x="819" y="96"/>
                      <a:pt x="811" y="95"/>
                    </a:cubicBezTo>
                    <a:cubicBezTo>
                      <a:pt x="803" y="93"/>
                      <a:pt x="791" y="98"/>
                      <a:pt x="782" y="95"/>
                    </a:cubicBezTo>
                    <a:cubicBezTo>
                      <a:pt x="784" y="133"/>
                      <a:pt x="786" y="171"/>
                      <a:pt x="787" y="209"/>
                    </a:cubicBezTo>
                    <a:cubicBezTo>
                      <a:pt x="811" y="208"/>
                      <a:pt x="832" y="210"/>
                      <a:pt x="855" y="210"/>
                    </a:cubicBezTo>
                    <a:cubicBezTo>
                      <a:pt x="848" y="183"/>
                      <a:pt x="836" y="148"/>
                      <a:pt x="825" y="120"/>
                    </a:cubicBezTo>
                    <a:close/>
                    <a:moveTo>
                      <a:pt x="499" y="96"/>
                    </a:moveTo>
                    <a:cubicBezTo>
                      <a:pt x="499" y="96"/>
                      <a:pt x="500" y="97"/>
                      <a:pt x="499" y="96"/>
                    </a:cubicBezTo>
                    <a:close/>
                    <a:moveTo>
                      <a:pt x="752" y="98"/>
                    </a:moveTo>
                    <a:cubicBezTo>
                      <a:pt x="750" y="135"/>
                      <a:pt x="747" y="171"/>
                      <a:pt x="746" y="209"/>
                    </a:cubicBezTo>
                    <a:cubicBezTo>
                      <a:pt x="758" y="209"/>
                      <a:pt x="771" y="209"/>
                      <a:pt x="784" y="209"/>
                    </a:cubicBezTo>
                    <a:cubicBezTo>
                      <a:pt x="783" y="170"/>
                      <a:pt x="781" y="133"/>
                      <a:pt x="779" y="95"/>
                    </a:cubicBezTo>
                    <a:cubicBezTo>
                      <a:pt x="771" y="97"/>
                      <a:pt x="756" y="92"/>
                      <a:pt x="752" y="98"/>
                    </a:cubicBezTo>
                    <a:close/>
                    <a:moveTo>
                      <a:pt x="1056" y="191"/>
                    </a:moveTo>
                    <a:cubicBezTo>
                      <a:pt x="1069" y="202"/>
                      <a:pt x="1077" y="217"/>
                      <a:pt x="1090" y="228"/>
                    </a:cubicBezTo>
                    <a:cubicBezTo>
                      <a:pt x="1115" y="224"/>
                      <a:pt x="1137" y="218"/>
                      <a:pt x="1159" y="212"/>
                    </a:cubicBezTo>
                    <a:cubicBezTo>
                      <a:pt x="1152" y="199"/>
                      <a:pt x="1138" y="190"/>
                      <a:pt x="1126" y="180"/>
                    </a:cubicBezTo>
                    <a:cubicBezTo>
                      <a:pt x="1101" y="159"/>
                      <a:pt x="1078" y="141"/>
                      <a:pt x="1049" y="122"/>
                    </a:cubicBezTo>
                    <a:cubicBezTo>
                      <a:pt x="1032" y="112"/>
                      <a:pt x="1016" y="96"/>
                      <a:pt x="996" y="96"/>
                    </a:cubicBezTo>
                    <a:cubicBezTo>
                      <a:pt x="1020" y="124"/>
                      <a:pt x="1040" y="155"/>
                      <a:pt x="1056" y="191"/>
                    </a:cubicBezTo>
                    <a:close/>
                    <a:moveTo>
                      <a:pt x="1095" y="150"/>
                    </a:moveTo>
                    <a:cubicBezTo>
                      <a:pt x="1112" y="165"/>
                      <a:pt x="1132" y="180"/>
                      <a:pt x="1149" y="195"/>
                    </a:cubicBezTo>
                    <a:cubicBezTo>
                      <a:pt x="1154" y="200"/>
                      <a:pt x="1159" y="209"/>
                      <a:pt x="1167" y="209"/>
                    </a:cubicBezTo>
                    <a:cubicBezTo>
                      <a:pt x="1146" y="171"/>
                      <a:pt x="1113" y="136"/>
                      <a:pt x="1081" y="107"/>
                    </a:cubicBezTo>
                    <a:cubicBezTo>
                      <a:pt x="1060" y="104"/>
                      <a:pt x="1036" y="99"/>
                      <a:pt x="1015" y="98"/>
                    </a:cubicBezTo>
                    <a:cubicBezTo>
                      <a:pt x="1044" y="113"/>
                      <a:pt x="1069" y="132"/>
                      <a:pt x="1095" y="150"/>
                    </a:cubicBezTo>
                    <a:close/>
                    <a:moveTo>
                      <a:pt x="555" y="99"/>
                    </a:moveTo>
                    <a:cubicBezTo>
                      <a:pt x="506" y="130"/>
                      <a:pt x="457" y="172"/>
                      <a:pt x="418" y="216"/>
                    </a:cubicBezTo>
                    <a:cubicBezTo>
                      <a:pt x="417" y="218"/>
                      <a:pt x="411" y="220"/>
                      <a:pt x="414" y="224"/>
                    </a:cubicBezTo>
                    <a:cubicBezTo>
                      <a:pt x="438" y="232"/>
                      <a:pt x="467" y="223"/>
                      <a:pt x="494" y="221"/>
                    </a:cubicBezTo>
                    <a:cubicBezTo>
                      <a:pt x="510" y="176"/>
                      <a:pt x="530" y="135"/>
                      <a:pt x="555" y="99"/>
                    </a:cubicBezTo>
                    <a:moveTo>
                      <a:pt x="555" y="99"/>
                    </a:moveTo>
                    <a:cubicBezTo>
                      <a:pt x="556" y="99"/>
                      <a:pt x="555" y="98"/>
                      <a:pt x="555" y="99"/>
                    </a:cubicBezTo>
                    <a:moveTo>
                      <a:pt x="484" y="101"/>
                    </a:moveTo>
                    <a:cubicBezTo>
                      <a:pt x="483" y="101"/>
                      <a:pt x="484" y="102"/>
                      <a:pt x="484" y="101"/>
                    </a:cubicBezTo>
                    <a:close/>
                    <a:moveTo>
                      <a:pt x="1118" y="101"/>
                    </a:moveTo>
                    <a:cubicBezTo>
                      <a:pt x="1119" y="103"/>
                      <a:pt x="1119" y="101"/>
                      <a:pt x="1118" y="101"/>
                    </a:cubicBezTo>
                    <a:moveTo>
                      <a:pt x="1118" y="101"/>
                    </a:moveTo>
                    <a:cubicBezTo>
                      <a:pt x="1118" y="100"/>
                      <a:pt x="1117" y="101"/>
                      <a:pt x="1118" y="101"/>
                    </a:cubicBezTo>
                    <a:moveTo>
                      <a:pt x="454" y="119"/>
                    </a:moveTo>
                    <a:cubicBezTo>
                      <a:pt x="452" y="119"/>
                      <a:pt x="454" y="120"/>
                      <a:pt x="454" y="119"/>
                    </a:cubicBezTo>
                    <a:moveTo>
                      <a:pt x="454" y="119"/>
                    </a:moveTo>
                    <a:cubicBezTo>
                      <a:pt x="464" y="113"/>
                      <a:pt x="474" y="108"/>
                      <a:pt x="483" y="101"/>
                    </a:cubicBezTo>
                    <a:cubicBezTo>
                      <a:pt x="466" y="100"/>
                      <a:pt x="462" y="111"/>
                      <a:pt x="454" y="119"/>
                    </a:cubicBezTo>
                    <a:moveTo>
                      <a:pt x="1120" y="103"/>
                    </a:moveTo>
                    <a:cubicBezTo>
                      <a:pt x="1120" y="103"/>
                      <a:pt x="1121" y="104"/>
                      <a:pt x="1120" y="103"/>
                    </a:cubicBezTo>
                    <a:close/>
                    <a:moveTo>
                      <a:pt x="1075" y="104"/>
                    </a:moveTo>
                    <a:cubicBezTo>
                      <a:pt x="1075" y="104"/>
                      <a:pt x="1076" y="105"/>
                      <a:pt x="1075" y="104"/>
                    </a:cubicBezTo>
                    <a:close/>
                    <a:moveTo>
                      <a:pt x="417" y="112"/>
                    </a:moveTo>
                    <a:cubicBezTo>
                      <a:pt x="407" y="115"/>
                      <a:pt x="396" y="125"/>
                      <a:pt x="386" y="131"/>
                    </a:cubicBezTo>
                    <a:cubicBezTo>
                      <a:pt x="357" y="148"/>
                      <a:pt x="335" y="165"/>
                      <a:pt x="317" y="191"/>
                    </a:cubicBezTo>
                    <a:cubicBezTo>
                      <a:pt x="325" y="195"/>
                      <a:pt x="332" y="200"/>
                      <a:pt x="342" y="203"/>
                    </a:cubicBezTo>
                    <a:cubicBezTo>
                      <a:pt x="374" y="176"/>
                      <a:pt x="406" y="149"/>
                      <a:pt x="442" y="127"/>
                    </a:cubicBezTo>
                    <a:cubicBezTo>
                      <a:pt x="445" y="123"/>
                      <a:pt x="449" y="119"/>
                      <a:pt x="453" y="115"/>
                    </a:cubicBezTo>
                    <a:cubicBezTo>
                      <a:pt x="455" y="112"/>
                      <a:pt x="466" y="105"/>
                      <a:pt x="461" y="104"/>
                    </a:cubicBezTo>
                    <a:cubicBezTo>
                      <a:pt x="446" y="109"/>
                      <a:pt x="430" y="107"/>
                      <a:pt x="417" y="112"/>
                    </a:cubicBezTo>
                    <a:close/>
                    <a:moveTo>
                      <a:pt x="1210" y="188"/>
                    </a:moveTo>
                    <a:cubicBezTo>
                      <a:pt x="1213" y="187"/>
                      <a:pt x="1214" y="184"/>
                      <a:pt x="1216" y="183"/>
                    </a:cubicBezTo>
                    <a:cubicBezTo>
                      <a:pt x="1210" y="171"/>
                      <a:pt x="1197" y="162"/>
                      <a:pt x="1185" y="152"/>
                    </a:cubicBezTo>
                    <a:cubicBezTo>
                      <a:pt x="1175" y="143"/>
                      <a:pt x="1164" y="130"/>
                      <a:pt x="1151" y="123"/>
                    </a:cubicBezTo>
                    <a:cubicBezTo>
                      <a:pt x="1135" y="116"/>
                      <a:pt x="1116" y="117"/>
                      <a:pt x="1097" y="110"/>
                    </a:cubicBezTo>
                    <a:cubicBezTo>
                      <a:pt x="1096" y="110"/>
                      <a:pt x="1094" y="110"/>
                      <a:pt x="1094" y="111"/>
                    </a:cubicBezTo>
                    <a:cubicBezTo>
                      <a:pt x="1136" y="132"/>
                      <a:pt x="1174" y="163"/>
                      <a:pt x="1210" y="188"/>
                    </a:cubicBezTo>
                    <a:close/>
                    <a:moveTo>
                      <a:pt x="1090" y="112"/>
                    </a:moveTo>
                    <a:cubicBezTo>
                      <a:pt x="1090" y="112"/>
                      <a:pt x="1090" y="113"/>
                      <a:pt x="1090" y="113"/>
                    </a:cubicBezTo>
                    <a:cubicBezTo>
                      <a:pt x="1124" y="138"/>
                      <a:pt x="1146" y="175"/>
                      <a:pt x="1173" y="207"/>
                    </a:cubicBezTo>
                    <a:cubicBezTo>
                      <a:pt x="1185" y="202"/>
                      <a:pt x="1198" y="198"/>
                      <a:pt x="1206" y="190"/>
                    </a:cubicBezTo>
                    <a:cubicBezTo>
                      <a:pt x="1170" y="161"/>
                      <a:pt x="1132" y="134"/>
                      <a:pt x="1090" y="112"/>
                    </a:cubicBezTo>
                    <a:moveTo>
                      <a:pt x="1090" y="112"/>
                    </a:moveTo>
                    <a:cubicBezTo>
                      <a:pt x="1090" y="110"/>
                      <a:pt x="1089" y="112"/>
                      <a:pt x="1090" y="112"/>
                    </a:cubicBezTo>
                    <a:moveTo>
                      <a:pt x="405" y="116"/>
                    </a:moveTo>
                    <a:cubicBezTo>
                      <a:pt x="389" y="116"/>
                      <a:pt x="383" y="126"/>
                      <a:pt x="374" y="134"/>
                    </a:cubicBezTo>
                    <a:moveTo>
                      <a:pt x="374" y="134"/>
                    </a:moveTo>
                    <a:cubicBezTo>
                      <a:pt x="373" y="134"/>
                      <a:pt x="372" y="135"/>
                      <a:pt x="371" y="136"/>
                    </a:cubicBezTo>
                    <a:moveTo>
                      <a:pt x="371" y="136"/>
                    </a:moveTo>
                    <a:cubicBezTo>
                      <a:pt x="370" y="136"/>
                      <a:pt x="370" y="136"/>
                      <a:pt x="370" y="137"/>
                    </a:cubicBezTo>
                    <a:moveTo>
                      <a:pt x="370" y="137"/>
                    </a:moveTo>
                    <a:cubicBezTo>
                      <a:pt x="369" y="137"/>
                      <a:pt x="370" y="138"/>
                      <a:pt x="370" y="137"/>
                    </a:cubicBezTo>
                    <a:moveTo>
                      <a:pt x="370" y="137"/>
                    </a:moveTo>
                    <a:cubicBezTo>
                      <a:pt x="371" y="137"/>
                      <a:pt x="371" y="136"/>
                      <a:pt x="371" y="136"/>
                    </a:cubicBezTo>
                    <a:moveTo>
                      <a:pt x="371" y="136"/>
                    </a:moveTo>
                    <a:cubicBezTo>
                      <a:pt x="373" y="136"/>
                      <a:pt x="374" y="135"/>
                      <a:pt x="374" y="134"/>
                    </a:cubicBezTo>
                    <a:moveTo>
                      <a:pt x="374" y="134"/>
                    </a:moveTo>
                    <a:cubicBezTo>
                      <a:pt x="385" y="129"/>
                      <a:pt x="395" y="122"/>
                      <a:pt x="405" y="116"/>
                    </a:cubicBezTo>
                    <a:moveTo>
                      <a:pt x="405" y="116"/>
                    </a:moveTo>
                    <a:cubicBezTo>
                      <a:pt x="409" y="117"/>
                      <a:pt x="405" y="113"/>
                      <a:pt x="405" y="116"/>
                    </a:cubicBezTo>
                    <a:moveTo>
                      <a:pt x="1142" y="119"/>
                    </a:moveTo>
                    <a:cubicBezTo>
                      <a:pt x="1142" y="118"/>
                      <a:pt x="1143" y="119"/>
                      <a:pt x="1142" y="119"/>
                    </a:cubicBezTo>
                    <a:close/>
                    <a:moveTo>
                      <a:pt x="365" y="119"/>
                    </a:moveTo>
                    <a:cubicBezTo>
                      <a:pt x="364" y="119"/>
                      <a:pt x="365" y="120"/>
                      <a:pt x="365" y="119"/>
                    </a:cubicBezTo>
                    <a:close/>
                    <a:moveTo>
                      <a:pt x="363" y="120"/>
                    </a:moveTo>
                    <a:cubicBezTo>
                      <a:pt x="361" y="121"/>
                      <a:pt x="363" y="122"/>
                      <a:pt x="363" y="120"/>
                    </a:cubicBezTo>
                    <a:moveTo>
                      <a:pt x="363" y="120"/>
                    </a:moveTo>
                    <a:cubicBezTo>
                      <a:pt x="364" y="120"/>
                      <a:pt x="363" y="119"/>
                      <a:pt x="363" y="120"/>
                    </a:cubicBezTo>
                    <a:moveTo>
                      <a:pt x="326" y="147"/>
                    </a:moveTo>
                    <a:cubicBezTo>
                      <a:pt x="312" y="157"/>
                      <a:pt x="291" y="166"/>
                      <a:pt x="308" y="182"/>
                    </a:cubicBezTo>
                    <a:cubicBezTo>
                      <a:pt x="333" y="161"/>
                      <a:pt x="362" y="143"/>
                      <a:pt x="385" y="120"/>
                    </a:cubicBezTo>
                    <a:cubicBezTo>
                      <a:pt x="360" y="124"/>
                      <a:pt x="343" y="136"/>
                      <a:pt x="326" y="147"/>
                    </a:cubicBezTo>
                    <a:close/>
                    <a:moveTo>
                      <a:pt x="360" y="122"/>
                    </a:moveTo>
                    <a:cubicBezTo>
                      <a:pt x="359" y="122"/>
                      <a:pt x="360" y="123"/>
                      <a:pt x="360" y="122"/>
                    </a:cubicBezTo>
                    <a:close/>
                    <a:moveTo>
                      <a:pt x="365" y="123"/>
                    </a:moveTo>
                    <a:cubicBezTo>
                      <a:pt x="364" y="123"/>
                      <a:pt x="365" y="124"/>
                      <a:pt x="365" y="123"/>
                    </a:cubicBezTo>
                    <a:close/>
                    <a:moveTo>
                      <a:pt x="357" y="124"/>
                    </a:moveTo>
                    <a:cubicBezTo>
                      <a:pt x="356" y="124"/>
                      <a:pt x="358" y="125"/>
                      <a:pt x="357" y="124"/>
                    </a:cubicBezTo>
                    <a:close/>
                    <a:moveTo>
                      <a:pt x="354" y="126"/>
                    </a:moveTo>
                    <a:cubicBezTo>
                      <a:pt x="354" y="126"/>
                      <a:pt x="355" y="127"/>
                      <a:pt x="354" y="126"/>
                    </a:cubicBezTo>
                    <a:close/>
                    <a:moveTo>
                      <a:pt x="910" y="129"/>
                    </a:moveTo>
                    <a:cubicBezTo>
                      <a:pt x="919" y="156"/>
                      <a:pt x="927" y="184"/>
                      <a:pt x="934" y="214"/>
                    </a:cubicBezTo>
                    <a:cubicBezTo>
                      <a:pt x="946" y="215"/>
                      <a:pt x="959" y="215"/>
                      <a:pt x="970" y="216"/>
                    </a:cubicBezTo>
                    <a:cubicBezTo>
                      <a:pt x="952" y="185"/>
                      <a:pt x="933" y="155"/>
                      <a:pt x="910" y="129"/>
                    </a:cubicBezTo>
                    <a:moveTo>
                      <a:pt x="910" y="129"/>
                    </a:moveTo>
                    <a:cubicBezTo>
                      <a:pt x="911" y="125"/>
                      <a:pt x="907" y="129"/>
                      <a:pt x="910" y="129"/>
                    </a:cubicBezTo>
                    <a:moveTo>
                      <a:pt x="1166" y="129"/>
                    </a:moveTo>
                    <a:cubicBezTo>
                      <a:pt x="1166" y="129"/>
                      <a:pt x="1167" y="130"/>
                      <a:pt x="1166" y="129"/>
                    </a:cubicBezTo>
                    <a:close/>
                    <a:moveTo>
                      <a:pt x="1222" y="166"/>
                    </a:moveTo>
                    <a:cubicBezTo>
                      <a:pt x="1218" y="155"/>
                      <a:pt x="1206" y="150"/>
                      <a:pt x="1198" y="144"/>
                    </a:cubicBezTo>
                    <a:cubicBezTo>
                      <a:pt x="1189" y="138"/>
                      <a:pt x="1180" y="130"/>
                      <a:pt x="1168" y="130"/>
                    </a:cubicBezTo>
                    <a:cubicBezTo>
                      <a:pt x="1187" y="141"/>
                      <a:pt x="1204" y="154"/>
                      <a:pt x="1222" y="166"/>
                    </a:cubicBezTo>
                    <a:close/>
                    <a:moveTo>
                      <a:pt x="1165" y="132"/>
                    </a:moveTo>
                    <a:cubicBezTo>
                      <a:pt x="1166" y="133"/>
                      <a:pt x="1165" y="132"/>
                      <a:pt x="1165" y="132"/>
                    </a:cubicBezTo>
                    <a:close/>
                    <a:moveTo>
                      <a:pt x="1169" y="134"/>
                    </a:moveTo>
                    <a:cubicBezTo>
                      <a:pt x="1187" y="147"/>
                      <a:pt x="1204" y="167"/>
                      <a:pt x="1220" y="178"/>
                    </a:cubicBezTo>
                    <a:cubicBezTo>
                      <a:pt x="1220" y="175"/>
                      <a:pt x="1223" y="174"/>
                      <a:pt x="1222" y="170"/>
                    </a:cubicBezTo>
                    <a:cubicBezTo>
                      <a:pt x="1206" y="157"/>
                      <a:pt x="1188" y="145"/>
                      <a:pt x="1169" y="134"/>
                    </a:cubicBezTo>
                    <a:moveTo>
                      <a:pt x="1169" y="134"/>
                    </a:moveTo>
                    <a:cubicBezTo>
                      <a:pt x="1168" y="132"/>
                      <a:pt x="1168" y="134"/>
                      <a:pt x="1169" y="134"/>
                    </a:cubicBezTo>
                    <a:moveTo>
                      <a:pt x="434" y="136"/>
                    </a:moveTo>
                    <a:cubicBezTo>
                      <a:pt x="433" y="136"/>
                      <a:pt x="433" y="136"/>
                      <a:pt x="433" y="137"/>
                    </a:cubicBezTo>
                    <a:moveTo>
                      <a:pt x="433" y="137"/>
                    </a:moveTo>
                    <a:cubicBezTo>
                      <a:pt x="401" y="157"/>
                      <a:pt x="372" y="180"/>
                      <a:pt x="345" y="205"/>
                    </a:cubicBezTo>
                    <a:cubicBezTo>
                      <a:pt x="357" y="209"/>
                      <a:pt x="367" y="213"/>
                      <a:pt x="379" y="215"/>
                    </a:cubicBezTo>
                    <a:cubicBezTo>
                      <a:pt x="394" y="187"/>
                      <a:pt x="413" y="162"/>
                      <a:pt x="433" y="137"/>
                    </a:cubicBezTo>
                    <a:moveTo>
                      <a:pt x="433" y="137"/>
                    </a:moveTo>
                    <a:cubicBezTo>
                      <a:pt x="434" y="137"/>
                      <a:pt x="434" y="136"/>
                      <a:pt x="434" y="136"/>
                    </a:cubicBezTo>
                    <a:moveTo>
                      <a:pt x="434" y="136"/>
                    </a:moveTo>
                    <a:cubicBezTo>
                      <a:pt x="435" y="135"/>
                      <a:pt x="434" y="135"/>
                      <a:pt x="434" y="136"/>
                    </a:cubicBezTo>
                    <a:moveTo>
                      <a:pt x="327" y="142"/>
                    </a:moveTo>
                    <a:cubicBezTo>
                      <a:pt x="327" y="141"/>
                      <a:pt x="328" y="142"/>
                      <a:pt x="327" y="142"/>
                    </a:cubicBezTo>
                    <a:close/>
                    <a:moveTo>
                      <a:pt x="325" y="143"/>
                    </a:moveTo>
                    <a:cubicBezTo>
                      <a:pt x="319" y="146"/>
                      <a:pt x="312" y="150"/>
                      <a:pt x="308" y="156"/>
                    </a:cubicBezTo>
                    <a:moveTo>
                      <a:pt x="308" y="156"/>
                    </a:moveTo>
                    <a:cubicBezTo>
                      <a:pt x="307" y="156"/>
                      <a:pt x="307" y="156"/>
                      <a:pt x="307" y="157"/>
                    </a:cubicBezTo>
                    <a:moveTo>
                      <a:pt x="307" y="157"/>
                    </a:moveTo>
                    <a:cubicBezTo>
                      <a:pt x="306" y="157"/>
                      <a:pt x="306" y="157"/>
                      <a:pt x="306" y="158"/>
                    </a:cubicBezTo>
                    <a:moveTo>
                      <a:pt x="306" y="158"/>
                    </a:moveTo>
                    <a:cubicBezTo>
                      <a:pt x="305" y="158"/>
                      <a:pt x="306" y="159"/>
                      <a:pt x="306" y="158"/>
                    </a:cubicBezTo>
                    <a:moveTo>
                      <a:pt x="306" y="158"/>
                    </a:moveTo>
                    <a:cubicBezTo>
                      <a:pt x="307" y="158"/>
                      <a:pt x="307" y="158"/>
                      <a:pt x="307" y="157"/>
                    </a:cubicBezTo>
                    <a:moveTo>
                      <a:pt x="307" y="157"/>
                    </a:moveTo>
                    <a:cubicBezTo>
                      <a:pt x="308" y="157"/>
                      <a:pt x="308" y="157"/>
                      <a:pt x="308" y="156"/>
                    </a:cubicBezTo>
                    <a:moveTo>
                      <a:pt x="308" y="156"/>
                    </a:moveTo>
                    <a:cubicBezTo>
                      <a:pt x="314" y="152"/>
                      <a:pt x="320" y="147"/>
                      <a:pt x="325" y="143"/>
                    </a:cubicBezTo>
                    <a:moveTo>
                      <a:pt x="325" y="143"/>
                    </a:moveTo>
                    <a:cubicBezTo>
                      <a:pt x="327" y="142"/>
                      <a:pt x="325" y="141"/>
                      <a:pt x="325" y="143"/>
                    </a:cubicBezTo>
                    <a:moveTo>
                      <a:pt x="338" y="163"/>
                    </a:moveTo>
                    <a:cubicBezTo>
                      <a:pt x="337" y="163"/>
                      <a:pt x="337" y="163"/>
                      <a:pt x="337" y="164"/>
                    </a:cubicBezTo>
                    <a:moveTo>
                      <a:pt x="337" y="164"/>
                    </a:moveTo>
                    <a:cubicBezTo>
                      <a:pt x="327" y="170"/>
                      <a:pt x="317" y="176"/>
                      <a:pt x="310" y="185"/>
                    </a:cubicBezTo>
                    <a:cubicBezTo>
                      <a:pt x="312" y="185"/>
                      <a:pt x="312" y="188"/>
                      <a:pt x="315" y="188"/>
                    </a:cubicBezTo>
                    <a:cubicBezTo>
                      <a:pt x="322" y="180"/>
                      <a:pt x="330" y="172"/>
                      <a:pt x="337" y="164"/>
                    </a:cubicBezTo>
                    <a:moveTo>
                      <a:pt x="337" y="164"/>
                    </a:moveTo>
                    <a:cubicBezTo>
                      <a:pt x="338" y="164"/>
                      <a:pt x="338" y="163"/>
                      <a:pt x="338" y="163"/>
                    </a:cubicBezTo>
                    <a:moveTo>
                      <a:pt x="338" y="163"/>
                    </a:moveTo>
                    <a:cubicBezTo>
                      <a:pt x="339" y="162"/>
                      <a:pt x="338" y="162"/>
                      <a:pt x="338" y="163"/>
                    </a:cubicBezTo>
                    <a:moveTo>
                      <a:pt x="648" y="165"/>
                    </a:moveTo>
                    <a:cubicBezTo>
                      <a:pt x="647" y="164"/>
                      <a:pt x="648" y="165"/>
                      <a:pt x="648" y="165"/>
                    </a:cubicBezTo>
                    <a:close/>
                    <a:moveTo>
                      <a:pt x="1279" y="213"/>
                    </a:moveTo>
                    <a:cubicBezTo>
                      <a:pt x="1279" y="213"/>
                      <a:pt x="1280" y="214"/>
                      <a:pt x="1280" y="214"/>
                    </a:cubicBezTo>
                    <a:moveTo>
                      <a:pt x="1280" y="214"/>
                    </a:moveTo>
                    <a:cubicBezTo>
                      <a:pt x="1280" y="214"/>
                      <a:pt x="1281" y="214"/>
                      <a:pt x="1281" y="215"/>
                    </a:cubicBezTo>
                    <a:moveTo>
                      <a:pt x="1281" y="215"/>
                    </a:moveTo>
                    <a:cubicBezTo>
                      <a:pt x="1281" y="215"/>
                      <a:pt x="1282" y="215"/>
                      <a:pt x="1282" y="215"/>
                    </a:cubicBezTo>
                    <a:moveTo>
                      <a:pt x="1282" y="215"/>
                    </a:moveTo>
                    <a:cubicBezTo>
                      <a:pt x="1282" y="216"/>
                      <a:pt x="1283" y="216"/>
                      <a:pt x="1283" y="216"/>
                    </a:cubicBezTo>
                    <a:moveTo>
                      <a:pt x="1283" y="216"/>
                    </a:moveTo>
                    <a:cubicBezTo>
                      <a:pt x="1283" y="217"/>
                      <a:pt x="1284" y="217"/>
                      <a:pt x="1284" y="217"/>
                    </a:cubicBezTo>
                    <a:moveTo>
                      <a:pt x="1284" y="217"/>
                    </a:moveTo>
                    <a:cubicBezTo>
                      <a:pt x="1284" y="218"/>
                      <a:pt x="1285" y="218"/>
                      <a:pt x="1285" y="218"/>
                    </a:cubicBezTo>
                    <a:moveTo>
                      <a:pt x="1285" y="218"/>
                    </a:moveTo>
                    <a:cubicBezTo>
                      <a:pt x="1285" y="219"/>
                      <a:pt x="1286" y="219"/>
                      <a:pt x="1286" y="219"/>
                    </a:cubicBezTo>
                    <a:moveTo>
                      <a:pt x="1286" y="219"/>
                    </a:moveTo>
                    <a:cubicBezTo>
                      <a:pt x="1286" y="220"/>
                      <a:pt x="1287" y="220"/>
                      <a:pt x="1287" y="220"/>
                    </a:cubicBezTo>
                    <a:moveTo>
                      <a:pt x="1287" y="220"/>
                    </a:moveTo>
                    <a:cubicBezTo>
                      <a:pt x="1288" y="222"/>
                      <a:pt x="1288" y="220"/>
                      <a:pt x="1287" y="220"/>
                    </a:cubicBezTo>
                    <a:moveTo>
                      <a:pt x="1287" y="220"/>
                    </a:moveTo>
                    <a:cubicBezTo>
                      <a:pt x="1287" y="219"/>
                      <a:pt x="1287" y="219"/>
                      <a:pt x="1286" y="219"/>
                    </a:cubicBezTo>
                    <a:moveTo>
                      <a:pt x="1286" y="219"/>
                    </a:moveTo>
                    <a:cubicBezTo>
                      <a:pt x="1286" y="219"/>
                      <a:pt x="1286" y="218"/>
                      <a:pt x="1285" y="218"/>
                    </a:cubicBezTo>
                    <a:moveTo>
                      <a:pt x="1285" y="218"/>
                    </a:moveTo>
                    <a:cubicBezTo>
                      <a:pt x="1285" y="218"/>
                      <a:pt x="1285" y="217"/>
                      <a:pt x="1284" y="217"/>
                    </a:cubicBezTo>
                    <a:moveTo>
                      <a:pt x="1284" y="217"/>
                    </a:moveTo>
                    <a:cubicBezTo>
                      <a:pt x="1284" y="217"/>
                      <a:pt x="1284" y="216"/>
                      <a:pt x="1283" y="216"/>
                    </a:cubicBezTo>
                    <a:moveTo>
                      <a:pt x="1283" y="216"/>
                    </a:moveTo>
                    <a:cubicBezTo>
                      <a:pt x="1283" y="216"/>
                      <a:pt x="1283" y="216"/>
                      <a:pt x="1282" y="215"/>
                    </a:cubicBezTo>
                    <a:moveTo>
                      <a:pt x="1282" y="215"/>
                    </a:moveTo>
                    <a:cubicBezTo>
                      <a:pt x="1283" y="215"/>
                      <a:pt x="1282" y="215"/>
                      <a:pt x="1281" y="215"/>
                    </a:cubicBezTo>
                    <a:moveTo>
                      <a:pt x="1281" y="215"/>
                    </a:moveTo>
                    <a:cubicBezTo>
                      <a:pt x="1282" y="214"/>
                      <a:pt x="1281" y="214"/>
                      <a:pt x="1280" y="214"/>
                    </a:cubicBezTo>
                    <a:moveTo>
                      <a:pt x="1280" y="214"/>
                    </a:moveTo>
                    <a:cubicBezTo>
                      <a:pt x="1281" y="213"/>
                      <a:pt x="1280" y="213"/>
                      <a:pt x="1279" y="213"/>
                    </a:cubicBezTo>
                    <a:moveTo>
                      <a:pt x="1279" y="213"/>
                    </a:moveTo>
                    <a:cubicBezTo>
                      <a:pt x="1262" y="195"/>
                      <a:pt x="1245" y="179"/>
                      <a:pt x="1225" y="165"/>
                    </a:cubicBezTo>
                    <a:cubicBezTo>
                      <a:pt x="1226" y="171"/>
                      <a:pt x="1233" y="175"/>
                      <a:pt x="1237" y="178"/>
                    </a:cubicBezTo>
                    <a:cubicBezTo>
                      <a:pt x="1251" y="189"/>
                      <a:pt x="1265" y="201"/>
                      <a:pt x="1279" y="213"/>
                    </a:cubicBezTo>
                    <a:moveTo>
                      <a:pt x="188" y="288"/>
                    </a:moveTo>
                    <a:cubicBezTo>
                      <a:pt x="205" y="283"/>
                      <a:pt x="212" y="269"/>
                      <a:pt x="223" y="257"/>
                    </a:cubicBezTo>
                    <a:cubicBezTo>
                      <a:pt x="250" y="230"/>
                      <a:pt x="277" y="206"/>
                      <a:pt x="305" y="183"/>
                    </a:cubicBezTo>
                    <a:cubicBezTo>
                      <a:pt x="301" y="179"/>
                      <a:pt x="300" y="173"/>
                      <a:pt x="298" y="167"/>
                    </a:cubicBezTo>
                    <a:cubicBezTo>
                      <a:pt x="257" y="204"/>
                      <a:pt x="219" y="243"/>
                      <a:pt x="188" y="288"/>
                    </a:cubicBezTo>
                    <a:close/>
                    <a:moveTo>
                      <a:pt x="1351" y="296"/>
                    </a:moveTo>
                    <a:cubicBezTo>
                      <a:pt x="1351" y="297"/>
                      <a:pt x="1352" y="297"/>
                      <a:pt x="1352" y="297"/>
                    </a:cubicBezTo>
                    <a:moveTo>
                      <a:pt x="1352" y="297"/>
                    </a:moveTo>
                    <a:cubicBezTo>
                      <a:pt x="1353" y="298"/>
                      <a:pt x="1354" y="297"/>
                      <a:pt x="1352" y="297"/>
                    </a:cubicBezTo>
                    <a:moveTo>
                      <a:pt x="1352" y="297"/>
                    </a:moveTo>
                    <a:cubicBezTo>
                      <a:pt x="1353" y="296"/>
                      <a:pt x="1352" y="296"/>
                      <a:pt x="1351" y="296"/>
                    </a:cubicBezTo>
                    <a:moveTo>
                      <a:pt x="1351" y="296"/>
                    </a:moveTo>
                    <a:cubicBezTo>
                      <a:pt x="1351" y="295"/>
                      <a:pt x="1351" y="293"/>
                      <a:pt x="1350" y="293"/>
                    </a:cubicBezTo>
                    <a:cubicBezTo>
                      <a:pt x="1320" y="252"/>
                      <a:pt x="1281" y="217"/>
                      <a:pt x="1241" y="185"/>
                    </a:cubicBezTo>
                    <a:cubicBezTo>
                      <a:pt x="1236" y="181"/>
                      <a:pt x="1231" y="174"/>
                      <a:pt x="1224" y="173"/>
                    </a:cubicBezTo>
                    <a:cubicBezTo>
                      <a:pt x="1218" y="183"/>
                      <a:pt x="1228" y="188"/>
                      <a:pt x="1233" y="194"/>
                    </a:cubicBezTo>
                    <a:cubicBezTo>
                      <a:pt x="1239" y="201"/>
                      <a:pt x="1244" y="208"/>
                      <a:pt x="1250" y="214"/>
                    </a:cubicBezTo>
                    <a:cubicBezTo>
                      <a:pt x="1267" y="233"/>
                      <a:pt x="1280" y="256"/>
                      <a:pt x="1300" y="274"/>
                    </a:cubicBezTo>
                    <a:cubicBezTo>
                      <a:pt x="1319" y="279"/>
                      <a:pt x="1335" y="288"/>
                      <a:pt x="1351" y="296"/>
                    </a:cubicBezTo>
                    <a:moveTo>
                      <a:pt x="1218" y="184"/>
                    </a:moveTo>
                    <a:cubicBezTo>
                      <a:pt x="1217" y="187"/>
                      <a:pt x="1213" y="188"/>
                      <a:pt x="1211" y="191"/>
                    </a:cubicBezTo>
                    <a:cubicBezTo>
                      <a:pt x="1231" y="205"/>
                      <a:pt x="1249" y="226"/>
                      <a:pt x="1267" y="239"/>
                    </a:cubicBezTo>
                    <a:cubicBezTo>
                      <a:pt x="1250" y="220"/>
                      <a:pt x="1237" y="199"/>
                      <a:pt x="1218" y="184"/>
                    </a:cubicBezTo>
                    <a:close/>
                    <a:moveTo>
                      <a:pt x="207" y="280"/>
                    </a:moveTo>
                    <a:cubicBezTo>
                      <a:pt x="206" y="280"/>
                      <a:pt x="207" y="281"/>
                      <a:pt x="207" y="280"/>
                    </a:cubicBezTo>
                    <a:moveTo>
                      <a:pt x="207" y="280"/>
                    </a:moveTo>
                    <a:cubicBezTo>
                      <a:pt x="225" y="274"/>
                      <a:pt x="241" y="267"/>
                      <a:pt x="260" y="263"/>
                    </a:cubicBezTo>
                    <a:cubicBezTo>
                      <a:pt x="272" y="244"/>
                      <a:pt x="285" y="224"/>
                      <a:pt x="299" y="206"/>
                    </a:cubicBezTo>
                    <a:cubicBezTo>
                      <a:pt x="304" y="200"/>
                      <a:pt x="311" y="196"/>
                      <a:pt x="312" y="189"/>
                    </a:cubicBezTo>
                    <a:cubicBezTo>
                      <a:pt x="306" y="183"/>
                      <a:pt x="301" y="190"/>
                      <a:pt x="297" y="193"/>
                    </a:cubicBezTo>
                    <a:cubicBezTo>
                      <a:pt x="268" y="218"/>
                      <a:pt x="231" y="250"/>
                      <a:pt x="207" y="280"/>
                    </a:cubicBezTo>
                    <a:moveTo>
                      <a:pt x="267" y="192"/>
                    </a:moveTo>
                    <a:cubicBezTo>
                      <a:pt x="266" y="192"/>
                      <a:pt x="266" y="193"/>
                      <a:pt x="266" y="193"/>
                    </a:cubicBezTo>
                    <a:moveTo>
                      <a:pt x="266" y="193"/>
                    </a:moveTo>
                    <a:cubicBezTo>
                      <a:pt x="265" y="193"/>
                      <a:pt x="265" y="194"/>
                      <a:pt x="265" y="194"/>
                    </a:cubicBezTo>
                    <a:moveTo>
                      <a:pt x="265" y="194"/>
                    </a:moveTo>
                    <a:cubicBezTo>
                      <a:pt x="264" y="194"/>
                      <a:pt x="264" y="195"/>
                      <a:pt x="264" y="195"/>
                    </a:cubicBezTo>
                    <a:moveTo>
                      <a:pt x="264" y="195"/>
                    </a:moveTo>
                    <a:cubicBezTo>
                      <a:pt x="263" y="195"/>
                      <a:pt x="263" y="196"/>
                      <a:pt x="263" y="196"/>
                    </a:cubicBezTo>
                    <a:moveTo>
                      <a:pt x="263" y="196"/>
                    </a:moveTo>
                    <a:cubicBezTo>
                      <a:pt x="262" y="196"/>
                      <a:pt x="262" y="197"/>
                      <a:pt x="262" y="197"/>
                    </a:cubicBezTo>
                    <a:moveTo>
                      <a:pt x="262" y="197"/>
                    </a:moveTo>
                    <a:cubicBezTo>
                      <a:pt x="261" y="197"/>
                      <a:pt x="261" y="198"/>
                      <a:pt x="261" y="198"/>
                    </a:cubicBezTo>
                    <a:moveTo>
                      <a:pt x="261" y="198"/>
                    </a:moveTo>
                    <a:cubicBezTo>
                      <a:pt x="222" y="229"/>
                      <a:pt x="189" y="265"/>
                      <a:pt x="159" y="305"/>
                    </a:cubicBezTo>
                    <a:moveTo>
                      <a:pt x="159" y="305"/>
                    </a:moveTo>
                    <a:cubicBezTo>
                      <a:pt x="158" y="305"/>
                      <a:pt x="158" y="305"/>
                      <a:pt x="158" y="306"/>
                    </a:cubicBezTo>
                    <a:moveTo>
                      <a:pt x="158" y="306"/>
                    </a:moveTo>
                    <a:cubicBezTo>
                      <a:pt x="157" y="306"/>
                      <a:pt x="158" y="307"/>
                      <a:pt x="158" y="306"/>
                    </a:cubicBezTo>
                    <a:moveTo>
                      <a:pt x="158" y="306"/>
                    </a:moveTo>
                    <a:cubicBezTo>
                      <a:pt x="159" y="306"/>
                      <a:pt x="159" y="305"/>
                      <a:pt x="159" y="305"/>
                    </a:cubicBezTo>
                    <a:moveTo>
                      <a:pt x="159" y="305"/>
                    </a:moveTo>
                    <a:cubicBezTo>
                      <a:pt x="167" y="301"/>
                      <a:pt x="173" y="295"/>
                      <a:pt x="182" y="292"/>
                    </a:cubicBezTo>
                    <a:cubicBezTo>
                      <a:pt x="205" y="258"/>
                      <a:pt x="232" y="227"/>
                      <a:pt x="261" y="198"/>
                    </a:cubicBezTo>
                    <a:moveTo>
                      <a:pt x="261" y="198"/>
                    </a:moveTo>
                    <a:cubicBezTo>
                      <a:pt x="262" y="198"/>
                      <a:pt x="262" y="198"/>
                      <a:pt x="262" y="197"/>
                    </a:cubicBezTo>
                    <a:moveTo>
                      <a:pt x="262" y="197"/>
                    </a:moveTo>
                    <a:cubicBezTo>
                      <a:pt x="263" y="197"/>
                      <a:pt x="263" y="197"/>
                      <a:pt x="263" y="196"/>
                    </a:cubicBezTo>
                    <a:moveTo>
                      <a:pt x="263" y="196"/>
                    </a:moveTo>
                    <a:cubicBezTo>
                      <a:pt x="264" y="196"/>
                      <a:pt x="264" y="196"/>
                      <a:pt x="264" y="195"/>
                    </a:cubicBezTo>
                    <a:moveTo>
                      <a:pt x="264" y="195"/>
                    </a:moveTo>
                    <a:cubicBezTo>
                      <a:pt x="265" y="195"/>
                      <a:pt x="265" y="195"/>
                      <a:pt x="265" y="194"/>
                    </a:cubicBezTo>
                    <a:moveTo>
                      <a:pt x="265" y="194"/>
                    </a:moveTo>
                    <a:cubicBezTo>
                      <a:pt x="266" y="195"/>
                      <a:pt x="266" y="194"/>
                      <a:pt x="266" y="193"/>
                    </a:cubicBezTo>
                    <a:moveTo>
                      <a:pt x="266" y="193"/>
                    </a:moveTo>
                    <a:cubicBezTo>
                      <a:pt x="266" y="194"/>
                      <a:pt x="267" y="193"/>
                      <a:pt x="267" y="192"/>
                    </a:cubicBezTo>
                    <a:moveTo>
                      <a:pt x="267" y="192"/>
                    </a:moveTo>
                    <a:cubicBezTo>
                      <a:pt x="268" y="192"/>
                      <a:pt x="267" y="191"/>
                      <a:pt x="267" y="192"/>
                    </a:cubicBezTo>
                    <a:moveTo>
                      <a:pt x="265" y="261"/>
                    </a:moveTo>
                    <a:cubicBezTo>
                      <a:pt x="263" y="261"/>
                      <a:pt x="265" y="262"/>
                      <a:pt x="265" y="261"/>
                    </a:cubicBezTo>
                    <a:moveTo>
                      <a:pt x="265" y="261"/>
                    </a:moveTo>
                    <a:cubicBezTo>
                      <a:pt x="274" y="259"/>
                      <a:pt x="281" y="256"/>
                      <a:pt x="291" y="255"/>
                    </a:cubicBezTo>
                    <a:cubicBezTo>
                      <a:pt x="305" y="236"/>
                      <a:pt x="324" y="222"/>
                      <a:pt x="340" y="205"/>
                    </a:cubicBezTo>
                    <a:cubicBezTo>
                      <a:pt x="330" y="202"/>
                      <a:pt x="323" y="196"/>
                      <a:pt x="315" y="192"/>
                    </a:cubicBezTo>
                    <a:cubicBezTo>
                      <a:pt x="296" y="214"/>
                      <a:pt x="279" y="236"/>
                      <a:pt x="265" y="261"/>
                    </a:cubicBezTo>
                    <a:moveTo>
                      <a:pt x="1208" y="192"/>
                    </a:moveTo>
                    <a:cubicBezTo>
                      <a:pt x="1198" y="200"/>
                      <a:pt x="1184" y="204"/>
                      <a:pt x="1173" y="211"/>
                    </a:cubicBezTo>
                    <a:cubicBezTo>
                      <a:pt x="1184" y="223"/>
                      <a:pt x="1187" y="240"/>
                      <a:pt x="1203" y="247"/>
                    </a:cubicBezTo>
                    <a:cubicBezTo>
                      <a:pt x="1215" y="253"/>
                      <a:pt x="1231" y="253"/>
                      <a:pt x="1246" y="257"/>
                    </a:cubicBezTo>
                    <a:cubicBezTo>
                      <a:pt x="1260" y="261"/>
                      <a:pt x="1274" y="266"/>
                      <a:pt x="1287" y="269"/>
                    </a:cubicBezTo>
                    <a:cubicBezTo>
                      <a:pt x="1267" y="238"/>
                      <a:pt x="1237" y="216"/>
                      <a:pt x="1208" y="192"/>
                    </a:cubicBezTo>
                    <a:close/>
                    <a:moveTo>
                      <a:pt x="637" y="198"/>
                    </a:moveTo>
                    <a:cubicBezTo>
                      <a:pt x="636" y="202"/>
                      <a:pt x="630" y="210"/>
                      <a:pt x="633" y="212"/>
                    </a:cubicBezTo>
                    <a:cubicBezTo>
                      <a:pt x="638" y="210"/>
                      <a:pt x="636" y="203"/>
                      <a:pt x="637" y="198"/>
                    </a:cubicBezTo>
                    <a:moveTo>
                      <a:pt x="637" y="198"/>
                    </a:moveTo>
                    <a:cubicBezTo>
                      <a:pt x="640" y="198"/>
                      <a:pt x="636" y="194"/>
                      <a:pt x="637" y="198"/>
                    </a:cubicBezTo>
                    <a:moveTo>
                      <a:pt x="1072" y="226"/>
                    </a:moveTo>
                    <a:cubicBezTo>
                      <a:pt x="1076" y="226"/>
                      <a:pt x="1083" y="228"/>
                      <a:pt x="1085" y="227"/>
                    </a:cubicBezTo>
                    <a:cubicBezTo>
                      <a:pt x="1077" y="219"/>
                      <a:pt x="1070" y="209"/>
                      <a:pt x="1062" y="201"/>
                    </a:cubicBezTo>
                    <a:cubicBezTo>
                      <a:pt x="1065" y="210"/>
                      <a:pt x="1069" y="217"/>
                      <a:pt x="1072" y="226"/>
                    </a:cubicBezTo>
                    <a:close/>
                    <a:moveTo>
                      <a:pt x="342" y="207"/>
                    </a:moveTo>
                    <a:cubicBezTo>
                      <a:pt x="327" y="222"/>
                      <a:pt x="310" y="236"/>
                      <a:pt x="296" y="253"/>
                    </a:cubicBezTo>
                    <a:cubicBezTo>
                      <a:pt x="319" y="247"/>
                      <a:pt x="343" y="243"/>
                      <a:pt x="366" y="239"/>
                    </a:cubicBezTo>
                    <a:cubicBezTo>
                      <a:pt x="370" y="231"/>
                      <a:pt x="374" y="225"/>
                      <a:pt x="377" y="217"/>
                    </a:cubicBezTo>
                    <a:cubicBezTo>
                      <a:pt x="364" y="215"/>
                      <a:pt x="354" y="210"/>
                      <a:pt x="342" y="207"/>
                    </a:cubicBezTo>
                    <a:close/>
                    <a:moveTo>
                      <a:pt x="745" y="212"/>
                    </a:moveTo>
                    <a:cubicBezTo>
                      <a:pt x="745" y="226"/>
                      <a:pt x="744" y="240"/>
                      <a:pt x="743" y="254"/>
                    </a:cubicBezTo>
                    <a:cubicBezTo>
                      <a:pt x="757" y="253"/>
                      <a:pt x="774" y="255"/>
                      <a:pt x="786" y="253"/>
                    </a:cubicBezTo>
                    <a:cubicBezTo>
                      <a:pt x="784" y="241"/>
                      <a:pt x="786" y="224"/>
                      <a:pt x="784" y="212"/>
                    </a:cubicBezTo>
                    <a:cubicBezTo>
                      <a:pt x="773" y="210"/>
                      <a:pt x="756" y="210"/>
                      <a:pt x="745" y="212"/>
                    </a:cubicBezTo>
                    <a:close/>
                    <a:moveTo>
                      <a:pt x="1176" y="220"/>
                    </a:moveTo>
                    <a:cubicBezTo>
                      <a:pt x="1176" y="221"/>
                      <a:pt x="1176" y="221"/>
                      <a:pt x="1177" y="221"/>
                    </a:cubicBezTo>
                    <a:moveTo>
                      <a:pt x="1177" y="221"/>
                    </a:moveTo>
                    <a:cubicBezTo>
                      <a:pt x="1177" y="223"/>
                      <a:pt x="1178" y="221"/>
                      <a:pt x="1177" y="221"/>
                    </a:cubicBezTo>
                    <a:moveTo>
                      <a:pt x="1177" y="221"/>
                    </a:moveTo>
                    <a:cubicBezTo>
                      <a:pt x="1177" y="220"/>
                      <a:pt x="1176" y="220"/>
                      <a:pt x="1176" y="220"/>
                    </a:cubicBezTo>
                    <a:moveTo>
                      <a:pt x="1176" y="220"/>
                    </a:moveTo>
                    <a:cubicBezTo>
                      <a:pt x="1174" y="216"/>
                      <a:pt x="1171" y="207"/>
                      <a:pt x="1166" y="213"/>
                    </a:cubicBezTo>
                    <a:cubicBezTo>
                      <a:pt x="1170" y="214"/>
                      <a:pt x="1172" y="218"/>
                      <a:pt x="1176" y="220"/>
                    </a:cubicBezTo>
                    <a:moveTo>
                      <a:pt x="639" y="214"/>
                    </a:moveTo>
                    <a:cubicBezTo>
                      <a:pt x="637" y="225"/>
                      <a:pt x="635" y="238"/>
                      <a:pt x="633" y="251"/>
                    </a:cubicBezTo>
                    <a:cubicBezTo>
                      <a:pt x="669" y="252"/>
                      <a:pt x="704" y="254"/>
                      <a:pt x="741" y="254"/>
                    </a:cubicBezTo>
                    <a:cubicBezTo>
                      <a:pt x="741" y="239"/>
                      <a:pt x="742" y="225"/>
                      <a:pt x="743" y="212"/>
                    </a:cubicBezTo>
                    <a:cubicBezTo>
                      <a:pt x="707" y="211"/>
                      <a:pt x="673" y="213"/>
                      <a:pt x="639" y="214"/>
                    </a:cubicBezTo>
                    <a:close/>
                    <a:moveTo>
                      <a:pt x="787" y="212"/>
                    </a:moveTo>
                    <a:cubicBezTo>
                      <a:pt x="786" y="227"/>
                      <a:pt x="789" y="239"/>
                      <a:pt x="788" y="254"/>
                    </a:cubicBezTo>
                    <a:cubicBezTo>
                      <a:pt x="815" y="254"/>
                      <a:pt x="840" y="252"/>
                      <a:pt x="867" y="252"/>
                    </a:cubicBezTo>
                    <a:cubicBezTo>
                      <a:pt x="863" y="238"/>
                      <a:pt x="860" y="225"/>
                      <a:pt x="856" y="213"/>
                    </a:cubicBezTo>
                    <a:cubicBezTo>
                      <a:pt x="834" y="212"/>
                      <a:pt x="811" y="211"/>
                      <a:pt x="787" y="212"/>
                    </a:cubicBezTo>
                    <a:close/>
                    <a:moveTo>
                      <a:pt x="870" y="251"/>
                    </a:moveTo>
                    <a:cubicBezTo>
                      <a:pt x="891" y="251"/>
                      <a:pt x="917" y="249"/>
                      <a:pt x="938" y="247"/>
                    </a:cubicBezTo>
                    <a:cubicBezTo>
                      <a:pt x="937" y="236"/>
                      <a:pt x="934" y="227"/>
                      <a:pt x="932" y="216"/>
                    </a:cubicBezTo>
                    <a:cubicBezTo>
                      <a:pt x="909" y="214"/>
                      <a:pt x="884" y="214"/>
                      <a:pt x="861" y="213"/>
                    </a:cubicBezTo>
                    <a:cubicBezTo>
                      <a:pt x="864" y="226"/>
                      <a:pt x="868" y="237"/>
                      <a:pt x="870" y="251"/>
                    </a:cubicBezTo>
                    <a:close/>
                    <a:moveTo>
                      <a:pt x="1190" y="244"/>
                    </a:moveTo>
                    <a:cubicBezTo>
                      <a:pt x="1191" y="246"/>
                      <a:pt x="1191" y="244"/>
                      <a:pt x="1190" y="244"/>
                    </a:cubicBezTo>
                    <a:moveTo>
                      <a:pt x="1190" y="244"/>
                    </a:moveTo>
                    <a:cubicBezTo>
                      <a:pt x="1184" y="231"/>
                      <a:pt x="1173" y="222"/>
                      <a:pt x="1162" y="213"/>
                    </a:cubicBezTo>
                    <a:cubicBezTo>
                      <a:pt x="1143" y="221"/>
                      <a:pt x="1120" y="224"/>
                      <a:pt x="1099" y="230"/>
                    </a:cubicBezTo>
                    <a:cubicBezTo>
                      <a:pt x="1131" y="233"/>
                      <a:pt x="1160" y="239"/>
                      <a:pt x="1190" y="244"/>
                    </a:cubicBezTo>
                    <a:moveTo>
                      <a:pt x="632" y="214"/>
                    </a:moveTo>
                    <a:cubicBezTo>
                      <a:pt x="625" y="223"/>
                      <a:pt x="622" y="237"/>
                      <a:pt x="618" y="250"/>
                    </a:cubicBezTo>
                    <a:cubicBezTo>
                      <a:pt x="622" y="250"/>
                      <a:pt x="626" y="250"/>
                      <a:pt x="630" y="250"/>
                    </a:cubicBezTo>
                    <a:cubicBezTo>
                      <a:pt x="631" y="238"/>
                      <a:pt x="633" y="225"/>
                      <a:pt x="635" y="214"/>
                    </a:cubicBezTo>
                    <a:cubicBezTo>
                      <a:pt x="634" y="214"/>
                      <a:pt x="633" y="214"/>
                      <a:pt x="632" y="214"/>
                    </a:cubicBezTo>
                    <a:close/>
                    <a:moveTo>
                      <a:pt x="515" y="222"/>
                    </a:moveTo>
                    <a:cubicBezTo>
                      <a:pt x="512" y="228"/>
                      <a:pt x="507" y="233"/>
                      <a:pt x="505" y="239"/>
                    </a:cubicBezTo>
                    <a:cubicBezTo>
                      <a:pt x="541" y="243"/>
                      <a:pt x="576" y="248"/>
                      <a:pt x="615" y="249"/>
                    </a:cubicBezTo>
                    <a:cubicBezTo>
                      <a:pt x="619" y="237"/>
                      <a:pt x="623" y="226"/>
                      <a:pt x="628" y="215"/>
                    </a:cubicBezTo>
                    <a:cubicBezTo>
                      <a:pt x="589" y="216"/>
                      <a:pt x="552" y="218"/>
                      <a:pt x="515" y="222"/>
                    </a:cubicBezTo>
                    <a:close/>
                    <a:moveTo>
                      <a:pt x="941" y="247"/>
                    </a:moveTo>
                    <a:cubicBezTo>
                      <a:pt x="956" y="246"/>
                      <a:pt x="972" y="245"/>
                      <a:pt x="986" y="242"/>
                    </a:cubicBezTo>
                    <a:cubicBezTo>
                      <a:pt x="980" y="235"/>
                      <a:pt x="978" y="225"/>
                      <a:pt x="971" y="219"/>
                    </a:cubicBezTo>
                    <a:cubicBezTo>
                      <a:pt x="960" y="218"/>
                      <a:pt x="947" y="217"/>
                      <a:pt x="935" y="216"/>
                    </a:cubicBezTo>
                    <a:cubicBezTo>
                      <a:pt x="936" y="227"/>
                      <a:pt x="939" y="236"/>
                      <a:pt x="941" y="247"/>
                    </a:cubicBezTo>
                    <a:close/>
                    <a:moveTo>
                      <a:pt x="370" y="238"/>
                    </a:moveTo>
                    <a:cubicBezTo>
                      <a:pt x="369" y="238"/>
                      <a:pt x="370" y="239"/>
                      <a:pt x="370" y="238"/>
                    </a:cubicBezTo>
                    <a:moveTo>
                      <a:pt x="370" y="238"/>
                    </a:moveTo>
                    <a:cubicBezTo>
                      <a:pt x="384" y="235"/>
                      <a:pt x="401" y="237"/>
                      <a:pt x="406" y="225"/>
                    </a:cubicBezTo>
                    <a:cubicBezTo>
                      <a:pt x="396" y="224"/>
                      <a:pt x="389" y="220"/>
                      <a:pt x="379" y="219"/>
                    </a:cubicBezTo>
                    <a:cubicBezTo>
                      <a:pt x="377" y="226"/>
                      <a:pt x="372" y="230"/>
                      <a:pt x="370" y="238"/>
                    </a:cubicBezTo>
                    <a:moveTo>
                      <a:pt x="989" y="242"/>
                    </a:moveTo>
                    <a:cubicBezTo>
                      <a:pt x="1017" y="239"/>
                      <a:pt x="1047" y="238"/>
                      <a:pt x="1071" y="230"/>
                    </a:cubicBezTo>
                    <a:cubicBezTo>
                      <a:pt x="1042" y="224"/>
                      <a:pt x="1008" y="222"/>
                      <a:pt x="976" y="219"/>
                    </a:cubicBezTo>
                    <a:cubicBezTo>
                      <a:pt x="980" y="227"/>
                      <a:pt x="984" y="235"/>
                      <a:pt x="989" y="242"/>
                    </a:cubicBezTo>
                    <a:close/>
                    <a:moveTo>
                      <a:pt x="497" y="223"/>
                    </a:moveTo>
                    <a:cubicBezTo>
                      <a:pt x="494" y="227"/>
                      <a:pt x="494" y="233"/>
                      <a:pt x="491" y="238"/>
                    </a:cubicBezTo>
                    <a:cubicBezTo>
                      <a:pt x="495" y="237"/>
                      <a:pt x="497" y="239"/>
                      <a:pt x="502" y="239"/>
                    </a:cubicBezTo>
                    <a:cubicBezTo>
                      <a:pt x="504" y="232"/>
                      <a:pt x="509" y="228"/>
                      <a:pt x="511" y="222"/>
                    </a:cubicBezTo>
                    <a:cubicBezTo>
                      <a:pt x="507" y="223"/>
                      <a:pt x="503" y="224"/>
                      <a:pt x="497" y="223"/>
                    </a:cubicBezTo>
                    <a:close/>
                    <a:moveTo>
                      <a:pt x="1178" y="224"/>
                    </a:moveTo>
                    <a:cubicBezTo>
                      <a:pt x="1177" y="224"/>
                      <a:pt x="1178" y="225"/>
                      <a:pt x="1178" y="224"/>
                    </a:cubicBezTo>
                    <a:close/>
                    <a:moveTo>
                      <a:pt x="445" y="231"/>
                    </a:moveTo>
                    <a:cubicBezTo>
                      <a:pt x="460" y="233"/>
                      <a:pt x="475" y="235"/>
                      <a:pt x="489" y="238"/>
                    </a:cubicBezTo>
                    <a:cubicBezTo>
                      <a:pt x="490" y="232"/>
                      <a:pt x="492" y="229"/>
                      <a:pt x="493" y="224"/>
                    </a:cubicBezTo>
                    <a:cubicBezTo>
                      <a:pt x="477" y="226"/>
                      <a:pt x="459" y="226"/>
                      <a:pt x="445" y="231"/>
                    </a:cubicBezTo>
                    <a:close/>
                    <a:moveTo>
                      <a:pt x="421" y="230"/>
                    </a:moveTo>
                    <a:cubicBezTo>
                      <a:pt x="423" y="230"/>
                      <a:pt x="429" y="229"/>
                      <a:pt x="424" y="229"/>
                    </a:cubicBezTo>
                    <a:cubicBezTo>
                      <a:pt x="419" y="228"/>
                      <a:pt x="414" y="227"/>
                      <a:pt x="409" y="226"/>
                    </a:cubicBezTo>
                    <a:cubicBezTo>
                      <a:pt x="407" y="229"/>
                      <a:pt x="404" y="230"/>
                      <a:pt x="403" y="233"/>
                    </a:cubicBezTo>
                    <a:cubicBezTo>
                      <a:pt x="409" y="232"/>
                      <a:pt x="416" y="231"/>
                      <a:pt x="421" y="230"/>
                    </a:cubicBezTo>
                    <a:close/>
                    <a:moveTo>
                      <a:pt x="1079" y="230"/>
                    </a:moveTo>
                    <a:cubicBezTo>
                      <a:pt x="1078" y="229"/>
                      <a:pt x="1073" y="228"/>
                      <a:pt x="1073" y="230"/>
                    </a:cubicBezTo>
                    <a:cubicBezTo>
                      <a:pt x="1074" y="231"/>
                      <a:pt x="1078" y="232"/>
                      <a:pt x="1079" y="230"/>
                    </a:cubicBezTo>
                    <a:close/>
                    <a:moveTo>
                      <a:pt x="309" y="418"/>
                    </a:moveTo>
                    <a:cubicBezTo>
                      <a:pt x="307" y="419"/>
                      <a:pt x="309" y="419"/>
                      <a:pt x="309" y="418"/>
                    </a:cubicBezTo>
                    <a:moveTo>
                      <a:pt x="309" y="418"/>
                    </a:moveTo>
                    <a:cubicBezTo>
                      <a:pt x="345" y="412"/>
                      <a:pt x="381" y="406"/>
                      <a:pt x="418" y="401"/>
                    </a:cubicBezTo>
                    <a:cubicBezTo>
                      <a:pt x="436" y="359"/>
                      <a:pt x="455" y="318"/>
                      <a:pt x="477" y="281"/>
                    </a:cubicBezTo>
                    <a:cubicBezTo>
                      <a:pt x="479" y="266"/>
                      <a:pt x="484" y="253"/>
                      <a:pt x="488" y="239"/>
                    </a:cubicBezTo>
                    <a:cubicBezTo>
                      <a:pt x="458" y="236"/>
                      <a:pt x="431" y="227"/>
                      <a:pt x="401" y="236"/>
                    </a:cubicBezTo>
                    <a:cubicBezTo>
                      <a:pt x="376" y="263"/>
                      <a:pt x="355" y="294"/>
                      <a:pt x="333" y="324"/>
                    </a:cubicBezTo>
                    <a:cubicBezTo>
                      <a:pt x="324" y="355"/>
                      <a:pt x="314" y="384"/>
                      <a:pt x="309" y="418"/>
                    </a:cubicBezTo>
                    <a:moveTo>
                      <a:pt x="1092" y="232"/>
                    </a:moveTo>
                    <a:cubicBezTo>
                      <a:pt x="1137" y="288"/>
                      <a:pt x="1175" y="350"/>
                      <a:pt x="1208" y="417"/>
                    </a:cubicBezTo>
                    <a:cubicBezTo>
                      <a:pt x="1224" y="419"/>
                      <a:pt x="1240" y="426"/>
                      <a:pt x="1256" y="425"/>
                    </a:cubicBezTo>
                    <a:cubicBezTo>
                      <a:pt x="1244" y="360"/>
                      <a:pt x="1220" y="299"/>
                      <a:pt x="1192" y="247"/>
                    </a:cubicBezTo>
                    <a:cubicBezTo>
                      <a:pt x="1159" y="242"/>
                      <a:pt x="1128" y="235"/>
                      <a:pt x="1092" y="232"/>
                    </a:cubicBezTo>
                    <a:moveTo>
                      <a:pt x="1092" y="232"/>
                    </a:moveTo>
                    <a:cubicBezTo>
                      <a:pt x="1092" y="230"/>
                      <a:pt x="1091" y="232"/>
                      <a:pt x="1092" y="232"/>
                    </a:cubicBezTo>
                    <a:moveTo>
                      <a:pt x="1104" y="252"/>
                    </a:moveTo>
                    <a:cubicBezTo>
                      <a:pt x="1096" y="241"/>
                      <a:pt x="1089" y="225"/>
                      <a:pt x="1075" y="235"/>
                    </a:cubicBezTo>
                    <a:cubicBezTo>
                      <a:pt x="1096" y="285"/>
                      <a:pt x="1109" y="342"/>
                      <a:pt x="1119" y="403"/>
                    </a:cubicBezTo>
                    <a:cubicBezTo>
                      <a:pt x="1148" y="406"/>
                      <a:pt x="1178" y="413"/>
                      <a:pt x="1205" y="415"/>
                    </a:cubicBezTo>
                    <a:cubicBezTo>
                      <a:pt x="1178" y="360"/>
                      <a:pt x="1141" y="300"/>
                      <a:pt x="1104" y="252"/>
                    </a:cubicBezTo>
                    <a:close/>
                    <a:moveTo>
                      <a:pt x="990" y="245"/>
                    </a:moveTo>
                    <a:cubicBezTo>
                      <a:pt x="1015" y="293"/>
                      <a:pt x="1038" y="342"/>
                      <a:pt x="1057" y="395"/>
                    </a:cubicBezTo>
                    <a:cubicBezTo>
                      <a:pt x="1077" y="398"/>
                      <a:pt x="1097" y="399"/>
                      <a:pt x="1116" y="403"/>
                    </a:cubicBezTo>
                    <a:cubicBezTo>
                      <a:pt x="1108" y="349"/>
                      <a:pt x="1096" y="297"/>
                      <a:pt x="1080" y="252"/>
                    </a:cubicBezTo>
                    <a:cubicBezTo>
                      <a:pt x="1078" y="246"/>
                      <a:pt x="1076" y="238"/>
                      <a:pt x="1070" y="235"/>
                    </a:cubicBezTo>
                    <a:cubicBezTo>
                      <a:pt x="1044" y="239"/>
                      <a:pt x="1018" y="243"/>
                      <a:pt x="990" y="245"/>
                    </a:cubicBezTo>
                    <a:close/>
                    <a:moveTo>
                      <a:pt x="368" y="240"/>
                    </a:moveTo>
                    <a:cubicBezTo>
                      <a:pt x="357" y="263"/>
                      <a:pt x="345" y="288"/>
                      <a:pt x="339" y="312"/>
                    </a:cubicBezTo>
                    <a:cubicBezTo>
                      <a:pt x="353" y="289"/>
                      <a:pt x="373" y="265"/>
                      <a:pt x="390" y="245"/>
                    </a:cubicBezTo>
                    <a:cubicBezTo>
                      <a:pt x="392" y="243"/>
                      <a:pt x="395" y="239"/>
                      <a:pt x="394" y="237"/>
                    </a:cubicBezTo>
                    <a:cubicBezTo>
                      <a:pt x="386" y="238"/>
                      <a:pt x="378" y="240"/>
                      <a:pt x="368" y="240"/>
                    </a:cubicBezTo>
                    <a:close/>
                    <a:moveTo>
                      <a:pt x="483" y="268"/>
                    </a:moveTo>
                    <a:cubicBezTo>
                      <a:pt x="480" y="268"/>
                      <a:pt x="484" y="272"/>
                      <a:pt x="483" y="268"/>
                    </a:cubicBezTo>
                    <a:moveTo>
                      <a:pt x="483" y="268"/>
                    </a:moveTo>
                    <a:cubicBezTo>
                      <a:pt x="489" y="260"/>
                      <a:pt x="494" y="251"/>
                      <a:pt x="499" y="241"/>
                    </a:cubicBezTo>
                    <a:cubicBezTo>
                      <a:pt x="496" y="241"/>
                      <a:pt x="494" y="240"/>
                      <a:pt x="490" y="240"/>
                    </a:cubicBezTo>
                    <a:cubicBezTo>
                      <a:pt x="488" y="250"/>
                      <a:pt x="484" y="258"/>
                      <a:pt x="483" y="268"/>
                    </a:cubicBezTo>
                    <a:moveTo>
                      <a:pt x="327" y="249"/>
                    </a:moveTo>
                    <a:cubicBezTo>
                      <a:pt x="315" y="252"/>
                      <a:pt x="301" y="252"/>
                      <a:pt x="294" y="256"/>
                    </a:cubicBezTo>
                    <a:cubicBezTo>
                      <a:pt x="288" y="259"/>
                      <a:pt x="279" y="270"/>
                      <a:pt x="273" y="277"/>
                    </a:cubicBezTo>
                    <a:cubicBezTo>
                      <a:pt x="242" y="313"/>
                      <a:pt x="211" y="348"/>
                      <a:pt x="198" y="402"/>
                    </a:cubicBezTo>
                    <a:cubicBezTo>
                      <a:pt x="222" y="411"/>
                      <a:pt x="245" y="420"/>
                      <a:pt x="271" y="426"/>
                    </a:cubicBezTo>
                    <a:cubicBezTo>
                      <a:pt x="285" y="399"/>
                      <a:pt x="300" y="372"/>
                      <a:pt x="316" y="347"/>
                    </a:cubicBezTo>
                    <a:cubicBezTo>
                      <a:pt x="321" y="339"/>
                      <a:pt x="328" y="330"/>
                      <a:pt x="332" y="322"/>
                    </a:cubicBezTo>
                    <a:cubicBezTo>
                      <a:pt x="344" y="296"/>
                      <a:pt x="348" y="268"/>
                      <a:pt x="365" y="243"/>
                    </a:cubicBezTo>
                    <a:cubicBezTo>
                      <a:pt x="364" y="243"/>
                      <a:pt x="365" y="241"/>
                      <a:pt x="364" y="241"/>
                    </a:cubicBezTo>
                    <a:cubicBezTo>
                      <a:pt x="353" y="243"/>
                      <a:pt x="340" y="246"/>
                      <a:pt x="327" y="249"/>
                    </a:cubicBezTo>
                    <a:close/>
                    <a:moveTo>
                      <a:pt x="504" y="242"/>
                    </a:moveTo>
                    <a:cubicBezTo>
                      <a:pt x="472" y="274"/>
                      <a:pt x="465" y="338"/>
                      <a:pt x="457" y="396"/>
                    </a:cubicBezTo>
                    <a:cubicBezTo>
                      <a:pt x="495" y="392"/>
                      <a:pt x="535" y="389"/>
                      <a:pt x="575" y="385"/>
                    </a:cubicBezTo>
                    <a:cubicBezTo>
                      <a:pt x="587" y="340"/>
                      <a:pt x="599" y="294"/>
                      <a:pt x="614" y="252"/>
                    </a:cubicBezTo>
                    <a:cubicBezTo>
                      <a:pt x="576" y="250"/>
                      <a:pt x="540" y="246"/>
                      <a:pt x="504" y="242"/>
                    </a:cubicBezTo>
                    <a:close/>
                    <a:moveTo>
                      <a:pt x="1194" y="244"/>
                    </a:moveTo>
                    <a:cubicBezTo>
                      <a:pt x="1194" y="245"/>
                      <a:pt x="1194" y="245"/>
                      <a:pt x="1195" y="245"/>
                    </a:cubicBezTo>
                    <a:moveTo>
                      <a:pt x="1195" y="245"/>
                    </a:moveTo>
                    <a:cubicBezTo>
                      <a:pt x="1196" y="247"/>
                      <a:pt x="1196" y="245"/>
                      <a:pt x="1195" y="245"/>
                    </a:cubicBezTo>
                    <a:moveTo>
                      <a:pt x="1195" y="245"/>
                    </a:moveTo>
                    <a:cubicBezTo>
                      <a:pt x="1195" y="244"/>
                      <a:pt x="1195" y="244"/>
                      <a:pt x="1194" y="244"/>
                    </a:cubicBezTo>
                    <a:moveTo>
                      <a:pt x="1194" y="244"/>
                    </a:moveTo>
                    <a:cubicBezTo>
                      <a:pt x="1193" y="243"/>
                      <a:pt x="1193" y="244"/>
                      <a:pt x="1194" y="244"/>
                    </a:cubicBezTo>
                    <a:moveTo>
                      <a:pt x="942" y="250"/>
                    </a:moveTo>
                    <a:cubicBezTo>
                      <a:pt x="949" y="294"/>
                      <a:pt x="955" y="339"/>
                      <a:pt x="960" y="386"/>
                    </a:cubicBezTo>
                    <a:cubicBezTo>
                      <a:pt x="991" y="389"/>
                      <a:pt x="1024" y="391"/>
                      <a:pt x="1054" y="395"/>
                    </a:cubicBezTo>
                    <a:cubicBezTo>
                      <a:pt x="1035" y="342"/>
                      <a:pt x="1013" y="293"/>
                      <a:pt x="988" y="246"/>
                    </a:cubicBezTo>
                    <a:cubicBezTo>
                      <a:pt x="972" y="247"/>
                      <a:pt x="957" y="249"/>
                      <a:pt x="942" y="250"/>
                    </a:cubicBezTo>
                    <a:close/>
                    <a:moveTo>
                      <a:pt x="1259" y="424"/>
                    </a:moveTo>
                    <a:cubicBezTo>
                      <a:pt x="1279" y="419"/>
                      <a:pt x="1296" y="412"/>
                      <a:pt x="1314" y="407"/>
                    </a:cubicBezTo>
                    <a:cubicBezTo>
                      <a:pt x="1282" y="347"/>
                      <a:pt x="1242" y="296"/>
                      <a:pt x="1198" y="249"/>
                    </a:cubicBezTo>
                    <a:cubicBezTo>
                      <a:pt x="1197" y="249"/>
                      <a:pt x="1196" y="249"/>
                      <a:pt x="1196" y="250"/>
                    </a:cubicBezTo>
                    <a:cubicBezTo>
                      <a:pt x="1224" y="301"/>
                      <a:pt x="1245" y="359"/>
                      <a:pt x="1259" y="424"/>
                    </a:cubicBezTo>
                    <a:close/>
                    <a:moveTo>
                      <a:pt x="871" y="255"/>
                    </a:moveTo>
                    <a:cubicBezTo>
                      <a:pt x="883" y="296"/>
                      <a:pt x="891" y="339"/>
                      <a:pt x="899" y="383"/>
                    </a:cubicBezTo>
                    <a:cubicBezTo>
                      <a:pt x="918" y="384"/>
                      <a:pt x="938" y="384"/>
                      <a:pt x="957" y="386"/>
                    </a:cubicBezTo>
                    <a:cubicBezTo>
                      <a:pt x="953" y="345"/>
                      <a:pt x="948" y="301"/>
                      <a:pt x="942" y="264"/>
                    </a:cubicBezTo>
                    <a:cubicBezTo>
                      <a:pt x="941" y="260"/>
                      <a:pt x="941" y="252"/>
                      <a:pt x="936" y="250"/>
                    </a:cubicBezTo>
                    <a:cubicBezTo>
                      <a:pt x="915" y="253"/>
                      <a:pt x="892" y="252"/>
                      <a:pt x="871" y="255"/>
                    </a:cubicBezTo>
                    <a:close/>
                    <a:moveTo>
                      <a:pt x="1317" y="405"/>
                    </a:moveTo>
                    <a:cubicBezTo>
                      <a:pt x="1328" y="400"/>
                      <a:pt x="1340" y="395"/>
                      <a:pt x="1350" y="388"/>
                    </a:cubicBezTo>
                    <a:cubicBezTo>
                      <a:pt x="1332" y="347"/>
                      <a:pt x="1314" y="307"/>
                      <a:pt x="1289" y="273"/>
                    </a:cubicBezTo>
                    <a:cubicBezTo>
                      <a:pt x="1263" y="264"/>
                      <a:pt x="1231" y="255"/>
                      <a:pt x="1204" y="251"/>
                    </a:cubicBezTo>
                    <a:cubicBezTo>
                      <a:pt x="1247" y="297"/>
                      <a:pt x="1284" y="348"/>
                      <a:pt x="1317" y="405"/>
                    </a:cubicBezTo>
                    <a:close/>
                    <a:moveTo>
                      <a:pt x="616" y="253"/>
                    </a:moveTo>
                    <a:cubicBezTo>
                      <a:pt x="602" y="296"/>
                      <a:pt x="589" y="340"/>
                      <a:pt x="578" y="385"/>
                    </a:cubicBezTo>
                    <a:cubicBezTo>
                      <a:pt x="591" y="385"/>
                      <a:pt x="603" y="384"/>
                      <a:pt x="617" y="383"/>
                    </a:cubicBezTo>
                    <a:cubicBezTo>
                      <a:pt x="619" y="338"/>
                      <a:pt x="624" y="295"/>
                      <a:pt x="630" y="253"/>
                    </a:cubicBezTo>
                    <a:cubicBezTo>
                      <a:pt x="625" y="254"/>
                      <a:pt x="618" y="252"/>
                      <a:pt x="616" y="253"/>
                    </a:cubicBezTo>
                    <a:close/>
                    <a:moveTo>
                      <a:pt x="632" y="256"/>
                    </a:moveTo>
                    <a:cubicBezTo>
                      <a:pt x="628" y="298"/>
                      <a:pt x="623" y="339"/>
                      <a:pt x="621" y="383"/>
                    </a:cubicBezTo>
                    <a:cubicBezTo>
                      <a:pt x="658" y="381"/>
                      <a:pt x="697" y="381"/>
                      <a:pt x="735" y="380"/>
                    </a:cubicBezTo>
                    <a:cubicBezTo>
                      <a:pt x="737" y="339"/>
                      <a:pt x="739" y="298"/>
                      <a:pt x="740" y="257"/>
                    </a:cubicBezTo>
                    <a:cubicBezTo>
                      <a:pt x="704" y="257"/>
                      <a:pt x="670" y="255"/>
                      <a:pt x="634" y="254"/>
                    </a:cubicBezTo>
                    <a:cubicBezTo>
                      <a:pt x="634" y="252"/>
                      <a:pt x="632" y="254"/>
                      <a:pt x="632" y="256"/>
                    </a:cubicBezTo>
                    <a:close/>
                    <a:moveTo>
                      <a:pt x="788" y="257"/>
                    </a:moveTo>
                    <a:cubicBezTo>
                      <a:pt x="789" y="297"/>
                      <a:pt x="790" y="338"/>
                      <a:pt x="790" y="380"/>
                    </a:cubicBezTo>
                    <a:cubicBezTo>
                      <a:pt x="825" y="380"/>
                      <a:pt x="860" y="381"/>
                      <a:pt x="894" y="383"/>
                    </a:cubicBezTo>
                    <a:cubicBezTo>
                      <a:pt x="888" y="338"/>
                      <a:pt x="878" y="296"/>
                      <a:pt x="868" y="255"/>
                    </a:cubicBezTo>
                    <a:cubicBezTo>
                      <a:pt x="841" y="255"/>
                      <a:pt x="815" y="257"/>
                      <a:pt x="788" y="257"/>
                    </a:cubicBezTo>
                    <a:close/>
                    <a:moveTo>
                      <a:pt x="744" y="257"/>
                    </a:moveTo>
                    <a:cubicBezTo>
                      <a:pt x="740" y="296"/>
                      <a:pt x="740" y="339"/>
                      <a:pt x="738" y="380"/>
                    </a:cubicBezTo>
                    <a:cubicBezTo>
                      <a:pt x="755" y="380"/>
                      <a:pt x="771" y="380"/>
                      <a:pt x="788" y="380"/>
                    </a:cubicBezTo>
                    <a:cubicBezTo>
                      <a:pt x="788" y="338"/>
                      <a:pt x="786" y="298"/>
                      <a:pt x="786" y="257"/>
                    </a:cubicBezTo>
                    <a:cubicBezTo>
                      <a:pt x="772" y="257"/>
                      <a:pt x="758" y="257"/>
                      <a:pt x="744" y="257"/>
                    </a:cubicBezTo>
                    <a:close/>
                    <a:moveTo>
                      <a:pt x="286" y="259"/>
                    </a:moveTo>
                    <a:cubicBezTo>
                      <a:pt x="277" y="260"/>
                      <a:pt x="270" y="263"/>
                      <a:pt x="262" y="264"/>
                    </a:cubicBezTo>
                    <a:cubicBezTo>
                      <a:pt x="249" y="285"/>
                      <a:pt x="237" y="306"/>
                      <a:pt x="227" y="329"/>
                    </a:cubicBezTo>
                    <a:moveTo>
                      <a:pt x="227" y="329"/>
                    </a:moveTo>
                    <a:cubicBezTo>
                      <a:pt x="226" y="329"/>
                      <a:pt x="227" y="330"/>
                      <a:pt x="226" y="331"/>
                    </a:cubicBezTo>
                    <a:moveTo>
                      <a:pt x="226" y="331"/>
                    </a:moveTo>
                    <a:cubicBezTo>
                      <a:pt x="225" y="331"/>
                      <a:pt x="226" y="332"/>
                      <a:pt x="226" y="331"/>
                    </a:cubicBezTo>
                    <a:moveTo>
                      <a:pt x="226" y="331"/>
                    </a:moveTo>
                    <a:cubicBezTo>
                      <a:pt x="227" y="331"/>
                      <a:pt x="227" y="330"/>
                      <a:pt x="227" y="329"/>
                    </a:cubicBezTo>
                    <a:moveTo>
                      <a:pt x="286" y="259"/>
                    </a:moveTo>
                    <a:cubicBezTo>
                      <a:pt x="266" y="281"/>
                      <a:pt x="246" y="305"/>
                      <a:pt x="227" y="329"/>
                    </a:cubicBezTo>
                    <a:moveTo>
                      <a:pt x="286" y="259"/>
                    </a:moveTo>
                    <a:cubicBezTo>
                      <a:pt x="287" y="258"/>
                      <a:pt x="286" y="258"/>
                      <a:pt x="286" y="259"/>
                    </a:cubicBezTo>
                    <a:moveTo>
                      <a:pt x="257" y="266"/>
                    </a:moveTo>
                    <a:cubicBezTo>
                      <a:pt x="237" y="271"/>
                      <a:pt x="219" y="278"/>
                      <a:pt x="201" y="286"/>
                    </a:cubicBezTo>
                    <a:cubicBezTo>
                      <a:pt x="180" y="309"/>
                      <a:pt x="160" y="334"/>
                      <a:pt x="143" y="361"/>
                    </a:cubicBezTo>
                    <a:cubicBezTo>
                      <a:pt x="152" y="377"/>
                      <a:pt x="168" y="386"/>
                      <a:pt x="184" y="394"/>
                    </a:cubicBezTo>
                    <a:cubicBezTo>
                      <a:pt x="194" y="377"/>
                      <a:pt x="205" y="359"/>
                      <a:pt x="218" y="344"/>
                    </a:cubicBezTo>
                    <a:cubicBezTo>
                      <a:pt x="228" y="316"/>
                      <a:pt x="243" y="291"/>
                      <a:pt x="257" y="266"/>
                    </a:cubicBezTo>
                    <a:moveTo>
                      <a:pt x="257" y="266"/>
                    </a:moveTo>
                    <a:cubicBezTo>
                      <a:pt x="258" y="266"/>
                      <a:pt x="257" y="265"/>
                      <a:pt x="257" y="266"/>
                    </a:cubicBezTo>
                    <a:moveTo>
                      <a:pt x="1292" y="270"/>
                    </a:moveTo>
                    <a:cubicBezTo>
                      <a:pt x="1293" y="272"/>
                      <a:pt x="1293" y="270"/>
                      <a:pt x="1292" y="270"/>
                    </a:cubicBezTo>
                    <a:moveTo>
                      <a:pt x="1292" y="270"/>
                    </a:moveTo>
                    <a:cubicBezTo>
                      <a:pt x="1291" y="269"/>
                      <a:pt x="1291" y="270"/>
                      <a:pt x="1292" y="270"/>
                    </a:cubicBezTo>
                    <a:moveTo>
                      <a:pt x="1295" y="275"/>
                    </a:moveTo>
                    <a:cubicBezTo>
                      <a:pt x="1316" y="310"/>
                      <a:pt x="1336" y="347"/>
                      <a:pt x="1351" y="387"/>
                    </a:cubicBezTo>
                    <a:cubicBezTo>
                      <a:pt x="1360" y="383"/>
                      <a:pt x="1368" y="378"/>
                      <a:pt x="1373" y="371"/>
                    </a:cubicBezTo>
                    <a:cubicBezTo>
                      <a:pt x="1349" y="337"/>
                      <a:pt x="1324" y="306"/>
                      <a:pt x="1298" y="275"/>
                    </a:cubicBezTo>
                    <a:cubicBezTo>
                      <a:pt x="1297" y="275"/>
                      <a:pt x="1296" y="275"/>
                      <a:pt x="1295" y="275"/>
                    </a:cubicBezTo>
                    <a:moveTo>
                      <a:pt x="1295" y="275"/>
                    </a:moveTo>
                    <a:cubicBezTo>
                      <a:pt x="1294" y="274"/>
                      <a:pt x="1294" y="275"/>
                      <a:pt x="1295" y="275"/>
                    </a:cubicBezTo>
                    <a:moveTo>
                      <a:pt x="1375" y="370"/>
                    </a:moveTo>
                    <a:cubicBezTo>
                      <a:pt x="1380" y="364"/>
                      <a:pt x="1385" y="359"/>
                      <a:pt x="1387" y="350"/>
                    </a:cubicBezTo>
                    <a:cubicBezTo>
                      <a:pt x="1378" y="334"/>
                      <a:pt x="1367" y="319"/>
                      <a:pt x="1357" y="303"/>
                    </a:cubicBezTo>
                    <a:cubicBezTo>
                      <a:pt x="1341" y="294"/>
                      <a:pt x="1322" y="283"/>
                      <a:pt x="1303" y="279"/>
                    </a:cubicBezTo>
                    <a:cubicBezTo>
                      <a:pt x="1330" y="307"/>
                      <a:pt x="1352" y="339"/>
                      <a:pt x="1375" y="370"/>
                    </a:cubicBezTo>
                    <a:close/>
                    <a:moveTo>
                      <a:pt x="194" y="289"/>
                    </a:moveTo>
                    <a:cubicBezTo>
                      <a:pt x="177" y="295"/>
                      <a:pt x="173" y="313"/>
                      <a:pt x="164" y="326"/>
                    </a:cubicBezTo>
                    <a:moveTo>
                      <a:pt x="164" y="326"/>
                    </a:moveTo>
                    <a:cubicBezTo>
                      <a:pt x="163" y="326"/>
                      <a:pt x="163" y="326"/>
                      <a:pt x="163" y="327"/>
                    </a:cubicBezTo>
                    <a:moveTo>
                      <a:pt x="163" y="327"/>
                    </a:moveTo>
                    <a:cubicBezTo>
                      <a:pt x="162" y="327"/>
                      <a:pt x="162" y="328"/>
                      <a:pt x="162" y="329"/>
                    </a:cubicBezTo>
                    <a:moveTo>
                      <a:pt x="162" y="329"/>
                    </a:moveTo>
                    <a:cubicBezTo>
                      <a:pt x="161" y="329"/>
                      <a:pt x="162" y="330"/>
                      <a:pt x="162" y="329"/>
                    </a:cubicBezTo>
                    <a:moveTo>
                      <a:pt x="162" y="329"/>
                    </a:moveTo>
                    <a:cubicBezTo>
                      <a:pt x="163" y="329"/>
                      <a:pt x="163" y="328"/>
                      <a:pt x="163" y="327"/>
                    </a:cubicBezTo>
                    <a:moveTo>
                      <a:pt x="163" y="327"/>
                    </a:moveTo>
                    <a:cubicBezTo>
                      <a:pt x="164" y="327"/>
                      <a:pt x="164" y="326"/>
                      <a:pt x="164" y="326"/>
                    </a:cubicBezTo>
                    <a:moveTo>
                      <a:pt x="164" y="326"/>
                    </a:moveTo>
                    <a:cubicBezTo>
                      <a:pt x="174" y="314"/>
                      <a:pt x="184" y="302"/>
                      <a:pt x="194" y="289"/>
                    </a:cubicBezTo>
                    <a:moveTo>
                      <a:pt x="194" y="289"/>
                    </a:moveTo>
                    <a:cubicBezTo>
                      <a:pt x="195" y="289"/>
                      <a:pt x="194" y="288"/>
                      <a:pt x="194" y="289"/>
                    </a:cubicBezTo>
                    <a:moveTo>
                      <a:pt x="472" y="295"/>
                    </a:moveTo>
                    <a:cubicBezTo>
                      <a:pt x="472" y="295"/>
                      <a:pt x="471" y="295"/>
                      <a:pt x="471" y="295"/>
                    </a:cubicBezTo>
                    <a:cubicBezTo>
                      <a:pt x="454" y="329"/>
                      <a:pt x="436" y="362"/>
                      <a:pt x="422" y="400"/>
                    </a:cubicBezTo>
                    <a:moveTo>
                      <a:pt x="422" y="400"/>
                    </a:moveTo>
                    <a:cubicBezTo>
                      <a:pt x="421" y="400"/>
                      <a:pt x="422" y="401"/>
                      <a:pt x="422" y="400"/>
                    </a:cubicBezTo>
                    <a:moveTo>
                      <a:pt x="422" y="400"/>
                    </a:moveTo>
                    <a:cubicBezTo>
                      <a:pt x="434" y="400"/>
                      <a:pt x="442" y="397"/>
                      <a:pt x="454" y="397"/>
                    </a:cubicBezTo>
                    <a:cubicBezTo>
                      <a:pt x="458" y="361"/>
                      <a:pt x="466" y="329"/>
                      <a:pt x="472" y="295"/>
                    </a:cubicBezTo>
                    <a:moveTo>
                      <a:pt x="472" y="295"/>
                    </a:moveTo>
                    <a:cubicBezTo>
                      <a:pt x="475" y="295"/>
                      <a:pt x="471" y="291"/>
                      <a:pt x="472" y="295"/>
                    </a:cubicBezTo>
                    <a:moveTo>
                      <a:pt x="178" y="297"/>
                    </a:moveTo>
                    <a:cubicBezTo>
                      <a:pt x="158" y="308"/>
                      <a:pt x="126" y="328"/>
                      <a:pt x="141" y="359"/>
                    </a:cubicBezTo>
                    <a:cubicBezTo>
                      <a:pt x="153" y="338"/>
                      <a:pt x="165" y="317"/>
                      <a:pt x="178" y="297"/>
                    </a:cubicBezTo>
                    <a:moveTo>
                      <a:pt x="178" y="297"/>
                    </a:moveTo>
                    <a:cubicBezTo>
                      <a:pt x="180" y="296"/>
                      <a:pt x="178" y="296"/>
                      <a:pt x="178" y="297"/>
                    </a:cubicBezTo>
                    <a:moveTo>
                      <a:pt x="1364" y="309"/>
                    </a:moveTo>
                    <a:cubicBezTo>
                      <a:pt x="1364" y="309"/>
                      <a:pt x="1364" y="310"/>
                      <a:pt x="1365" y="310"/>
                    </a:cubicBezTo>
                    <a:moveTo>
                      <a:pt x="1365" y="310"/>
                    </a:moveTo>
                    <a:cubicBezTo>
                      <a:pt x="1365" y="310"/>
                      <a:pt x="1365" y="310"/>
                      <a:pt x="1366" y="311"/>
                    </a:cubicBezTo>
                    <a:moveTo>
                      <a:pt x="1366" y="311"/>
                    </a:moveTo>
                    <a:cubicBezTo>
                      <a:pt x="1366" y="312"/>
                      <a:pt x="1366" y="312"/>
                      <a:pt x="1367" y="312"/>
                    </a:cubicBezTo>
                    <a:moveTo>
                      <a:pt x="1367" y="312"/>
                    </a:moveTo>
                    <a:cubicBezTo>
                      <a:pt x="1367" y="313"/>
                      <a:pt x="1367" y="313"/>
                      <a:pt x="1368" y="313"/>
                    </a:cubicBezTo>
                    <a:moveTo>
                      <a:pt x="1368" y="313"/>
                    </a:moveTo>
                    <a:cubicBezTo>
                      <a:pt x="1374" y="324"/>
                      <a:pt x="1380" y="335"/>
                      <a:pt x="1388" y="345"/>
                    </a:cubicBezTo>
                    <a:cubicBezTo>
                      <a:pt x="1386" y="330"/>
                      <a:pt x="1375" y="324"/>
                      <a:pt x="1368" y="313"/>
                    </a:cubicBezTo>
                    <a:moveTo>
                      <a:pt x="1368" y="313"/>
                    </a:moveTo>
                    <a:cubicBezTo>
                      <a:pt x="1368" y="313"/>
                      <a:pt x="1367" y="312"/>
                      <a:pt x="1367" y="312"/>
                    </a:cubicBezTo>
                    <a:moveTo>
                      <a:pt x="1367" y="312"/>
                    </a:moveTo>
                    <a:cubicBezTo>
                      <a:pt x="1367" y="311"/>
                      <a:pt x="1367" y="311"/>
                      <a:pt x="1366" y="311"/>
                    </a:cubicBezTo>
                    <a:moveTo>
                      <a:pt x="1366" y="311"/>
                    </a:moveTo>
                    <a:cubicBezTo>
                      <a:pt x="1366" y="310"/>
                      <a:pt x="1365" y="310"/>
                      <a:pt x="1365" y="310"/>
                    </a:cubicBezTo>
                    <a:moveTo>
                      <a:pt x="1365" y="310"/>
                    </a:moveTo>
                    <a:cubicBezTo>
                      <a:pt x="1365" y="309"/>
                      <a:pt x="1365" y="309"/>
                      <a:pt x="1364" y="309"/>
                    </a:cubicBezTo>
                    <a:moveTo>
                      <a:pt x="1364" y="309"/>
                    </a:moveTo>
                    <a:cubicBezTo>
                      <a:pt x="1363" y="307"/>
                      <a:pt x="1363" y="309"/>
                      <a:pt x="1364" y="309"/>
                    </a:cubicBezTo>
                    <a:moveTo>
                      <a:pt x="1379" y="323"/>
                    </a:moveTo>
                    <a:cubicBezTo>
                      <a:pt x="1380" y="324"/>
                      <a:pt x="1380" y="323"/>
                      <a:pt x="1379" y="323"/>
                    </a:cubicBezTo>
                    <a:moveTo>
                      <a:pt x="1379" y="323"/>
                    </a:moveTo>
                    <a:cubicBezTo>
                      <a:pt x="1379" y="322"/>
                      <a:pt x="1378" y="323"/>
                      <a:pt x="1379" y="323"/>
                    </a:cubicBezTo>
                    <a:moveTo>
                      <a:pt x="160" y="332"/>
                    </a:moveTo>
                    <a:cubicBezTo>
                      <a:pt x="159" y="332"/>
                      <a:pt x="160" y="333"/>
                      <a:pt x="160" y="332"/>
                    </a:cubicBezTo>
                    <a:moveTo>
                      <a:pt x="160" y="332"/>
                    </a:moveTo>
                    <a:cubicBezTo>
                      <a:pt x="161" y="331"/>
                      <a:pt x="160" y="330"/>
                      <a:pt x="160" y="332"/>
                    </a:cubicBezTo>
                    <a:moveTo>
                      <a:pt x="224" y="334"/>
                    </a:moveTo>
                    <a:cubicBezTo>
                      <a:pt x="224" y="333"/>
                      <a:pt x="225" y="334"/>
                      <a:pt x="224" y="334"/>
                    </a:cubicBezTo>
                    <a:close/>
                    <a:moveTo>
                      <a:pt x="326" y="336"/>
                    </a:moveTo>
                    <a:cubicBezTo>
                      <a:pt x="307" y="364"/>
                      <a:pt x="290" y="395"/>
                      <a:pt x="274" y="426"/>
                    </a:cubicBezTo>
                    <a:cubicBezTo>
                      <a:pt x="285" y="423"/>
                      <a:pt x="296" y="421"/>
                      <a:pt x="306" y="419"/>
                    </a:cubicBezTo>
                    <a:cubicBezTo>
                      <a:pt x="311" y="390"/>
                      <a:pt x="319" y="364"/>
                      <a:pt x="326" y="336"/>
                    </a:cubicBezTo>
                    <a:moveTo>
                      <a:pt x="326" y="336"/>
                    </a:moveTo>
                    <a:cubicBezTo>
                      <a:pt x="329" y="336"/>
                      <a:pt x="325" y="332"/>
                      <a:pt x="326" y="336"/>
                    </a:cubicBezTo>
                    <a:moveTo>
                      <a:pt x="44" y="524"/>
                    </a:moveTo>
                    <a:cubicBezTo>
                      <a:pt x="49" y="523"/>
                      <a:pt x="54" y="514"/>
                      <a:pt x="59" y="510"/>
                    </a:cubicBezTo>
                    <a:cubicBezTo>
                      <a:pt x="80" y="455"/>
                      <a:pt x="109" y="407"/>
                      <a:pt x="139" y="360"/>
                    </a:cubicBezTo>
                    <a:cubicBezTo>
                      <a:pt x="134" y="356"/>
                      <a:pt x="135" y="347"/>
                      <a:pt x="133" y="339"/>
                    </a:cubicBezTo>
                    <a:cubicBezTo>
                      <a:pt x="97" y="394"/>
                      <a:pt x="66" y="454"/>
                      <a:pt x="44" y="524"/>
                    </a:cubicBezTo>
                    <a:close/>
                    <a:moveTo>
                      <a:pt x="1483" y="528"/>
                    </a:moveTo>
                    <a:cubicBezTo>
                      <a:pt x="1482" y="532"/>
                      <a:pt x="1486" y="529"/>
                      <a:pt x="1483" y="528"/>
                    </a:cubicBezTo>
                    <a:moveTo>
                      <a:pt x="1483" y="528"/>
                    </a:moveTo>
                    <a:cubicBezTo>
                      <a:pt x="1460" y="465"/>
                      <a:pt x="1432" y="396"/>
                      <a:pt x="1393" y="347"/>
                    </a:cubicBezTo>
                    <a:cubicBezTo>
                      <a:pt x="1393" y="347"/>
                      <a:pt x="1391" y="343"/>
                      <a:pt x="1390" y="345"/>
                    </a:cubicBezTo>
                    <a:cubicBezTo>
                      <a:pt x="1401" y="371"/>
                      <a:pt x="1415" y="395"/>
                      <a:pt x="1425" y="421"/>
                    </a:cubicBezTo>
                    <a:cubicBezTo>
                      <a:pt x="1436" y="447"/>
                      <a:pt x="1448" y="473"/>
                      <a:pt x="1455" y="503"/>
                    </a:cubicBezTo>
                    <a:cubicBezTo>
                      <a:pt x="1466" y="510"/>
                      <a:pt x="1474" y="519"/>
                      <a:pt x="1483" y="528"/>
                    </a:cubicBezTo>
                    <a:moveTo>
                      <a:pt x="1376" y="374"/>
                    </a:moveTo>
                    <a:cubicBezTo>
                      <a:pt x="1396" y="402"/>
                      <a:pt x="1417" y="437"/>
                      <a:pt x="1432" y="470"/>
                    </a:cubicBezTo>
                    <a:cubicBezTo>
                      <a:pt x="1437" y="481"/>
                      <a:pt x="1440" y="496"/>
                      <a:pt x="1452" y="499"/>
                    </a:cubicBezTo>
                    <a:cubicBezTo>
                      <a:pt x="1435" y="446"/>
                      <a:pt x="1415" y="397"/>
                      <a:pt x="1389" y="354"/>
                    </a:cubicBezTo>
                    <a:cubicBezTo>
                      <a:pt x="1386" y="362"/>
                      <a:pt x="1380" y="367"/>
                      <a:pt x="1376" y="374"/>
                    </a:cubicBezTo>
                    <a:close/>
                    <a:moveTo>
                      <a:pt x="212" y="356"/>
                    </a:moveTo>
                    <a:cubicBezTo>
                      <a:pt x="212" y="355"/>
                      <a:pt x="213" y="356"/>
                      <a:pt x="212" y="356"/>
                    </a:cubicBezTo>
                    <a:close/>
                    <a:moveTo>
                      <a:pt x="211" y="358"/>
                    </a:moveTo>
                    <a:cubicBezTo>
                      <a:pt x="202" y="370"/>
                      <a:pt x="193" y="382"/>
                      <a:pt x="186" y="396"/>
                    </a:cubicBezTo>
                    <a:cubicBezTo>
                      <a:pt x="190" y="396"/>
                      <a:pt x="192" y="399"/>
                      <a:pt x="196" y="400"/>
                    </a:cubicBezTo>
                    <a:cubicBezTo>
                      <a:pt x="201" y="386"/>
                      <a:pt x="206" y="372"/>
                      <a:pt x="211" y="358"/>
                    </a:cubicBezTo>
                    <a:moveTo>
                      <a:pt x="211" y="358"/>
                    </a:moveTo>
                    <a:cubicBezTo>
                      <a:pt x="212" y="357"/>
                      <a:pt x="211" y="356"/>
                      <a:pt x="211" y="358"/>
                    </a:cubicBezTo>
                    <a:moveTo>
                      <a:pt x="94" y="487"/>
                    </a:moveTo>
                    <a:cubicBezTo>
                      <a:pt x="109" y="477"/>
                      <a:pt x="127" y="470"/>
                      <a:pt x="146" y="463"/>
                    </a:cubicBezTo>
                    <a:cubicBezTo>
                      <a:pt x="156" y="439"/>
                      <a:pt x="170" y="418"/>
                      <a:pt x="182" y="396"/>
                    </a:cubicBezTo>
                    <a:cubicBezTo>
                      <a:pt x="166" y="389"/>
                      <a:pt x="152" y="378"/>
                      <a:pt x="141" y="365"/>
                    </a:cubicBezTo>
                    <a:cubicBezTo>
                      <a:pt x="123" y="403"/>
                      <a:pt x="103" y="444"/>
                      <a:pt x="94" y="487"/>
                    </a:cubicBezTo>
                    <a:close/>
                    <a:moveTo>
                      <a:pt x="132" y="376"/>
                    </a:moveTo>
                    <a:cubicBezTo>
                      <a:pt x="132" y="375"/>
                      <a:pt x="133" y="376"/>
                      <a:pt x="132" y="376"/>
                    </a:cubicBezTo>
                    <a:close/>
                    <a:moveTo>
                      <a:pt x="1374" y="375"/>
                    </a:moveTo>
                    <a:cubicBezTo>
                      <a:pt x="1368" y="382"/>
                      <a:pt x="1359" y="386"/>
                      <a:pt x="1352" y="391"/>
                    </a:cubicBezTo>
                    <a:cubicBezTo>
                      <a:pt x="1362" y="413"/>
                      <a:pt x="1369" y="437"/>
                      <a:pt x="1375" y="462"/>
                    </a:cubicBezTo>
                    <a:cubicBezTo>
                      <a:pt x="1398" y="469"/>
                      <a:pt x="1420" y="482"/>
                      <a:pt x="1439" y="490"/>
                    </a:cubicBezTo>
                    <a:cubicBezTo>
                      <a:pt x="1419" y="450"/>
                      <a:pt x="1399" y="409"/>
                      <a:pt x="1374" y="375"/>
                    </a:cubicBezTo>
                    <a:close/>
                    <a:moveTo>
                      <a:pt x="131" y="378"/>
                    </a:moveTo>
                    <a:cubicBezTo>
                      <a:pt x="131" y="378"/>
                      <a:pt x="131" y="378"/>
                      <a:pt x="130" y="378"/>
                    </a:cubicBezTo>
                    <a:cubicBezTo>
                      <a:pt x="106" y="418"/>
                      <a:pt x="82" y="459"/>
                      <a:pt x="64" y="505"/>
                    </a:cubicBezTo>
                    <a:moveTo>
                      <a:pt x="64" y="505"/>
                    </a:moveTo>
                    <a:cubicBezTo>
                      <a:pt x="63" y="506"/>
                      <a:pt x="64" y="507"/>
                      <a:pt x="64" y="505"/>
                    </a:cubicBezTo>
                    <a:moveTo>
                      <a:pt x="64" y="505"/>
                    </a:moveTo>
                    <a:cubicBezTo>
                      <a:pt x="73" y="500"/>
                      <a:pt x="80" y="494"/>
                      <a:pt x="90" y="489"/>
                    </a:cubicBezTo>
                    <a:cubicBezTo>
                      <a:pt x="100" y="448"/>
                      <a:pt x="116" y="413"/>
                      <a:pt x="131" y="378"/>
                    </a:cubicBezTo>
                    <a:moveTo>
                      <a:pt x="131" y="378"/>
                    </a:moveTo>
                    <a:cubicBezTo>
                      <a:pt x="133" y="377"/>
                      <a:pt x="131" y="377"/>
                      <a:pt x="131" y="378"/>
                    </a:cubicBezTo>
                    <a:moveTo>
                      <a:pt x="620" y="385"/>
                    </a:moveTo>
                    <a:cubicBezTo>
                      <a:pt x="619" y="415"/>
                      <a:pt x="617" y="444"/>
                      <a:pt x="616" y="473"/>
                    </a:cubicBezTo>
                    <a:cubicBezTo>
                      <a:pt x="654" y="475"/>
                      <a:pt x="693" y="476"/>
                      <a:pt x="732" y="477"/>
                    </a:cubicBezTo>
                    <a:cubicBezTo>
                      <a:pt x="733" y="445"/>
                      <a:pt x="734" y="414"/>
                      <a:pt x="735" y="383"/>
                    </a:cubicBezTo>
                    <a:cubicBezTo>
                      <a:pt x="695" y="382"/>
                      <a:pt x="658" y="384"/>
                      <a:pt x="620" y="385"/>
                    </a:cubicBezTo>
                    <a:close/>
                    <a:moveTo>
                      <a:pt x="739" y="383"/>
                    </a:moveTo>
                    <a:cubicBezTo>
                      <a:pt x="736" y="412"/>
                      <a:pt x="736" y="445"/>
                      <a:pt x="735" y="477"/>
                    </a:cubicBezTo>
                    <a:cubicBezTo>
                      <a:pt x="753" y="477"/>
                      <a:pt x="771" y="477"/>
                      <a:pt x="789" y="477"/>
                    </a:cubicBezTo>
                    <a:cubicBezTo>
                      <a:pt x="789" y="445"/>
                      <a:pt x="787" y="415"/>
                      <a:pt x="788" y="383"/>
                    </a:cubicBezTo>
                    <a:cubicBezTo>
                      <a:pt x="772" y="383"/>
                      <a:pt x="755" y="383"/>
                      <a:pt x="739" y="383"/>
                    </a:cubicBezTo>
                    <a:close/>
                    <a:moveTo>
                      <a:pt x="792" y="383"/>
                    </a:moveTo>
                    <a:cubicBezTo>
                      <a:pt x="790" y="412"/>
                      <a:pt x="791" y="446"/>
                      <a:pt x="791" y="477"/>
                    </a:cubicBezTo>
                    <a:cubicBezTo>
                      <a:pt x="831" y="476"/>
                      <a:pt x="871" y="475"/>
                      <a:pt x="910" y="473"/>
                    </a:cubicBezTo>
                    <a:cubicBezTo>
                      <a:pt x="905" y="443"/>
                      <a:pt x="901" y="414"/>
                      <a:pt x="895" y="385"/>
                    </a:cubicBezTo>
                    <a:cubicBezTo>
                      <a:pt x="862" y="384"/>
                      <a:pt x="827" y="382"/>
                      <a:pt x="792" y="383"/>
                    </a:cubicBezTo>
                    <a:close/>
                    <a:moveTo>
                      <a:pt x="616" y="385"/>
                    </a:moveTo>
                    <a:cubicBezTo>
                      <a:pt x="616" y="385"/>
                      <a:pt x="615" y="385"/>
                      <a:pt x="615" y="385"/>
                    </a:cubicBezTo>
                    <a:cubicBezTo>
                      <a:pt x="603" y="387"/>
                      <a:pt x="589" y="387"/>
                      <a:pt x="577" y="388"/>
                    </a:cubicBezTo>
                    <a:cubicBezTo>
                      <a:pt x="571" y="416"/>
                      <a:pt x="564" y="441"/>
                      <a:pt x="559" y="470"/>
                    </a:cubicBezTo>
                    <a:cubicBezTo>
                      <a:pt x="578" y="470"/>
                      <a:pt x="595" y="472"/>
                      <a:pt x="613" y="473"/>
                    </a:cubicBezTo>
                    <a:cubicBezTo>
                      <a:pt x="612" y="443"/>
                      <a:pt x="617" y="409"/>
                      <a:pt x="616" y="385"/>
                    </a:cubicBezTo>
                    <a:close/>
                    <a:moveTo>
                      <a:pt x="914" y="473"/>
                    </a:moveTo>
                    <a:cubicBezTo>
                      <a:pt x="930" y="472"/>
                      <a:pt x="946" y="470"/>
                      <a:pt x="963" y="470"/>
                    </a:cubicBezTo>
                    <a:cubicBezTo>
                      <a:pt x="960" y="443"/>
                      <a:pt x="960" y="414"/>
                      <a:pt x="957" y="388"/>
                    </a:cubicBezTo>
                    <a:cubicBezTo>
                      <a:pt x="937" y="388"/>
                      <a:pt x="919" y="386"/>
                      <a:pt x="900" y="385"/>
                    </a:cubicBezTo>
                    <a:cubicBezTo>
                      <a:pt x="904" y="415"/>
                      <a:pt x="910" y="442"/>
                      <a:pt x="914" y="473"/>
                    </a:cubicBezTo>
                    <a:close/>
                    <a:moveTo>
                      <a:pt x="456" y="399"/>
                    </a:moveTo>
                    <a:cubicBezTo>
                      <a:pt x="454" y="419"/>
                      <a:pt x="451" y="438"/>
                      <a:pt x="450" y="459"/>
                    </a:cubicBezTo>
                    <a:cubicBezTo>
                      <a:pt x="486" y="462"/>
                      <a:pt x="520" y="467"/>
                      <a:pt x="557" y="469"/>
                    </a:cubicBezTo>
                    <a:cubicBezTo>
                      <a:pt x="561" y="441"/>
                      <a:pt x="569" y="416"/>
                      <a:pt x="574" y="388"/>
                    </a:cubicBezTo>
                    <a:cubicBezTo>
                      <a:pt x="534" y="391"/>
                      <a:pt x="494" y="394"/>
                      <a:pt x="456" y="399"/>
                    </a:cubicBezTo>
                    <a:close/>
                    <a:moveTo>
                      <a:pt x="960" y="389"/>
                    </a:moveTo>
                    <a:cubicBezTo>
                      <a:pt x="962" y="415"/>
                      <a:pt x="964" y="441"/>
                      <a:pt x="965" y="469"/>
                    </a:cubicBezTo>
                    <a:cubicBezTo>
                      <a:pt x="1003" y="467"/>
                      <a:pt x="1042" y="464"/>
                      <a:pt x="1076" y="457"/>
                    </a:cubicBezTo>
                    <a:cubicBezTo>
                      <a:pt x="1068" y="438"/>
                      <a:pt x="1062" y="417"/>
                      <a:pt x="1055" y="397"/>
                    </a:cubicBezTo>
                    <a:cubicBezTo>
                      <a:pt x="1023" y="395"/>
                      <a:pt x="993" y="391"/>
                      <a:pt x="960" y="389"/>
                    </a:cubicBezTo>
                    <a:close/>
                    <a:moveTo>
                      <a:pt x="1349" y="392"/>
                    </a:moveTo>
                    <a:cubicBezTo>
                      <a:pt x="1340" y="398"/>
                      <a:pt x="1329" y="402"/>
                      <a:pt x="1319" y="407"/>
                    </a:cubicBezTo>
                    <a:cubicBezTo>
                      <a:pt x="1327" y="421"/>
                      <a:pt x="1335" y="436"/>
                      <a:pt x="1343" y="451"/>
                    </a:cubicBezTo>
                    <a:cubicBezTo>
                      <a:pt x="1354" y="453"/>
                      <a:pt x="1362" y="458"/>
                      <a:pt x="1373" y="460"/>
                    </a:cubicBezTo>
                    <a:cubicBezTo>
                      <a:pt x="1366" y="439"/>
                      <a:pt x="1359" y="407"/>
                      <a:pt x="1349" y="392"/>
                    </a:cubicBezTo>
                    <a:close/>
                    <a:moveTo>
                      <a:pt x="184" y="398"/>
                    </a:moveTo>
                    <a:cubicBezTo>
                      <a:pt x="173" y="419"/>
                      <a:pt x="160" y="439"/>
                      <a:pt x="150" y="461"/>
                    </a:cubicBezTo>
                    <a:cubicBezTo>
                      <a:pt x="160" y="458"/>
                      <a:pt x="170" y="454"/>
                      <a:pt x="181" y="451"/>
                    </a:cubicBezTo>
                    <a:cubicBezTo>
                      <a:pt x="185" y="434"/>
                      <a:pt x="190" y="419"/>
                      <a:pt x="195" y="403"/>
                    </a:cubicBezTo>
                    <a:cubicBezTo>
                      <a:pt x="191" y="401"/>
                      <a:pt x="188" y="399"/>
                      <a:pt x="184" y="398"/>
                    </a:cubicBezTo>
                    <a:close/>
                    <a:moveTo>
                      <a:pt x="1079" y="458"/>
                    </a:moveTo>
                    <a:cubicBezTo>
                      <a:pt x="1094" y="457"/>
                      <a:pt x="1108" y="454"/>
                      <a:pt x="1123" y="453"/>
                    </a:cubicBezTo>
                    <a:cubicBezTo>
                      <a:pt x="1122" y="436"/>
                      <a:pt x="1119" y="421"/>
                      <a:pt x="1117" y="405"/>
                    </a:cubicBezTo>
                    <a:cubicBezTo>
                      <a:pt x="1097" y="404"/>
                      <a:pt x="1077" y="398"/>
                      <a:pt x="1058" y="399"/>
                    </a:cubicBezTo>
                    <a:cubicBezTo>
                      <a:pt x="1066" y="417"/>
                      <a:pt x="1071" y="439"/>
                      <a:pt x="1079" y="458"/>
                    </a:cubicBezTo>
                    <a:close/>
                    <a:moveTo>
                      <a:pt x="420" y="403"/>
                    </a:moveTo>
                    <a:cubicBezTo>
                      <a:pt x="414" y="419"/>
                      <a:pt x="407" y="435"/>
                      <a:pt x="401" y="453"/>
                    </a:cubicBezTo>
                    <a:cubicBezTo>
                      <a:pt x="417" y="454"/>
                      <a:pt x="431" y="457"/>
                      <a:pt x="447" y="458"/>
                    </a:cubicBezTo>
                    <a:cubicBezTo>
                      <a:pt x="449" y="438"/>
                      <a:pt x="451" y="418"/>
                      <a:pt x="454" y="399"/>
                    </a:cubicBezTo>
                    <a:cubicBezTo>
                      <a:pt x="453" y="399"/>
                      <a:pt x="453" y="399"/>
                      <a:pt x="452" y="399"/>
                    </a:cubicBezTo>
                    <a:cubicBezTo>
                      <a:pt x="442" y="401"/>
                      <a:pt x="431" y="402"/>
                      <a:pt x="420" y="403"/>
                    </a:cubicBezTo>
                    <a:close/>
                    <a:moveTo>
                      <a:pt x="185" y="450"/>
                    </a:moveTo>
                    <a:cubicBezTo>
                      <a:pt x="210" y="440"/>
                      <a:pt x="240" y="435"/>
                      <a:pt x="266" y="427"/>
                    </a:cubicBezTo>
                    <a:cubicBezTo>
                      <a:pt x="241" y="421"/>
                      <a:pt x="219" y="413"/>
                      <a:pt x="198" y="404"/>
                    </a:cubicBezTo>
                    <a:cubicBezTo>
                      <a:pt x="193" y="418"/>
                      <a:pt x="187" y="436"/>
                      <a:pt x="185" y="450"/>
                    </a:cubicBezTo>
                    <a:close/>
                    <a:moveTo>
                      <a:pt x="308" y="421"/>
                    </a:moveTo>
                    <a:cubicBezTo>
                      <a:pt x="307" y="425"/>
                      <a:pt x="307" y="430"/>
                      <a:pt x="305" y="434"/>
                    </a:cubicBezTo>
                    <a:cubicBezTo>
                      <a:pt x="335" y="441"/>
                      <a:pt x="366" y="447"/>
                      <a:pt x="398" y="452"/>
                    </a:cubicBezTo>
                    <a:cubicBezTo>
                      <a:pt x="401" y="444"/>
                      <a:pt x="405" y="436"/>
                      <a:pt x="408" y="428"/>
                    </a:cubicBezTo>
                    <a:cubicBezTo>
                      <a:pt x="411" y="419"/>
                      <a:pt x="416" y="410"/>
                      <a:pt x="414" y="404"/>
                    </a:cubicBezTo>
                    <a:cubicBezTo>
                      <a:pt x="378" y="409"/>
                      <a:pt x="343" y="415"/>
                      <a:pt x="308" y="421"/>
                    </a:cubicBezTo>
                    <a:close/>
                    <a:moveTo>
                      <a:pt x="1126" y="452"/>
                    </a:moveTo>
                    <a:cubicBezTo>
                      <a:pt x="1156" y="447"/>
                      <a:pt x="1185" y="442"/>
                      <a:pt x="1213" y="435"/>
                    </a:cubicBezTo>
                    <a:cubicBezTo>
                      <a:pt x="1212" y="429"/>
                      <a:pt x="1208" y="425"/>
                      <a:pt x="1206" y="419"/>
                    </a:cubicBezTo>
                    <a:cubicBezTo>
                      <a:pt x="1178" y="415"/>
                      <a:pt x="1148" y="407"/>
                      <a:pt x="1119" y="407"/>
                    </a:cubicBezTo>
                    <a:cubicBezTo>
                      <a:pt x="1123" y="420"/>
                      <a:pt x="1123" y="437"/>
                      <a:pt x="1126" y="452"/>
                    </a:cubicBezTo>
                    <a:close/>
                    <a:moveTo>
                      <a:pt x="1317" y="408"/>
                    </a:moveTo>
                    <a:cubicBezTo>
                      <a:pt x="1298" y="416"/>
                      <a:pt x="1277" y="420"/>
                      <a:pt x="1260" y="429"/>
                    </a:cubicBezTo>
                    <a:cubicBezTo>
                      <a:pt x="1288" y="434"/>
                      <a:pt x="1313" y="441"/>
                      <a:pt x="1338" y="449"/>
                    </a:cubicBezTo>
                    <a:cubicBezTo>
                      <a:pt x="1332" y="434"/>
                      <a:pt x="1323" y="423"/>
                      <a:pt x="1317" y="408"/>
                    </a:cubicBezTo>
                    <a:close/>
                    <a:moveTo>
                      <a:pt x="1216" y="434"/>
                    </a:moveTo>
                    <a:cubicBezTo>
                      <a:pt x="1226" y="433"/>
                      <a:pt x="1237" y="431"/>
                      <a:pt x="1245" y="427"/>
                    </a:cubicBezTo>
                    <a:cubicBezTo>
                      <a:pt x="1232" y="426"/>
                      <a:pt x="1220" y="420"/>
                      <a:pt x="1209" y="421"/>
                    </a:cubicBezTo>
                    <a:cubicBezTo>
                      <a:pt x="1213" y="424"/>
                      <a:pt x="1214" y="430"/>
                      <a:pt x="1216" y="434"/>
                    </a:cubicBezTo>
                    <a:close/>
                    <a:moveTo>
                      <a:pt x="279" y="427"/>
                    </a:moveTo>
                    <a:cubicBezTo>
                      <a:pt x="285" y="431"/>
                      <a:pt x="295" y="431"/>
                      <a:pt x="303" y="433"/>
                    </a:cubicBezTo>
                    <a:cubicBezTo>
                      <a:pt x="303" y="429"/>
                      <a:pt x="305" y="426"/>
                      <a:pt x="305" y="422"/>
                    </a:cubicBezTo>
                    <a:cubicBezTo>
                      <a:pt x="296" y="423"/>
                      <a:pt x="289" y="426"/>
                      <a:pt x="279" y="427"/>
                    </a:cubicBezTo>
                    <a:close/>
                    <a:moveTo>
                      <a:pt x="1218" y="437"/>
                    </a:moveTo>
                    <a:cubicBezTo>
                      <a:pt x="1240" y="486"/>
                      <a:pt x="1259" y="538"/>
                      <a:pt x="1277" y="593"/>
                    </a:cubicBezTo>
                    <a:cubicBezTo>
                      <a:pt x="1275" y="533"/>
                      <a:pt x="1270" y="478"/>
                      <a:pt x="1257" y="430"/>
                    </a:cubicBezTo>
                    <a:cubicBezTo>
                      <a:pt x="1244" y="429"/>
                      <a:pt x="1232" y="435"/>
                      <a:pt x="1218" y="437"/>
                    </a:cubicBezTo>
                    <a:close/>
                    <a:moveTo>
                      <a:pt x="183" y="453"/>
                    </a:moveTo>
                    <a:cubicBezTo>
                      <a:pt x="169" y="514"/>
                      <a:pt x="159" y="583"/>
                      <a:pt x="163" y="659"/>
                    </a:cubicBezTo>
                    <a:cubicBezTo>
                      <a:pt x="171" y="655"/>
                      <a:pt x="179" y="652"/>
                      <a:pt x="188" y="650"/>
                    </a:cubicBezTo>
                    <a:cubicBezTo>
                      <a:pt x="208" y="570"/>
                      <a:pt x="235" y="496"/>
                      <a:pt x="270" y="430"/>
                    </a:cubicBezTo>
                    <a:cubicBezTo>
                      <a:pt x="269" y="430"/>
                      <a:pt x="268" y="430"/>
                      <a:pt x="268" y="430"/>
                    </a:cubicBezTo>
                    <a:cubicBezTo>
                      <a:pt x="239" y="437"/>
                      <a:pt x="210" y="444"/>
                      <a:pt x="183" y="453"/>
                    </a:cubicBezTo>
                    <a:close/>
                    <a:moveTo>
                      <a:pt x="192" y="648"/>
                    </a:moveTo>
                    <a:cubicBezTo>
                      <a:pt x="190" y="649"/>
                      <a:pt x="192" y="650"/>
                      <a:pt x="192" y="648"/>
                    </a:cubicBezTo>
                    <a:moveTo>
                      <a:pt x="192" y="648"/>
                    </a:moveTo>
                    <a:cubicBezTo>
                      <a:pt x="223" y="640"/>
                      <a:pt x="254" y="630"/>
                      <a:pt x="289" y="623"/>
                    </a:cubicBezTo>
                    <a:cubicBezTo>
                      <a:pt x="287" y="555"/>
                      <a:pt x="293" y="494"/>
                      <a:pt x="302" y="436"/>
                    </a:cubicBezTo>
                    <a:cubicBezTo>
                      <a:pt x="292" y="434"/>
                      <a:pt x="283" y="431"/>
                      <a:pt x="272" y="430"/>
                    </a:cubicBezTo>
                    <a:cubicBezTo>
                      <a:pt x="239" y="496"/>
                      <a:pt x="211" y="568"/>
                      <a:pt x="192" y="648"/>
                    </a:cubicBezTo>
                    <a:moveTo>
                      <a:pt x="1275" y="515"/>
                    </a:moveTo>
                    <a:cubicBezTo>
                      <a:pt x="1279" y="557"/>
                      <a:pt x="1276" y="605"/>
                      <a:pt x="1288" y="636"/>
                    </a:cubicBezTo>
                    <a:cubicBezTo>
                      <a:pt x="1316" y="643"/>
                      <a:pt x="1341" y="652"/>
                      <a:pt x="1367" y="660"/>
                    </a:cubicBezTo>
                    <a:cubicBezTo>
                      <a:pt x="1377" y="657"/>
                      <a:pt x="1386" y="652"/>
                      <a:pt x="1397" y="648"/>
                    </a:cubicBezTo>
                    <a:cubicBezTo>
                      <a:pt x="1395" y="622"/>
                      <a:pt x="1398" y="600"/>
                      <a:pt x="1394" y="577"/>
                    </a:cubicBezTo>
                    <a:cubicBezTo>
                      <a:pt x="1392" y="567"/>
                      <a:pt x="1386" y="555"/>
                      <a:pt x="1382" y="545"/>
                    </a:cubicBezTo>
                    <a:cubicBezTo>
                      <a:pt x="1370" y="512"/>
                      <a:pt x="1354" y="481"/>
                      <a:pt x="1340" y="452"/>
                    </a:cubicBezTo>
                    <a:cubicBezTo>
                      <a:pt x="1314" y="444"/>
                      <a:pt x="1288" y="437"/>
                      <a:pt x="1261" y="431"/>
                    </a:cubicBezTo>
                    <a:cubicBezTo>
                      <a:pt x="1266" y="456"/>
                      <a:pt x="1272" y="485"/>
                      <a:pt x="1275" y="515"/>
                    </a:cubicBezTo>
                    <a:close/>
                    <a:moveTo>
                      <a:pt x="305" y="437"/>
                    </a:moveTo>
                    <a:cubicBezTo>
                      <a:pt x="295" y="493"/>
                      <a:pt x="288" y="559"/>
                      <a:pt x="293" y="623"/>
                    </a:cubicBezTo>
                    <a:cubicBezTo>
                      <a:pt x="311" y="617"/>
                      <a:pt x="332" y="615"/>
                      <a:pt x="351" y="610"/>
                    </a:cubicBezTo>
                    <a:cubicBezTo>
                      <a:pt x="364" y="556"/>
                      <a:pt x="379" y="504"/>
                      <a:pt x="397" y="455"/>
                    </a:cubicBezTo>
                    <a:cubicBezTo>
                      <a:pt x="366" y="449"/>
                      <a:pt x="335" y="444"/>
                      <a:pt x="305" y="437"/>
                    </a:cubicBezTo>
                    <a:close/>
                    <a:moveTo>
                      <a:pt x="1126" y="455"/>
                    </a:moveTo>
                    <a:cubicBezTo>
                      <a:pt x="1131" y="501"/>
                      <a:pt x="1133" y="551"/>
                      <a:pt x="1133" y="603"/>
                    </a:cubicBezTo>
                    <a:cubicBezTo>
                      <a:pt x="1182" y="612"/>
                      <a:pt x="1231" y="620"/>
                      <a:pt x="1277" y="633"/>
                    </a:cubicBezTo>
                    <a:cubicBezTo>
                      <a:pt x="1279" y="602"/>
                      <a:pt x="1270" y="583"/>
                      <a:pt x="1263" y="561"/>
                    </a:cubicBezTo>
                    <a:cubicBezTo>
                      <a:pt x="1248" y="517"/>
                      <a:pt x="1234" y="477"/>
                      <a:pt x="1215" y="438"/>
                    </a:cubicBezTo>
                    <a:cubicBezTo>
                      <a:pt x="1214" y="438"/>
                      <a:pt x="1214" y="438"/>
                      <a:pt x="1213" y="438"/>
                    </a:cubicBezTo>
                    <a:cubicBezTo>
                      <a:pt x="1185" y="445"/>
                      <a:pt x="1156" y="450"/>
                      <a:pt x="1126" y="455"/>
                    </a:cubicBezTo>
                    <a:close/>
                    <a:moveTo>
                      <a:pt x="179" y="454"/>
                    </a:moveTo>
                    <a:cubicBezTo>
                      <a:pt x="168" y="457"/>
                      <a:pt x="158" y="461"/>
                      <a:pt x="147" y="465"/>
                    </a:cubicBezTo>
                    <a:cubicBezTo>
                      <a:pt x="123" y="516"/>
                      <a:pt x="101" y="568"/>
                      <a:pt x="85" y="627"/>
                    </a:cubicBezTo>
                    <a:cubicBezTo>
                      <a:pt x="108" y="640"/>
                      <a:pt x="131" y="652"/>
                      <a:pt x="159" y="660"/>
                    </a:cubicBezTo>
                    <a:cubicBezTo>
                      <a:pt x="157" y="583"/>
                      <a:pt x="168" y="513"/>
                      <a:pt x="179" y="454"/>
                    </a:cubicBezTo>
                    <a:close/>
                    <a:moveTo>
                      <a:pt x="1392" y="564"/>
                    </a:moveTo>
                    <a:cubicBezTo>
                      <a:pt x="1388" y="528"/>
                      <a:pt x="1381" y="495"/>
                      <a:pt x="1374" y="463"/>
                    </a:cubicBezTo>
                    <a:cubicBezTo>
                      <a:pt x="1363" y="461"/>
                      <a:pt x="1354" y="457"/>
                      <a:pt x="1345" y="454"/>
                    </a:cubicBezTo>
                    <a:cubicBezTo>
                      <a:pt x="1362" y="489"/>
                      <a:pt x="1378" y="525"/>
                      <a:pt x="1392" y="564"/>
                    </a:cubicBezTo>
                    <a:close/>
                    <a:moveTo>
                      <a:pt x="401" y="455"/>
                    </a:moveTo>
                    <a:cubicBezTo>
                      <a:pt x="382" y="503"/>
                      <a:pt x="367" y="556"/>
                      <a:pt x="354" y="610"/>
                    </a:cubicBezTo>
                    <a:cubicBezTo>
                      <a:pt x="383" y="605"/>
                      <a:pt x="412" y="600"/>
                      <a:pt x="442" y="597"/>
                    </a:cubicBezTo>
                    <a:cubicBezTo>
                      <a:pt x="442" y="550"/>
                      <a:pt x="443" y="504"/>
                      <a:pt x="447" y="461"/>
                    </a:cubicBezTo>
                    <a:cubicBezTo>
                      <a:pt x="432" y="459"/>
                      <a:pt x="415" y="458"/>
                      <a:pt x="401" y="455"/>
                    </a:cubicBezTo>
                    <a:close/>
                    <a:moveTo>
                      <a:pt x="1080" y="461"/>
                    </a:moveTo>
                    <a:cubicBezTo>
                      <a:pt x="1093" y="507"/>
                      <a:pt x="1106" y="553"/>
                      <a:pt x="1116" y="601"/>
                    </a:cubicBezTo>
                    <a:cubicBezTo>
                      <a:pt x="1121" y="602"/>
                      <a:pt x="1125" y="602"/>
                      <a:pt x="1130" y="603"/>
                    </a:cubicBezTo>
                    <a:cubicBezTo>
                      <a:pt x="1130" y="551"/>
                      <a:pt x="1129" y="501"/>
                      <a:pt x="1123" y="455"/>
                    </a:cubicBezTo>
                    <a:cubicBezTo>
                      <a:pt x="1108" y="457"/>
                      <a:pt x="1094" y="459"/>
                      <a:pt x="1080" y="461"/>
                    </a:cubicBezTo>
                    <a:close/>
                    <a:moveTo>
                      <a:pt x="445" y="596"/>
                    </a:moveTo>
                    <a:cubicBezTo>
                      <a:pt x="475" y="592"/>
                      <a:pt x="505" y="589"/>
                      <a:pt x="535" y="586"/>
                    </a:cubicBezTo>
                    <a:cubicBezTo>
                      <a:pt x="542" y="548"/>
                      <a:pt x="548" y="509"/>
                      <a:pt x="556" y="472"/>
                    </a:cubicBezTo>
                    <a:cubicBezTo>
                      <a:pt x="519" y="469"/>
                      <a:pt x="483" y="466"/>
                      <a:pt x="449" y="461"/>
                    </a:cubicBezTo>
                    <a:cubicBezTo>
                      <a:pt x="446" y="504"/>
                      <a:pt x="444" y="549"/>
                      <a:pt x="445" y="596"/>
                    </a:cubicBezTo>
                    <a:close/>
                    <a:moveTo>
                      <a:pt x="965" y="472"/>
                    </a:moveTo>
                    <a:cubicBezTo>
                      <a:pt x="967" y="507"/>
                      <a:pt x="966" y="546"/>
                      <a:pt x="966" y="584"/>
                    </a:cubicBezTo>
                    <a:cubicBezTo>
                      <a:pt x="1016" y="589"/>
                      <a:pt x="1065" y="594"/>
                      <a:pt x="1113" y="600"/>
                    </a:cubicBezTo>
                    <a:cubicBezTo>
                      <a:pt x="1102" y="553"/>
                      <a:pt x="1092" y="503"/>
                      <a:pt x="1075" y="461"/>
                    </a:cubicBezTo>
                    <a:cubicBezTo>
                      <a:pt x="1039" y="466"/>
                      <a:pt x="1003" y="470"/>
                      <a:pt x="965" y="472"/>
                    </a:cubicBezTo>
                    <a:close/>
                    <a:moveTo>
                      <a:pt x="1388" y="521"/>
                    </a:moveTo>
                    <a:cubicBezTo>
                      <a:pt x="1391" y="540"/>
                      <a:pt x="1392" y="559"/>
                      <a:pt x="1396" y="577"/>
                    </a:cubicBezTo>
                    <a:cubicBezTo>
                      <a:pt x="1400" y="600"/>
                      <a:pt x="1412" y="620"/>
                      <a:pt x="1416" y="640"/>
                    </a:cubicBezTo>
                    <a:cubicBezTo>
                      <a:pt x="1437" y="628"/>
                      <a:pt x="1459" y="617"/>
                      <a:pt x="1473" y="599"/>
                    </a:cubicBezTo>
                    <a:cubicBezTo>
                      <a:pt x="1470" y="557"/>
                      <a:pt x="1454" y="529"/>
                      <a:pt x="1442" y="496"/>
                    </a:cubicBezTo>
                    <a:cubicBezTo>
                      <a:pt x="1421" y="484"/>
                      <a:pt x="1400" y="473"/>
                      <a:pt x="1376" y="465"/>
                    </a:cubicBezTo>
                    <a:cubicBezTo>
                      <a:pt x="1381" y="483"/>
                      <a:pt x="1385" y="502"/>
                      <a:pt x="1388" y="521"/>
                    </a:cubicBezTo>
                    <a:close/>
                    <a:moveTo>
                      <a:pt x="91" y="491"/>
                    </a:moveTo>
                    <a:cubicBezTo>
                      <a:pt x="82" y="531"/>
                      <a:pt x="72" y="570"/>
                      <a:pt x="69" y="616"/>
                    </a:cubicBezTo>
                    <a:cubicBezTo>
                      <a:pt x="73" y="619"/>
                      <a:pt x="78" y="623"/>
                      <a:pt x="83" y="625"/>
                    </a:cubicBezTo>
                    <a:cubicBezTo>
                      <a:pt x="98" y="568"/>
                      <a:pt x="121" y="515"/>
                      <a:pt x="142" y="467"/>
                    </a:cubicBezTo>
                    <a:cubicBezTo>
                      <a:pt x="124" y="474"/>
                      <a:pt x="107" y="482"/>
                      <a:pt x="91" y="491"/>
                    </a:cubicBezTo>
                    <a:close/>
                    <a:moveTo>
                      <a:pt x="558" y="472"/>
                    </a:moveTo>
                    <a:cubicBezTo>
                      <a:pt x="551" y="509"/>
                      <a:pt x="545" y="548"/>
                      <a:pt x="538" y="586"/>
                    </a:cubicBezTo>
                    <a:cubicBezTo>
                      <a:pt x="562" y="584"/>
                      <a:pt x="586" y="582"/>
                      <a:pt x="611" y="581"/>
                    </a:cubicBezTo>
                    <a:cubicBezTo>
                      <a:pt x="611" y="545"/>
                      <a:pt x="613" y="511"/>
                      <a:pt x="612" y="476"/>
                    </a:cubicBezTo>
                    <a:cubicBezTo>
                      <a:pt x="594" y="474"/>
                      <a:pt x="576" y="474"/>
                      <a:pt x="558" y="472"/>
                    </a:cubicBezTo>
                    <a:close/>
                    <a:moveTo>
                      <a:pt x="915" y="476"/>
                    </a:moveTo>
                    <a:cubicBezTo>
                      <a:pt x="919" y="511"/>
                      <a:pt x="925" y="546"/>
                      <a:pt x="928" y="582"/>
                    </a:cubicBezTo>
                    <a:cubicBezTo>
                      <a:pt x="941" y="582"/>
                      <a:pt x="952" y="584"/>
                      <a:pt x="965" y="584"/>
                    </a:cubicBezTo>
                    <a:cubicBezTo>
                      <a:pt x="965" y="546"/>
                      <a:pt x="963" y="510"/>
                      <a:pt x="963" y="473"/>
                    </a:cubicBezTo>
                    <a:cubicBezTo>
                      <a:pt x="946" y="473"/>
                      <a:pt x="930" y="474"/>
                      <a:pt x="915" y="476"/>
                    </a:cubicBezTo>
                    <a:close/>
                    <a:moveTo>
                      <a:pt x="617" y="476"/>
                    </a:moveTo>
                    <a:cubicBezTo>
                      <a:pt x="614" y="508"/>
                      <a:pt x="615" y="545"/>
                      <a:pt x="615" y="580"/>
                    </a:cubicBezTo>
                    <a:cubicBezTo>
                      <a:pt x="653" y="579"/>
                      <a:pt x="691" y="577"/>
                      <a:pt x="729" y="576"/>
                    </a:cubicBezTo>
                    <a:cubicBezTo>
                      <a:pt x="731" y="545"/>
                      <a:pt x="731" y="511"/>
                      <a:pt x="732" y="479"/>
                    </a:cubicBezTo>
                    <a:cubicBezTo>
                      <a:pt x="693" y="479"/>
                      <a:pt x="654" y="478"/>
                      <a:pt x="617" y="476"/>
                    </a:cubicBezTo>
                    <a:close/>
                    <a:moveTo>
                      <a:pt x="791" y="479"/>
                    </a:moveTo>
                    <a:cubicBezTo>
                      <a:pt x="791" y="513"/>
                      <a:pt x="791" y="544"/>
                      <a:pt x="791" y="576"/>
                    </a:cubicBezTo>
                    <a:cubicBezTo>
                      <a:pt x="836" y="577"/>
                      <a:pt x="881" y="579"/>
                      <a:pt x="924" y="581"/>
                    </a:cubicBezTo>
                    <a:cubicBezTo>
                      <a:pt x="920" y="546"/>
                      <a:pt x="915" y="511"/>
                      <a:pt x="911" y="476"/>
                    </a:cubicBezTo>
                    <a:cubicBezTo>
                      <a:pt x="872" y="478"/>
                      <a:pt x="831" y="479"/>
                      <a:pt x="791" y="479"/>
                    </a:cubicBezTo>
                    <a:close/>
                    <a:moveTo>
                      <a:pt x="736" y="479"/>
                    </a:moveTo>
                    <a:cubicBezTo>
                      <a:pt x="732" y="509"/>
                      <a:pt x="734" y="545"/>
                      <a:pt x="732" y="576"/>
                    </a:cubicBezTo>
                    <a:cubicBezTo>
                      <a:pt x="751" y="576"/>
                      <a:pt x="770" y="576"/>
                      <a:pt x="789" y="576"/>
                    </a:cubicBezTo>
                    <a:cubicBezTo>
                      <a:pt x="789" y="544"/>
                      <a:pt x="789" y="512"/>
                      <a:pt x="789" y="479"/>
                    </a:cubicBezTo>
                    <a:cubicBezTo>
                      <a:pt x="771" y="479"/>
                      <a:pt x="754" y="479"/>
                      <a:pt x="736" y="479"/>
                    </a:cubicBezTo>
                    <a:close/>
                    <a:moveTo>
                      <a:pt x="60" y="512"/>
                    </a:moveTo>
                    <a:cubicBezTo>
                      <a:pt x="53" y="535"/>
                      <a:pt x="44" y="556"/>
                      <a:pt x="37" y="580"/>
                    </a:cubicBezTo>
                    <a:cubicBezTo>
                      <a:pt x="45" y="593"/>
                      <a:pt x="53" y="606"/>
                      <a:pt x="67" y="613"/>
                    </a:cubicBezTo>
                    <a:cubicBezTo>
                      <a:pt x="69" y="569"/>
                      <a:pt x="81" y="529"/>
                      <a:pt x="87" y="493"/>
                    </a:cubicBezTo>
                    <a:cubicBezTo>
                      <a:pt x="78" y="499"/>
                      <a:pt x="69" y="505"/>
                      <a:pt x="60" y="512"/>
                    </a:cubicBezTo>
                    <a:close/>
                    <a:moveTo>
                      <a:pt x="1462" y="539"/>
                    </a:moveTo>
                    <a:cubicBezTo>
                      <a:pt x="1461" y="543"/>
                      <a:pt x="1465" y="539"/>
                      <a:pt x="1462" y="539"/>
                    </a:cubicBezTo>
                    <a:moveTo>
                      <a:pt x="1462" y="539"/>
                    </a:moveTo>
                    <a:cubicBezTo>
                      <a:pt x="1458" y="526"/>
                      <a:pt x="1458" y="502"/>
                      <a:pt x="1446" y="501"/>
                    </a:cubicBezTo>
                    <a:cubicBezTo>
                      <a:pt x="1452" y="512"/>
                      <a:pt x="1456" y="526"/>
                      <a:pt x="1462" y="539"/>
                    </a:cubicBezTo>
                    <a:moveTo>
                      <a:pt x="1480" y="592"/>
                    </a:moveTo>
                    <a:cubicBezTo>
                      <a:pt x="1504" y="563"/>
                      <a:pt x="1482" y="521"/>
                      <a:pt x="1457" y="507"/>
                    </a:cubicBezTo>
                    <a:cubicBezTo>
                      <a:pt x="1465" y="535"/>
                      <a:pt x="1469" y="567"/>
                      <a:pt x="1480" y="592"/>
                    </a:cubicBezTo>
                    <a:close/>
                    <a:moveTo>
                      <a:pt x="36" y="575"/>
                    </a:moveTo>
                    <a:cubicBezTo>
                      <a:pt x="40" y="555"/>
                      <a:pt x="51" y="536"/>
                      <a:pt x="54" y="517"/>
                    </a:cubicBezTo>
                    <a:cubicBezTo>
                      <a:pt x="42" y="529"/>
                      <a:pt x="28" y="553"/>
                      <a:pt x="36" y="575"/>
                    </a:cubicBezTo>
                    <a:close/>
                    <a:moveTo>
                      <a:pt x="1463" y="544"/>
                    </a:moveTo>
                    <a:cubicBezTo>
                      <a:pt x="1462" y="543"/>
                      <a:pt x="1463" y="544"/>
                      <a:pt x="1463" y="544"/>
                    </a:cubicBezTo>
                    <a:close/>
                    <a:moveTo>
                      <a:pt x="1480" y="597"/>
                    </a:moveTo>
                    <a:cubicBezTo>
                      <a:pt x="1494" y="642"/>
                      <a:pt x="1503" y="692"/>
                      <a:pt x="1508" y="747"/>
                    </a:cubicBezTo>
                    <a:cubicBezTo>
                      <a:pt x="1512" y="753"/>
                      <a:pt x="1516" y="760"/>
                      <a:pt x="1519" y="767"/>
                    </a:cubicBezTo>
                    <a:cubicBezTo>
                      <a:pt x="1521" y="690"/>
                      <a:pt x="1511" y="622"/>
                      <a:pt x="1494" y="563"/>
                    </a:cubicBezTo>
                    <a:cubicBezTo>
                      <a:pt x="1493" y="578"/>
                      <a:pt x="1486" y="587"/>
                      <a:pt x="1480" y="597"/>
                    </a:cubicBezTo>
                    <a:close/>
                    <a:moveTo>
                      <a:pt x="17" y="654"/>
                    </a:moveTo>
                    <a:cubicBezTo>
                      <a:pt x="21" y="628"/>
                      <a:pt x="28" y="604"/>
                      <a:pt x="34" y="580"/>
                    </a:cubicBezTo>
                    <a:cubicBezTo>
                      <a:pt x="33" y="577"/>
                      <a:pt x="32" y="573"/>
                      <a:pt x="30" y="570"/>
                    </a:cubicBezTo>
                    <a:cubicBezTo>
                      <a:pt x="26" y="597"/>
                      <a:pt x="18" y="626"/>
                      <a:pt x="17" y="654"/>
                    </a:cubicBezTo>
                    <a:close/>
                    <a:moveTo>
                      <a:pt x="615" y="583"/>
                    </a:moveTo>
                    <a:cubicBezTo>
                      <a:pt x="616" y="635"/>
                      <a:pt x="617" y="686"/>
                      <a:pt x="620" y="736"/>
                    </a:cubicBezTo>
                    <a:cubicBezTo>
                      <a:pt x="655" y="737"/>
                      <a:pt x="690" y="739"/>
                      <a:pt x="726" y="739"/>
                    </a:cubicBezTo>
                    <a:cubicBezTo>
                      <a:pt x="728" y="686"/>
                      <a:pt x="729" y="633"/>
                      <a:pt x="729" y="579"/>
                    </a:cubicBezTo>
                    <a:cubicBezTo>
                      <a:pt x="690" y="580"/>
                      <a:pt x="652" y="581"/>
                      <a:pt x="615" y="583"/>
                    </a:cubicBezTo>
                    <a:close/>
                    <a:moveTo>
                      <a:pt x="729" y="739"/>
                    </a:moveTo>
                    <a:cubicBezTo>
                      <a:pt x="750" y="738"/>
                      <a:pt x="769" y="740"/>
                      <a:pt x="788" y="739"/>
                    </a:cubicBezTo>
                    <a:cubicBezTo>
                      <a:pt x="788" y="685"/>
                      <a:pt x="790" y="633"/>
                      <a:pt x="789" y="579"/>
                    </a:cubicBezTo>
                    <a:cubicBezTo>
                      <a:pt x="770" y="579"/>
                      <a:pt x="752" y="579"/>
                      <a:pt x="733" y="579"/>
                    </a:cubicBezTo>
                    <a:cubicBezTo>
                      <a:pt x="730" y="630"/>
                      <a:pt x="731" y="686"/>
                      <a:pt x="729" y="739"/>
                    </a:cubicBezTo>
                    <a:close/>
                    <a:moveTo>
                      <a:pt x="791" y="582"/>
                    </a:moveTo>
                    <a:cubicBezTo>
                      <a:pt x="791" y="634"/>
                      <a:pt x="791" y="687"/>
                      <a:pt x="791" y="739"/>
                    </a:cubicBezTo>
                    <a:cubicBezTo>
                      <a:pt x="842" y="739"/>
                      <a:pt x="890" y="736"/>
                      <a:pt x="938" y="734"/>
                    </a:cubicBezTo>
                    <a:cubicBezTo>
                      <a:pt x="934" y="683"/>
                      <a:pt x="930" y="633"/>
                      <a:pt x="924" y="584"/>
                    </a:cubicBezTo>
                    <a:cubicBezTo>
                      <a:pt x="881" y="581"/>
                      <a:pt x="837" y="580"/>
                      <a:pt x="792" y="579"/>
                    </a:cubicBezTo>
                    <a:cubicBezTo>
                      <a:pt x="791" y="579"/>
                      <a:pt x="791" y="581"/>
                      <a:pt x="791" y="582"/>
                    </a:cubicBezTo>
                    <a:close/>
                    <a:moveTo>
                      <a:pt x="538" y="588"/>
                    </a:moveTo>
                    <a:cubicBezTo>
                      <a:pt x="531" y="634"/>
                      <a:pt x="526" y="681"/>
                      <a:pt x="521" y="729"/>
                    </a:cubicBezTo>
                    <a:cubicBezTo>
                      <a:pt x="552" y="732"/>
                      <a:pt x="584" y="734"/>
                      <a:pt x="616" y="736"/>
                    </a:cubicBezTo>
                    <a:cubicBezTo>
                      <a:pt x="612" y="686"/>
                      <a:pt x="615" y="630"/>
                      <a:pt x="609" y="583"/>
                    </a:cubicBezTo>
                    <a:cubicBezTo>
                      <a:pt x="586" y="585"/>
                      <a:pt x="562" y="587"/>
                      <a:pt x="538" y="588"/>
                    </a:cubicBezTo>
                    <a:close/>
                    <a:moveTo>
                      <a:pt x="929" y="584"/>
                    </a:moveTo>
                    <a:cubicBezTo>
                      <a:pt x="933" y="634"/>
                      <a:pt x="939" y="682"/>
                      <a:pt x="942" y="734"/>
                    </a:cubicBezTo>
                    <a:cubicBezTo>
                      <a:pt x="946" y="733"/>
                      <a:pt x="953" y="733"/>
                      <a:pt x="959" y="733"/>
                    </a:cubicBezTo>
                    <a:cubicBezTo>
                      <a:pt x="962" y="685"/>
                      <a:pt x="963" y="636"/>
                      <a:pt x="965" y="587"/>
                    </a:cubicBezTo>
                    <a:cubicBezTo>
                      <a:pt x="953" y="585"/>
                      <a:pt x="941" y="585"/>
                      <a:pt x="929" y="584"/>
                    </a:cubicBezTo>
                    <a:close/>
                    <a:moveTo>
                      <a:pt x="13" y="752"/>
                    </a:moveTo>
                    <a:cubicBezTo>
                      <a:pt x="25" y="732"/>
                      <a:pt x="46" y="719"/>
                      <a:pt x="63" y="704"/>
                    </a:cubicBezTo>
                    <a:cubicBezTo>
                      <a:pt x="63" y="674"/>
                      <a:pt x="63" y="645"/>
                      <a:pt x="66" y="618"/>
                    </a:cubicBezTo>
                    <a:cubicBezTo>
                      <a:pt x="54" y="609"/>
                      <a:pt x="45" y="597"/>
                      <a:pt x="35" y="585"/>
                    </a:cubicBezTo>
                    <a:cubicBezTo>
                      <a:pt x="23" y="635"/>
                      <a:pt x="7" y="690"/>
                      <a:pt x="13" y="752"/>
                    </a:cubicBezTo>
                    <a:close/>
                    <a:moveTo>
                      <a:pt x="967" y="587"/>
                    </a:moveTo>
                    <a:cubicBezTo>
                      <a:pt x="965" y="635"/>
                      <a:pt x="965" y="686"/>
                      <a:pt x="961" y="732"/>
                    </a:cubicBezTo>
                    <a:cubicBezTo>
                      <a:pt x="1017" y="729"/>
                      <a:pt x="1071" y="723"/>
                      <a:pt x="1123" y="716"/>
                    </a:cubicBezTo>
                    <a:cubicBezTo>
                      <a:pt x="1132" y="675"/>
                      <a:pt x="1121" y="639"/>
                      <a:pt x="1114" y="603"/>
                    </a:cubicBezTo>
                    <a:cubicBezTo>
                      <a:pt x="1067" y="597"/>
                      <a:pt x="1018" y="591"/>
                      <a:pt x="967" y="587"/>
                    </a:cubicBezTo>
                    <a:close/>
                    <a:moveTo>
                      <a:pt x="1476" y="597"/>
                    </a:moveTo>
                    <a:cubicBezTo>
                      <a:pt x="1478" y="594"/>
                      <a:pt x="1476" y="589"/>
                      <a:pt x="1474" y="587"/>
                    </a:cubicBezTo>
                    <a:cubicBezTo>
                      <a:pt x="1475" y="590"/>
                      <a:pt x="1475" y="594"/>
                      <a:pt x="1476" y="597"/>
                    </a:cubicBezTo>
                    <a:close/>
                    <a:moveTo>
                      <a:pt x="445" y="599"/>
                    </a:moveTo>
                    <a:cubicBezTo>
                      <a:pt x="446" y="641"/>
                      <a:pt x="448" y="683"/>
                      <a:pt x="452" y="722"/>
                    </a:cubicBezTo>
                    <a:cubicBezTo>
                      <a:pt x="474" y="725"/>
                      <a:pt x="496" y="727"/>
                      <a:pt x="518" y="729"/>
                    </a:cubicBezTo>
                    <a:cubicBezTo>
                      <a:pt x="523" y="682"/>
                      <a:pt x="528" y="634"/>
                      <a:pt x="535" y="589"/>
                    </a:cubicBezTo>
                    <a:cubicBezTo>
                      <a:pt x="504" y="591"/>
                      <a:pt x="475" y="595"/>
                      <a:pt x="445" y="599"/>
                    </a:cubicBezTo>
                    <a:close/>
                    <a:moveTo>
                      <a:pt x="1398" y="592"/>
                    </a:moveTo>
                    <a:cubicBezTo>
                      <a:pt x="1398" y="610"/>
                      <a:pt x="1399" y="628"/>
                      <a:pt x="1399" y="647"/>
                    </a:cubicBezTo>
                    <a:cubicBezTo>
                      <a:pt x="1404" y="644"/>
                      <a:pt x="1410" y="644"/>
                      <a:pt x="1412" y="640"/>
                    </a:cubicBezTo>
                    <a:cubicBezTo>
                      <a:pt x="1407" y="624"/>
                      <a:pt x="1403" y="607"/>
                      <a:pt x="1398" y="592"/>
                    </a:cubicBezTo>
                    <a:moveTo>
                      <a:pt x="1398" y="592"/>
                    </a:moveTo>
                    <a:cubicBezTo>
                      <a:pt x="1399" y="587"/>
                      <a:pt x="1395" y="591"/>
                      <a:pt x="1398" y="592"/>
                    </a:cubicBezTo>
                    <a:moveTo>
                      <a:pt x="354" y="612"/>
                    </a:moveTo>
                    <a:cubicBezTo>
                      <a:pt x="346" y="641"/>
                      <a:pt x="341" y="673"/>
                      <a:pt x="335" y="705"/>
                    </a:cubicBezTo>
                    <a:cubicBezTo>
                      <a:pt x="372" y="712"/>
                      <a:pt x="409" y="718"/>
                      <a:pt x="449" y="721"/>
                    </a:cubicBezTo>
                    <a:cubicBezTo>
                      <a:pt x="445" y="682"/>
                      <a:pt x="445" y="639"/>
                      <a:pt x="441" y="599"/>
                    </a:cubicBezTo>
                    <a:cubicBezTo>
                      <a:pt x="412" y="603"/>
                      <a:pt x="383" y="607"/>
                      <a:pt x="354" y="612"/>
                    </a:cubicBezTo>
                    <a:close/>
                    <a:moveTo>
                      <a:pt x="1483" y="721"/>
                    </a:moveTo>
                    <a:cubicBezTo>
                      <a:pt x="1487" y="724"/>
                      <a:pt x="1490" y="729"/>
                      <a:pt x="1494" y="733"/>
                    </a:cubicBezTo>
                    <a:cubicBezTo>
                      <a:pt x="1498" y="736"/>
                      <a:pt x="1504" y="743"/>
                      <a:pt x="1505" y="742"/>
                    </a:cubicBezTo>
                    <a:cubicBezTo>
                      <a:pt x="1499" y="690"/>
                      <a:pt x="1492" y="641"/>
                      <a:pt x="1477" y="599"/>
                    </a:cubicBezTo>
                    <a:cubicBezTo>
                      <a:pt x="1480" y="635"/>
                      <a:pt x="1484" y="678"/>
                      <a:pt x="1483" y="721"/>
                    </a:cubicBezTo>
                    <a:close/>
                    <a:moveTo>
                      <a:pt x="1416" y="642"/>
                    </a:moveTo>
                    <a:cubicBezTo>
                      <a:pt x="1419" y="657"/>
                      <a:pt x="1423" y="671"/>
                      <a:pt x="1425" y="686"/>
                    </a:cubicBezTo>
                    <a:cubicBezTo>
                      <a:pt x="1441" y="692"/>
                      <a:pt x="1456" y="703"/>
                      <a:pt x="1468" y="711"/>
                    </a:cubicBezTo>
                    <a:cubicBezTo>
                      <a:pt x="1472" y="714"/>
                      <a:pt x="1478" y="718"/>
                      <a:pt x="1480" y="718"/>
                    </a:cubicBezTo>
                    <a:cubicBezTo>
                      <a:pt x="1480" y="677"/>
                      <a:pt x="1480" y="637"/>
                      <a:pt x="1473" y="603"/>
                    </a:cubicBezTo>
                    <a:cubicBezTo>
                      <a:pt x="1457" y="619"/>
                      <a:pt x="1438" y="632"/>
                      <a:pt x="1416" y="642"/>
                    </a:cubicBezTo>
                    <a:close/>
                    <a:moveTo>
                      <a:pt x="1128" y="658"/>
                    </a:moveTo>
                    <a:cubicBezTo>
                      <a:pt x="1128" y="640"/>
                      <a:pt x="1129" y="623"/>
                      <a:pt x="1130" y="605"/>
                    </a:cubicBezTo>
                    <a:cubicBezTo>
                      <a:pt x="1124" y="606"/>
                      <a:pt x="1122" y="604"/>
                      <a:pt x="1117" y="604"/>
                    </a:cubicBezTo>
                    <a:cubicBezTo>
                      <a:pt x="1120" y="623"/>
                      <a:pt x="1124" y="640"/>
                      <a:pt x="1128" y="658"/>
                    </a:cubicBezTo>
                    <a:close/>
                    <a:moveTo>
                      <a:pt x="1134" y="606"/>
                    </a:moveTo>
                    <a:cubicBezTo>
                      <a:pt x="1132" y="607"/>
                      <a:pt x="1132" y="607"/>
                      <a:pt x="1132" y="609"/>
                    </a:cubicBezTo>
                    <a:cubicBezTo>
                      <a:pt x="1131" y="648"/>
                      <a:pt x="1128" y="682"/>
                      <a:pt x="1136" y="714"/>
                    </a:cubicBezTo>
                    <a:cubicBezTo>
                      <a:pt x="1184" y="707"/>
                      <a:pt x="1230" y="698"/>
                      <a:pt x="1274" y="688"/>
                    </a:cubicBezTo>
                    <a:cubicBezTo>
                      <a:pt x="1276" y="671"/>
                      <a:pt x="1276" y="653"/>
                      <a:pt x="1277" y="635"/>
                    </a:cubicBezTo>
                    <a:cubicBezTo>
                      <a:pt x="1230" y="624"/>
                      <a:pt x="1183" y="614"/>
                      <a:pt x="1134" y="606"/>
                    </a:cubicBezTo>
                    <a:close/>
                    <a:moveTo>
                      <a:pt x="349" y="613"/>
                    </a:moveTo>
                    <a:cubicBezTo>
                      <a:pt x="330" y="617"/>
                      <a:pt x="311" y="621"/>
                      <a:pt x="292" y="624"/>
                    </a:cubicBezTo>
                    <a:cubicBezTo>
                      <a:pt x="292" y="650"/>
                      <a:pt x="293" y="674"/>
                      <a:pt x="295" y="697"/>
                    </a:cubicBezTo>
                    <a:cubicBezTo>
                      <a:pt x="307" y="700"/>
                      <a:pt x="319" y="703"/>
                      <a:pt x="332" y="704"/>
                    </a:cubicBezTo>
                    <a:cubicBezTo>
                      <a:pt x="337" y="674"/>
                      <a:pt x="345" y="641"/>
                      <a:pt x="349" y="613"/>
                    </a:cubicBezTo>
                    <a:close/>
                    <a:moveTo>
                      <a:pt x="1279" y="634"/>
                    </a:moveTo>
                    <a:cubicBezTo>
                      <a:pt x="1282" y="634"/>
                      <a:pt x="1283" y="634"/>
                      <a:pt x="1284" y="635"/>
                    </a:cubicBezTo>
                    <a:cubicBezTo>
                      <a:pt x="1283" y="628"/>
                      <a:pt x="1282" y="622"/>
                      <a:pt x="1279" y="617"/>
                    </a:cubicBezTo>
                    <a:cubicBezTo>
                      <a:pt x="1279" y="623"/>
                      <a:pt x="1279" y="628"/>
                      <a:pt x="1279" y="634"/>
                    </a:cubicBezTo>
                    <a:close/>
                    <a:moveTo>
                      <a:pt x="67" y="699"/>
                    </a:moveTo>
                    <a:cubicBezTo>
                      <a:pt x="70" y="674"/>
                      <a:pt x="76" y="651"/>
                      <a:pt x="82" y="628"/>
                    </a:cubicBezTo>
                    <a:cubicBezTo>
                      <a:pt x="77" y="626"/>
                      <a:pt x="74" y="621"/>
                      <a:pt x="68" y="620"/>
                    </a:cubicBezTo>
                    <a:cubicBezTo>
                      <a:pt x="67" y="645"/>
                      <a:pt x="64" y="674"/>
                      <a:pt x="67" y="699"/>
                    </a:cubicBezTo>
                    <a:close/>
                    <a:moveTo>
                      <a:pt x="288" y="625"/>
                    </a:moveTo>
                    <a:cubicBezTo>
                      <a:pt x="255" y="634"/>
                      <a:pt x="221" y="642"/>
                      <a:pt x="190" y="652"/>
                    </a:cubicBezTo>
                    <a:cubicBezTo>
                      <a:pt x="189" y="659"/>
                      <a:pt x="188" y="664"/>
                      <a:pt x="186" y="670"/>
                    </a:cubicBezTo>
                    <a:cubicBezTo>
                      <a:pt x="220" y="680"/>
                      <a:pt x="255" y="690"/>
                      <a:pt x="293" y="696"/>
                    </a:cubicBezTo>
                    <a:cubicBezTo>
                      <a:pt x="290" y="673"/>
                      <a:pt x="291" y="648"/>
                      <a:pt x="288" y="625"/>
                    </a:cubicBezTo>
                    <a:close/>
                    <a:moveTo>
                      <a:pt x="69" y="701"/>
                    </a:moveTo>
                    <a:cubicBezTo>
                      <a:pt x="95" y="687"/>
                      <a:pt x="122" y="673"/>
                      <a:pt x="152" y="663"/>
                    </a:cubicBezTo>
                    <a:cubicBezTo>
                      <a:pt x="130" y="651"/>
                      <a:pt x="104" y="643"/>
                      <a:pt x="84" y="629"/>
                    </a:cubicBezTo>
                    <a:cubicBezTo>
                      <a:pt x="79" y="653"/>
                      <a:pt x="73" y="676"/>
                      <a:pt x="69" y="701"/>
                    </a:cubicBezTo>
                    <a:close/>
                    <a:moveTo>
                      <a:pt x="1277" y="687"/>
                    </a:moveTo>
                    <a:cubicBezTo>
                      <a:pt x="1283" y="685"/>
                      <a:pt x="1289" y="684"/>
                      <a:pt x="1296" y="682"/>
                    </a:cubicBezTo>
                    <a:cubicBezTo>
                      <a:pt x="1292" y="667"/>
                      <a:pt x="1290" y="652"/>
                      <a:pt x="1285" y="638"/>
                    </a:cubicBezTo>
                    <a:cubicBezTo>
                      <a:pt x="1284" y="637"/>
                      <a:pt x="1281" y="637"/>
                      <a:pt x="1279" y="636"/>
                    </a:cubicBezTo>
                    <a:cubicBezTo>
                      <a:pt x="1278" y="652"/>
                      <a:pt x="1278" y="670"/>
                      <a:pt x="1277" y="687"/>
                    </a:cubicBezTo>
                    <a:close/>
                    <a:moveTo>
                      <a:pt x="1298" y="681"/>
                    </a:moveTo>
                    <a:cubicBezTo>
                      <a:pt x="1320" y="675"/>
                      <a:pt x="1342" y="670"/>
                      <a:pt x="1362" y="661"/>
                    </a:cubicBezTo>
                    <a:cubicBezTo>
                      <a:pt x="1338" y="654"/>
                      <a:pt x="1315" y="645"/>
                      <a:pt x="1289" y="639"/>
                    </a:cubicBezTo>
                    <a:cubicBezTo>
                      <a:pt x="1291" y="653"/>
                      <a:pt x="1296" y="666"/>
                      <a:pt x="1298" y="681"/>
                    </a:cubicBezTo>
                    <a:close/>
                    <a:moveTo>
                      <a:pt x="1399" y="649"/>
                    </a:moveTo>
                    <a:cubicBezTo>
                      <a:pt x="1399" y="657"/>
                      <a:pt x="1399" y="665"/>
                      <a:pt x="1399" y="673"/>
                    </a:cubicBezTo>
                    <a:cubicBezTo>
                      <a:pt x="1407" y="677"/>
                      <a:pt x="1415" y="680"/>
                      <a:pt x="1422" y="684"/>
                    </a:cubicBezTo>
                    <a:cubicBezTo>
                      <a:pt x="1419" y="671"/>
                      <a:pt x="1418" y="655"/>
                      <a:pt x="1412" y="644"/>
                    </a:cubicBezTo>
                    <a:cubicBezTo>
                      <a:pt x="1409" y="646"/>
                      <a:pt x="1404" y="648"/>
                      <a:pt x="1399" y="649"/>
                    </a:cubicBezTo>
                    <a:close/>
                    <a:moveTo>
                      <a:pt x="1371" y="662"/>
                    </a:moveTo>
                    <a:cubicBezTo>
                      <a:pt x="1379" y="665"/>
                      <a:pt x="1388" y="668"/>
                      <a:pt x="1397" y="672"/>
                    </a:cubicBezTo>
                    <a:cubicBezTo>
                      <a:pt x="1396" y="666"/>
                      <a:pt x="1398" y="656"/>
                      <a:pt x="1396" y="651"/>
                    </a:cubicBezTo>
                    <a:cubicBezTo>
                      <a:pt x="1388" y="655"/>
                      <a:pt x="1379" y="658"/>
                      <a:pt x="1371" y="662"/>
                    </a:cubicBezTo>
                    <a:close/>
                    <a:moveTo>
                      <a:pt x="162" y="662"/>
                    </a:moveTo>
                    <a:cubicBezTo>
                      <a:pt x="169" y="664"/>
                      <a:pt x="175" y="668"/>
                      <a:pt x="184" y="669"/>
                    </a:cubicBezTo>
                    <a:cubicBezTo>
                      <a:pt x="184" y="663"/>
                      <a:pt x="187" y="659"/>
                      <a:pt x="187" y="653"/>
                    </a:cubicBezTo>
                    <a:cubicBezTo>
                      <a:pt x="178" y="656"/>
                      <a:pt x="170" y="658"/>
                      <a:pt x="162" y="662"/>
                    </a:cubicBezTo>
                    <a:close/>
                    <a:moveTo>
                      <a:pt x="109" y="683"/>
                    </a:moveTo>
                    <a:cubicBezTo>
                      <a:pt x="98" y="688"/>
                      <a:pt x="72" y="698"/>
                      <a:pt x="68" y="707"/>
                    </a:cubicBezTo>
                    <a:cubicBezTo>
                      <a:pt x="63" y="717"/>
                      <a:pt x="68" y="742"/>
                      <a:pt x="70" y="755"/>
                    </a:cubicBezTo>
                    <a:cubicBezTo>
                      <a:pt x="76" y="807"/>
                      <a:pt x="83" y="853"/>
                      <a:pt x="96" y="893"/>
                    </a:cubicBezTo>
                    <a:cubicBezTo>
                      <a:pt x="107" y="898"/>
                      <a:pt x="117" y="903"/>
                      <a:pt x="127" y="908"/>
                    </a:cubicBezTo>
                    <a:cubicBezTo>
                      <a:pt x="138" y="901"/>
                      <a:pt x="150" y="898"/>
                      <a:pt x="158" y="889"/>
                    </a:cubicBezTo>
                    <a:cubicBezTo>
                      <a:pt x="157" y="859"/>
                      <a:pt x="160" y="834"/>
                      <a:pt x="162" y="808"/>
                    </a:cubicBezTo>
                    <a:cubicBezTo>
                      <a:pt x="163" y="790"/>
                      <a:pt x="168" y="772"/>
                      <a:pt x="168" y="756"/>
                    </a:cubicBezTo>
                    <a:cubicBezTo>
                      <a:pt x="168" y="741"/>
                      <a:pt x="163" y="727"/>
                      <a:pt x="162" y="712"/>
                    </a:cubicBezTo>
                    <a:cubicBezTo>
                      <a:pt x="161" y="696"/>
                      <a:pt x="161" y="681"/>
                      <a:pt x="159" y="665"/>
                    </a:cubicBezTo>
                    <a:cubicBezTo>
                      <a:pt x="159" y="664"/>
                      <a:pt x="159" y="664"/>
                      <a:pt x="158" y="664"/>
                    </a:cubicBezTo>
                    <a:cubicBezTo>
                      <a:pt x="145" y="667"/>
                      <a:pt x="128" y="674"/>
                      <a:pt x="109" y="683"/>
                    </a:cubicBezTo>
                    <a:close/>
                    <a:moveTo>
                      <a:pt x="1367" y="664"/>
                    </a:moveTo>
                    <a:cubicBezTo>
                      <a:pt x="1347" y="670"/>
                      <a:pt x="1321" y="678"/>
                      <a:pt x="1299" y="685"/>
                    </a:cubicBezTo>
                    <a:cubicBezTo>
                      <a:pt x="1311" y="742"/>
                      <a:pt x="1319" y="805"/>
                      <a:pt x="1322" y="872"/>
                    </a:cubicBezTo>
                    <a:cubicBezTo>
                      <a:pt x="1336" y="877"/>
                      <a:pt x="1347" y="884"/>
                      <a:pt x="1362" y="888"/>
                    </a:cubicBezTo>
                    <a:cubicBezTo>
                      <a:pt x="1380" y="824"/>
                      <a:pt x="1394" y="754"/>
                      <a:pt x="1397" y="674"/>
                    </a:cubicBezTo>
                    <a:cubicBezTo>
                      <a:pt x="1386" y="672"/>
                      <a:pt x="1378" y="666"/>
                      <a:pt x="1367" y="664"/>
                    </a:cubicBezTo>
                    <a:close/>
                    <a:moveTo>
                      <a:pt x="170" y="745"/>
                    </a:moveTo>
                    <a:cubicBezTo>
                      <a:pt x="172" y="719"/>
                      <a:pt x="178" y="695"/>
                      <a:pt x="183" y="671"/>
                    </a:cubicBezTo>
                    <a:cubicBezTo>
                      <a:pt x="175" y="670"/>
                      <a:pt x="169" y="667"/>
                      <a:pt x="162" y="665"/>
                    </a:cubicBezTo>
                    <a:cubicBezTo>
                      <a:pt x="164" y="692"/>
                      <a:pt x="164" y="722"/>
                      <a:pt x="170" y="745"/>
                    </a:cubicBezTo>
                    <a:close/>
                    <a:moveTo>
                      <a:pt x="185" y="672"/>
                    </a:moveTo>
                    <a:cubicBezTo>
                      <a:pt x="185" y="673"/>
                      <a:pt x="185" y="674"/>
                      <a:pt x="185" y="675"/>
                    </a:cubicBezTo>
                    <a:cubicBezTo>
                      <a:pt x="182" y="704"/>
                      <a:pt x="169" y="731"/>
                      <a:pt x="171" y="761"/>
                    </a:cubicBezTo>
                    <a:cubicBezTo>
                      <a:pt x="172" y="801"/>
                      <a:pt x="188" y="839"/>
                      <a:pt x="195" y="875"/>
                    </a:cubicBezTo>
                    <a:cubicBezTo>
                      <a:pt x="232" y="860"/>
                      <a:pt x="272" y="848"/>
                      <a:pt x="314" y="837"/>
                    </a:cubicBezTo>
                    <a:cubicBezTo>
                      <a:pt x="306" y="792"/>
                      <a:pt x="297" y="749"/>
                      <a:pt x="294" y="700"/>
                    </a:cubicBezTo>
                    <a:cubicBezTo>
                      <a:pt x="256" y="692"/>
                      <a:pt x="219" y="683"/>
                      <a:pt x="185" y="672"/>
                    </a:cubicBezTo>
                    <a:close/>
                    <a:moveTo>
                      <a:pt x="1364" y="890"/>
                    </a:moveTo>
                    <a:cubicBezTo>
                      <a:pt x="1375" y="896"/>
                      <a:pt x="1385" y="902"/>
                      <a:pt x="1397" y="908"/>
                    </a:cubicBezTo>
                    <a:cubicBezTo>
                      <a:pt x="1411" y="900"/>
                      <a:pt x="1428" y="894"/>
                      <a:pt x="1441" y="885"/>
                    </a:cubicBezTo>
                    <a:cubicBezTo>
                      <a:pt x="1442" y="811"/>
                      <a:pt x="1435" y="747"/>
                      <a:pt x="1423" y="687"/>
                    </a:cubicBezTo>
                    <a:cubicBezTo>
                      <a:pt x="1415" y="684"/>
                      <a:pt x="1408" y="679"/>
                      <a:pt x="1398" y="676"/>
                    </a:cubicBezTo>
                    <a:cubicBezTo>
                      <a:pt x="1397" y="757"/>
                      <a:pt x="1382" y="826"/>
                      <a:pt x="1364" y="890"/>
                    </a:cubicBezTo>
                    <a:close/>
                    <a:moveTo>
                      <a:pt x="1127" y="716"/>
                    </a:moveTo>
                    <a:cubicBezTo>
                      <a:pt x="1127" y="713"/>
                      <a:pt x="1132" y="715"/>
                      <a:pt x="1134" y="715"/>
                    </a:cubicBezTo>
                    <a:cubicBezTo>
                      <a:pt x="1132" y="705"/>
                      <a:pt x="1131" y="694"/>
                      <a:pt x="1129" y="685"/>
                    </a:cubicBezTo>
                    <a:cubicBezTo>
                      <a:pt x="1128" y="694"/>
                      <a:pt x="1125" y="707"/>
                      <a:pt x="1127" y="716"/>
                    </a:cubicBezTo>
                    <a:close/>
                    <a:moveTo>
                      <a:pt x="1277" y="690"/>
                    </a:moveTo>
                    <a:cubicBezTo>
                      <a:pt x="1272" y="746"/>
                      <a:pt x="1263" y="798"/>
                      <a:pt x="1252" y="848"/>
                    </a:cubicBezTo>
                    <a:cubicBezTo>
                      <a:pt x="1275" y="855"/>
                      <a:pt x="1298" y="862"/>
                      <a:pt x="1319" y="871"/>
                    </a:cubicBezTo>
                    <a:cubicBezTo>
                      <a:pt x="1316" y="804"/>
                      <a:pt x="1310" y="740"/>
                      <a:pt x="1295" y="685"/>
                    </a:cubicBezTo>
                    <a:cubicBezTo>
                      <a:pt x="1289" y="687"/>
                      <a:pt x="1283" y="688"/>
                      <a:pt x="1277" y="690"/>
                    </a:cubicBezTo>
                    <a:close/>
                    <a:moveTo>
                      <a:pt x="1443" y="884"/>
                    </a:moveTo>
                    <a:cubicBezTo>
                      <a:pt x="1447" y="884"/>
                      <a:pt x="1454" y="877"/>
                      <a:pt x="1459" y="875"/>
                    </a:cubicBezTo>
                    <a:cubicBezTo>
                      <a:pt x="1470" y="828"/>
                      <a:pt x="1478" y="779"/>
                      <a:pt x="1480" y="723"/>
                    </a:cubicBezTo>
                    <a:cubicBezTo>
                      <a:pt x="1465" y="709"/>
                      <a:pt x="1446" y="699"/>
                      <a:pt x="1426" y="689"/>
                    </a:cubicBezTo>
                    <a:cubicBezTo>
                      <a:pt x="1437" y="748"/>
                      <a:pt x="1446" y="814"/>
                      <a:pt x="1443" y="884"/>
                    </a:cubicBezTo>
                    <a:close/>
                    <a:moveTo>
                      <a:pt x="1136" y="718"/>
                    </a:moveTo>
                    <a:cubicBezTo>
                      <a:pt x="1142" y="751"/>
                      <a:pt x="1146" y="785"/>
                      <a:pt x="1148" y="822"/>
                    </a:cubicBezTo>
                    <a:cubicBezTo>
                      <a:pt x="1182" y="830"/>
                      <a:pt x="1216" y="838"/>
                      <a:pt x="1249" y="847"/>
                    </a:cubicBezTo>
                    <a:cubicBezTo>
                      <a:pt x="1260" y="798"/>
                      <a:pt x="1269" y="747"/>
                      <a:pt x="1274" y="691"/>
                    </a:cubicBezTo>
                    <a:cubicBezTo>
                      <a:pt x="1273" y="691"/>
                      <a:pt x="1272" y="691"/>
                      <a:pt x="1272" y="691"/>
                    </a:cubicBezTo>
                    <a:cubicBezTo>
                      <a:pt x="1229" y="702"/>
                      <a:pt x="1181" y="708"/>
                      <a:pt x="1136" y="718"/>
                    </a:cubicBezTo>
                    <a:close/>
                    <a:moveTo>
                      <a:pt x="317" y="834"/>
                    </a:moveTo>
                    <a:cubicBezTo>
                      <a:pt x="320" y="790"/>
                      <a:pt x="325" y="747"/>
                      <a:pt x="332" y="707"/>
                    </a:cubicBezTo>
                    <a:cubicBezTo>
                      <a:pt x="319" y="706"/>
                      <a:pt x="307" y="703"/>
                      <a:pt x="295" y="700"/>
                    </a:cubicBezTo>
                    <a:cubicBezTo>
                      <a:pt x="301" y="747"/>
                      <a:pt x="306" y="792"/>
                      <a:pt x="317" y="834"/>
                    </a:cubicBezTo>
                    <a:close/>
                    <a:moveTo>
                      <a:pt x="334" y="708"/>
                    </a:moveTo>
                    <a:cubicBezTo>
                      <a:pt x="329" y="749"/>
                      <a:pt x="320" y="792"/>
                      <a:pt x="320" y="836"/>
                    </a:cubicBezTo>
                    <a:cubicBezTo>
                      <a:pt x="364" y="824"/>
                      <a:pt x="411" y="815"/>
                      <a:pt x="460" y="809"/>
                    </a:cubicBezTo>
                    <a:cubicBezTo>
                      <a:pt x="456" y="781"/>
                      <a:pt x="452" y="754"/>
                      <a:pt x="450" y="724"/>
                    </a:cubicBezTo>
                    <a:cubicBezTo>
                      <a:pt x="410" y="721"/>
                      <a:pt x="372" y="714"/>
                      <a:pt x="334" y="708"/>
                    </a:cubicBezTo>
                    <a:close/>
                    <a:moveTo>
                      <a:pt x="12" y="759"/>
                    </a:moveTo>
                    <a:cubicBezTo>
                      <a:pt x="10" y="769"/>
                      <a:pt x="13" y="784"/>
                      <a:pt x="14" y="796"/>
                    </a:cubicBezTo>
                    <a:cubicBezTo>
                      <a:pt x="15" y="809"/>
                      <a:pt x="15" y="823"/>
                      <a:pt x="18" y="833"/>
                    </a:cubicBezTo>
                    <a:cubicBezTo>
                      <a:pt x="21" y="843"/>
                      <a:pt x="38" y="854"/>
                      <a:pt x="45" y="860"/>
                    </a:cubicBezTo>
                    <a:cubicBezTo>
                      <a:pt x="48" y="862"/>
                      <a:pt x="50" y="867"/>
                      <a:pt x="54" y="865"/>
                    </a:cubicBezTo>
                    <a:cubicBezTo>
                      <a:pt x="52" y="809"/>
                      <a:pt x="59" y="757"/>
                      <a:pt x="63" y="710"/>
                    </a:cubicBezTo>
                    <a:cubicBezTo>
                      <a:pt x="63" y="709"/>
                      <a:pt x="63" y="709"/>
                      <a:pt x="62" y="709"/>
                    </a:cubicBezTo>
                    <a:cubicBezTo>
                      <a:pt x="50" y="719"/>
                      <a:pt x="16" y="741"/>
                      <a:pt x="12" y="759"/>
                    </a:cubicBezTo>
                    <a:close/>
                    <a:moveTo>
                      <a:pt x="1134" y="718"/>
                    </a:moveTo>
                    <a:cubicBezTo>
                      <a:pt x="1133" y="716"/>
                      <a:pt x="1129" y="719"/>
                      <a:pt x="1126" y="718"/>
                    </a:cubicBezTo>
                    <a:cubicBezTo>
                      <a:pt x="1122" y="751"/>
                      <a:pt x="1118" y="785"/>
                      <a:pt x="1112" y="816"/>
                    </a:cubicBezTo>
                    <a:cubicBezTo>
                      <a:pt x="1124" y="818"/>
                      <a:pt x="1134" y="821"/>
                      <a:pt x="1146" y="822"/>
                    </a:cubicBezTo>
                    <a:cubicBezTo>
                      <a:pt x="1143" y="787"/>
                      <a:pt x="1139" y="752"/>
                      <a:pt x="1134" y="718"/>
                    </a:cubicBezTo>
                    <a:close/>
                    <a:moveTo>
                      <a:pt x="961" y="735"/>
                    </a:moveTo>
                    <a:cubicBezTo>
                      <a:pt x="960" y="755"/>
                      <a:pt x="958" y="775"/>
                      <a:pt x="956" y="795"/>
                    </a:cubicBezTo>
                    <a:cubicBezTo>
                      <a:pt x="1009" y="801"/>
                      <a:pt x="1060" y="807"/>
                      <a:pt x="1110" y="815"/>
                    </a:cubicBezTo>
                    <a:cubicBezTo>
                      <a:pt x="1113" y="784"/>
                      <a:pt x="1123" y="748"/>
                      <a:pt x="1121" y="719"/>
                    </a:cubicBezTo>
                    <a:cubicBezTo>
                      <a:pt x="1070" y="726"/>
                      <a:pt x="1016" y="732"/>
                      <a:pt x="961" y="735"/>
                    </a:cubicBezTo>
                    <a:close/>
                    <a:moveTo>
                      <a:pt x="1462" y="872"/>
                    </a:moveTo>
                    <a:cubicBezTo>
                      <a:pt x="1480" y="862"/>
                      <a:pt x="1495" y="848"/>
                      <a:pt x="1507" y="832"/>
                    </a:cubicBezTo>
                    <a:cubicBezTo>
                      <a:pt x="1507" y="814"/>
                      <a:pt x="1508" y="802"/>
                      <a:pt x="1507" y="786"/>
                    </a:cubicBezTo>
                    <a:cubicBezTo>
                      <a:pt x="1506" y="773"/>
                      <a:pt x="1508" y="759"/>
                      <a:pt x="1506" y="750"/>
                    </a:cubicBezTo>
                    <a:cubicBezTo>
                      <a:pt x="1503" y="738"/>
                      <a:pt x="1488" y="733"/>
                      <a:pt x="1482" y="724"/>
                    </a:cubicBezTo>
                    <a:cubicBezTo>
                      <a:pt x="1481" y="779"/>
                      <a:pt x="1472" y="827"/>
                      <a:pt x="1462" y="872"/>
                    </a:cubicBezTo>
                    <a:close/>
                    <a:moveTo>
                      <a:pt x="462" y="808"/>
                    </a:moveTo>
                    <a:cubicBezTo>
                      <a:pt x="479" y="806"/>
                      <a:pt x="496" y="804"/>
                      <a:pt x="512" y="801"/>
                    </a:cubicBezTo>
                    <a:cubicBezTo>
                      <a:pt x="515" y="778"/>
                      <a:pt x="516" y="755"/>
                      <a:pt x="518" y="732"/>
                    </a:cubicBezTo>
                    <a:cubicBezTo>
                      <a:pt x="496" y="729"/>
                      <a:pt x="474" y="727"/>
                      <a:pt x="452" y="725"/>
                    </a:cubicBezTo>
                    <a:cubicBezTo>
                      <a:pt x="455" y="753"/>
                      <a:pt x="458" y="780"/>
                      <a:pt x="462" y="808"/>
                    </a:cubicBezTo>
                    <a:close/>
                    <a:moveTo>
                      <a:pt x="56" y="868"/>
                    </a:moveTo>
                    <a:cubicBezTo>
                      <a:pt x="66" y="877"/>
                      <a:pt x="79" y="884"/>
                      <a:pt x="92" y="890"/>
                    </a:cubicBezTo>
                    <a:cubicBezTo>
                      <a:pt x="79" y="840"/>
                      <a:pt x="69" y="787"/>
                      <a:pt x="64" y="728"/>
                    </a:cubicBezTo>
                    <a:cubicBezTo>
                      <a:pt x="58" y="772"/>
                      <a:pt x="55" y="818"/>
                      <a:pt x="56" y="868"/>
                    </a:cubicBezTo>
                    <a:close/>
                    <a:moveTo>
                      <a:pt x="522" y="732"/>
                    </a:moveTo>
                    <a:cubicBezTo>
                      <a:pt x="518" y="753"/>
                      <a:pt x="518" y="778"/>
                      <a:pt x="515" y="801"/>
                    </a:cubicBezTo>
                    <a:cubicBezTo>
                      <a:pt x="549" y="797"/>
                      <a:pt x="584" y="794"/>
                      <a:pt x="619" y="791"/>
                    </a:cubicBezTo>
                    <a:cubicBezTo>
                      <a:pt x="619" y="773"/>
                      <a:pt x="617" y="756"/>
                      <a:pt x="616" y="739"/>
                    </a:cubicBezTo>
                    <a:cubicBezTo>
                      <a:pt x="585" y="736"/>
                      <a:pt x="553" y="735"/>
                      <a:pt x="522" y="732"/>
                    </a:cubicBezTo>
                    <a:close/>
                    <a:moveTo>
                      <a:pt x="8" y="761"/>
                    </a:moveTo>
                    <a:cubicBezTo>
                      <a:pt x="10" y="754"/>
                      <a:pt x="10" y="740"/>
                      <a:pt x="8" y="733"/>
                    </a:cubicBezTo>
                    <a:cubicBezTo>
                      <a:pt x="10" y="743"/>
                      <a:pt x="6" y="753"/>
                      <a:pt x="8" y="761"/>
                    </a:cubicBezTo>
                    <a:close/>
                    <a:moveTo>
                      <a:pt x="942" y="737"/>
                    </a:moveTo>
                    <a:cubicBezTo>
                      <a:pt x="943" y="757"/>
                      <a:pt x="945" y="775"/>
                      <a:pt x="945" y="795"/>
                    </a:cubicBezTo>
                    <a:cubicBezTo>
                      <a:pt x="948" y="795"/>
                      <a:pt x="950" y="795"/>
                      <a:pt x="953" y="795"/>
                    </a:cubicBezTo>
                    <a:cubicBezTo>
                      <a:pt x="956" y="776"/>
                      <a:pt x="957" y="756"/>
                      <a:pt x="958" y="736"/>
                    </a:cubicBezTo>
                    <a:cubicBezTo>
                      <a:pt x="953" y="736"/>
                      <a:pt x="946" y="735"/>
                      <a:pt x="942" y="737"/>
                    </a:cubicBezTo>
                    <a:close/>
                    <a:moveTo>
                      <a:pt x="790" y="742"/>
                    </a:moveTo>
                    <a:cubicBezTo>
                      <a:pt x="790" y="757"/>
                      <a:pt x="790" y="772"/>
                      <a:pt x="790" y="788"/>
                    </a:cubicBezTo>
                    <a:cubicBezTo>
                      <a:pt x="843" y="788"/>
                      <a:pt x="892" y="791"/>
                      <a:pt x="942" y="794"/>
                    </a:cubicBezTo>
                    <a:cubicBezTo>
                      <a:pt x="940" y="776"/>
                      <a:pt x="940" y="755"/>
                      <a:pt x="938" y="737"/>
                    </a:cubicBezTo>
                    <a:cubicBezTo>
                      <a:pt x="889" y="739"/>
                      <a:pt x="841" y="742"/>
                      <a:pt x="790" y="742"/>
                    </a:cubicBezTo>
                    <a:close/>
                    <a:moveTo>
                      <a:pt x="621" y="739"/>
                    </a:moveTo>
                    <a:cubicBezTo>
                      <a:pt x="619" y="755"/>
                      <a:pt x="623" y="774"/>
                      <a:pt x="623" y="791"/>
                    </a:cubicBezTo>
                    <a:cubicBezTo>
                      <a:pt x="657" y="790"/>
                      <a:pt x="691" y="788"/>
                      <a:pt x="726" y="788"/>
                    </a:cubicBezTo>
                    <a:cubicBezTo>
                      <a:pt x="726" y="772"/>
                      <a:pt x="726" y="757"/>
                      <a:pt x="726" y="742"/>
                    </a:cubicBezTo>
                    <a:cubicBezTo>
                      <a:pt x="690" y="742"/>
                      <a:pt x="656" y="740"/>
                      <a:pt x="621" y="739"/>
                    </a:cubicBezTo>
                    <a:close/>
                    <a:moveTo>
                      <a:pt x="729" y="742"/>
                    </a:moveTo>
                    <a:cubicBezTo>
                      <a:pt x="729" y="757"/>
                      <a:pt x="729" y="772"/>
                      <a:pt x="729" y="788"/>
                    </a:cubicBezTo>
                    <a:cubicBezTo>
                      <a:pt x="749" y="788"/>
                      <a:pt x="768" y="788"/>
                      <a:pt x="787" y="788"/>
                    </a:cubicBezTo>
                    <a:cubicBezTo>
                      <a:pt x="788" y="773"/>
                      <a:pt x="788" y="757"/>
                      <a:pt x="788" y="742"/>
                    </a:cubicBezTo>
                    <a:cubicBezTo>
                      <a:pt x="768" y="742"/>
                      <a:pt x="749" y="742"/>
                      <a:pt x="729" y="742"/>
                    </a:cubicBezTo>
                    <a:close/>
                    <a:moveTo>
                      <a:pt x="1508" y="753"/>
                    </a:moveTo>
                    <a:cubicBezTo>
                      <a:pt x="1508" y="753"/>
                      <a:pt x="1509" y="754"/>
                      <a:pt x="1508" y="753"/>
                    </a:cubicBezTo>
                    <a:close/>
                    <a:moveTo>
                      <a:pt x="1511" y="827"/>
                    </a:moveTo>
                    <a:cubicBezTo>
                      <a:pt x="1520" y="808"/>
                      <a:pt x="1524" y="768"/>
                      <a:pt x="1509" y="754"/>
                    </a:cubicBezTo>
                    <a:cubicBezTo>
                      <a:pt x="1510" y="778"/>
                      <a:pt x="1509" y="804"/>
                      <a:pt x="1511" y="827"/>
                    </a:cubicBezTo>
                    <a:close/>
                    <a:moveTo>
                      <a:pt x="15" y="828"/>
                    </a:moveTo>
                    <a:cubicBezTo>
                      <a:pt x="12" y="808"/>
                      <a:pt x="12" y="784"/>
                      <a:pt x="8" y="765"/>
                    </a:cubicBezTo>
                    <a:cubicBezTo>
                      <a:pt x="6" y="784"/>
                      <a:pt x="4" y="816"/>
                      <a:pt x="15" y="828"/>
                    </a:cubicBezTo>
                    <a:close/>
                    <a:moveTo>
                      <a:pt x="162" y="890"/>
                    </a:moveTo>
                    <a:cubicBezTo>
                      <a:pt x="171" y="884"/>
                      <a:pt x="184" y="881"/>
                      <a:pt x="193" y="875"/>
                    </a:cubicBezTo>
                    <a:cubicBezTo>
                      <a:pt x="182" y="842"/>
                      <a:pt x="176" y="805"/>
                      <a:pt x="169" y="768"/>
                    </a:cubicBezTo>
                    <a:cubicBezTo>
                      <a:pt x="165" y="806"/>
                      <a:pt x="159" y="852"/>
                      <a:pt x="162" y="890"/>
                    </a:cubicBezTo>
                    <a:close/>
                    <a:moveTo>
                      <a:pt x="5" y="797"/>
                    </a:moveTo>
                    <a:cubicBezTo>
                      <a:pt x="5" y="793"/>
                      <a:pt x="5" y="784"/>
                      <a:pt x="4" y="780"/>
                    </a:cubicBezTo>
                    <a:cubicBezTo>
                      <a:pt x="2" y="787"/>
                      <a:pt x="4" y="811"/>
                      <a:pt x="5" y="797"/>
                    </a:cubicBezTo>
                    <a:close/>
                    <a:moveTo>
                      <a:pt x="624" y="794"/>
                    </a:moveTo>
                    <a:cubicBezTo>
                      <a:pt x="627" y="863"/>
                      <a:pt x="635" y="934"/>
                      <a:pt x="643" y="1001"/>
                    </a:cubicBezTo>
                    <a:cubicBezTo>
                      <a:pt x="670" y="999"/>
                      <a:pt x="698" y="998"/>
                      <a:pt x="726" y="997"/>
                    </a:cubicBezTo>
                    <a:cubicBezTo>
                      <a:pt x="726" y="928"/>
                      <a:pt x="725" y="858"/>
                      <a:pt x="726" y="791"/>
                    </a:cubicBezTo>
                    <a:cubicBezTo>
                      <a:pt x="694" y="790"/>
                      <a:pt x="656" y="792"/>
                      <a:pt x="624" y="794"/>
                    </a:cubicBezTo>
                    <a:close/>
                    <a:moveTo>
                      <a:pt x="729" y="792"/>
                    </a:moveTo>
                    <a:cubicBezTo>
                      <a:pt x="727" y="859"/>
                      <a:pt x="729" y="929"/>
                      <a:pt x="728" y="997"/>
                    </a:cubicBezTo>
                    <a:cubicBezTo>
                      <a:pt x="747" y="997"/>
                      <a:pt x="765" y="997"/>
                      <a:pt x="783" y="997"/>
                    </a:cubicBezTo>
                    <a:cubicBezTo>
                      <a:pt x="785" y="929"/>
                      <a:pt x="787" y="860"/>
                      <a:pt x="787" y="790"/>
                    </a:cubicBezTo>
                    <a:cubicBezTo>
                      <a:pt x="768" y="790"/>
                      <a:pt x="749" y="790"/>
                      <a:pt x="730" y="790"/>
                    </a:cubicBezTo>
                    <a:cubicBezTo>
                      <a:pt x="729" y="790"/>
                      <a:pt x="729" y="791"/>
                      <a:pt x="729" y="792"/>
                    </a:cubicBezTo>
                    <a:close/>
                    <a:moveTo>
                      <a:pt x="790" y="792"/>
                    </a:moveTo>
                    <a:cubicBezTo>
                      <a:pt x="789" y="861"/>
                      <a:pt x="788" y="929"/>
                      <a:pt x="786" y="997"/>
                    </a:cubicBezTo>
                    <a:cubicBezTo>
                      <a:pt x="834" y="997"/>
                      <a:pt x="881" y="1003"/>
                      <a:pt x="927" y="998"/>
                    </a:cubicBezTo>
                    <a:cubicBezTo>
                      <a:pt x="937" y="935"/>
                      <a:pt x="950" y="870"/>
                      <a:pt x="942" y="797"/>
                    </a:cubicBezTo>
                    <a:cubicBezTo>
                      <a:pt x="894" y="792"/>
                      <a:pt x="842" y="791"/>
                      <a:pt x="791" y="790"/>
                    </a:cubicBezTo>
                    <a:cubicBezTo>
                      <a:pt x="790" y="790"/>
                      <a:pt x="790" y="791"/>
                      <a:pt x="790" y="792"/>
                    </a:cubicBezTo>
                    <a:close/>
                    <a:moveTo>
                      <a:pt x="1521" y="796"/>
                    </a:moveTo>
                    <a:cubicBezTo>
                      <a:pt x="1521" y="795"/>
                      <a:pt x="1522" y="788"/>
                      <a:pt x="1520" y="791"/>
                    </a:cubicBezTo>
                    <a:cubicBezTo>
                      <a:pt x="1520" y="793"/>
                      <a:pt x="1520" y="799"/>
                      <a:pt x="1521" y="796"/>
                    </a:cubicBezTo>
                    <a:close/>
                    <a:moveTo>
                      <a:pt x="515" y="804"/>
                    </a:moveTo>
                    <a:cubicBezTo>
                      <a:pt x="511" y="864"/>
                      <a:pt x="510" y="926"/>
                      <a:pt x="510" y="991"/>
                    </a:cubicBezTo>
                    <a:cubicBezTo>
                      <a:pt x="552" y="995"/>
                      <a:pt x="598" y="999"/>
                      <a:pt x="640" y="1000"/>
                    </a:cubicBezTo>
                    <a:cubicBezTo>
                      <a:pt x="631" y="934"/>
                      <a:pt x="624" y="865"/>
                      <a:pt x="620" y="794"/>
                    </a:cubicBezTo>
                    <a:cubicBezTo>
                      <a:pt x="584" y="797"/>
                      <a:pt x="549" y="799"/>
                      <a:pt x="515" y="804"/>
                    </a:cubicBezTo>
                    <a:close/>
                    <a:moveTo>
                      <a:pt x="948" y="845"/>
                    </a:moveTo>
                    <a:cubicBezTo>
                      <a:pt x="950" y="830"/>
                      <a:pt x="952" y="814"/>
                      <a:pt x="953" y="798"/>
                    </a:cubicBezTo>
                    <a:cubicBezTo>
                      <a:pt x="950" y="798"/>
                      <a:pt x="949" y="797"/>
                      <a:pt x="945" y="797"/>
                    </a:cubicBezTo>
                    <a:cubicBezTo>
                      <a:pt x="947" y="812"/>
                      <a:pt x="946" y="830"/>
                      <a:pt x="948" y="845"/>
                    </a:cubicBezTo>
                    <a:close/>
                    <a:moveTo>
                      <a:pt x="950" y="997"/>
                    </a:moveTo>
                    <a:cubicBezTo>
                      <a:pt x="991" y="993"/>
                      <a:pt x="1030" y="989"/>
                      <a:pt x="1070" y="985"/>
                    </a:cubicBezTo>
                    <a:cubicBezTo>
                      <a:pt x="1087" y="933"/>
                      <a:pt x="1099" y="877"/>
                      <a:pt x="1110" y="818"/>
                    </a:cubicBezTo>
                    <a:cubicBezTo>
                      <a:pt x="1061" y="809"/>
                      <a:pt x="1009" y="803"/>
                      <a:pt x="957" y="798"/>
                    </a:cubicBezTo>
                    <a:cubicBezTo>
                      <a:pt x="944" y="857"/>
                      <a:pt x="952" y="927"/>
                      <a:pt x="950" y="997"/>
                    </a:cubicBezTo>
                    <a:close/>
                    <a:moveTo>
                      <a:pt x="462" y="811"/>
                    </a:moveTo>
                    <a:cubicBezTo>
                      <a:pt x="470" y="866"/>
                      <a:pt x="483" y="925"/>
                      <a:pt x="495" y="975"/>
                    </a:cubicBezTo>
                    <a:cubicBezTo>
                      <a:pt x="497" y="982"/>
                      <a:pt x="496" y="993"/>
                      <a:pt x="508" y="991"/>
                    </a:cubicBezTo>
                    <a:cubicBezTo>
                      <a:pt x="507" y="935"/>
                      <a:pt x="508" y="873"/>
                      <a:pt x="511" y="820"/>
                    </a:cubicBezTo>
                    <a:cubicBezTo>
                      <a:pt x="512" y="816"/>
                      <a:pt x="515" y="807"/>
                      <a:pt x="510" y="804"/>
                    </a:cubicBezTo>
                    <a:cubicBezTo>
                      <a:pt x="494" y="807"/>
                      <a:pt x="477" y="808"/>
                      <a:pt x="462" y="811"/>
                    </a:cubicBezTo>
                    <a:close/>
                    <a:moveTo>
                      <a:pt x="318" y="839"/>
                    </a:moveTo>
                    <a:cubicBezTo>
                      <a:pt x="326" y="887"/>
                      <a:pt x="341" y="928"/>
                      <a:pt x="354" y="970"/>
                    </a:cubicBezTo>
                    <a:cubicBezTo>
                      <a:pt x="400" y="977"/>
                      <a:pt x="448" y="987"/>
                      <a:pt x="496" y="988"/>
                    </a:cubicBezTo>
                    <a:cubicBezTo>
                      <a:pt x="480" y="933"/>
                      <a:pt x="470" y="871"/>
                      <a:pt x="459" y="811"/>
                    </a:cubicBezTo>
                    <a:cubicBezTo>
                      <a:pt x="411" y="819"/>
                      <a:pt x="363" y="827"/>
                      <a:pt x="318" y="839"/>
                    </a:cubicBezTo>
                    <a:close/>
                    <a:moveTo>
                      <a:pt x="1113" y="819"/>
                    </a:moveTo>
                    <a:cubicBezTo>
                      <a:pt x="1113" y="819"/>
                      <a:pt x="1113" y="818"/>
                      <a:pt x="1112" y="818"/>
                    </a:cubicBezTo>
                    <a:cubicBezTo>
                      <a:pt x="1102" y="876"/>
                      <a:pt x="1089" y="932"/>
                      <a:pt x="1074" y="984"/>
                    </a:cubicBezTo>
                    <a:cubicBezTo>
                      <a:pt x="1100" y="981"/>
                      <a:pt x="1126" y="978"/>
                      <a:pt x="1151" y="973"/>
                    </a:cubicBezTo>
                    <a:cubicBezTo>
                      <a:pt x="1151" y="922"/>
                      <a:pt x="1149" y="873"/>
                      <a:pt x="1146" y="825"/>
                    </a:cubicBezTo>
                    <a:cubicBezTo>
                      <a:pt x="1135" y="823"/>
                      <a:pt x="1125" y="820"/>
                      <a:pt x="1113" y="819"/>
                    </a:cubicBezTo>
                    <a:close/>
                    <a:moveTo>
                      <a:pt x="46" y="1018"/>
                    </a:moveTo>
                    <a:cubicBezTo>
                      <a:pt x="45" y="1002"/>
                      <a:pt x="48" y="990"/>
                      <a:pt x="54" y="980"/>
                    </a:cubicBezTo>
                    <a:cubicBezTo>
                      <a:pt x="37" y="936"/>
                      <a:pt x="24" y="889"/>
                      <a:pt x="17" y="837"/>
                    </a:cubicBezTo>
                    <a:cubicBezTo>
                      <a:pt x="13" y="832"/>
                      <a:pt x="11" y="826"/>
                      <a:pt x="7" y="821"/>
                    </a:cubicBezTo>
                    <a:cubicBezTo>
                      <a:pt x="12" y="895"/>
                      <a:pt x="24" y="961"/>
                      <a:pt x="46" y="1018"/>
                    </a:cubicBezTo>
                    <a:close/>
                    <a:moveTo>
                      <a:pt x="1507" y="887"/>
                    </a:moveTo>
                    <a:cubicBezTo>
                      <a:pt x="1509" y="865"/>
                      <a:pt x="1516" y="844"/>
                      <a:pt x="1515" y="823"/>
                    </a:cubicBezTo>
                    <a:cubicBezTo>
                      <a:pt x="1506" y="838"/>
                      <a:pt x="1508" y="868"/>
                      <a:pt x="1507" y="887"/>
                    </a:cubicBezTo>
                    <a:close/>
                    <a:moveTo>
                      <a:pt x="1149" y="826"/>
                    </a:moveTo>
                    <a:cubicBezTo>
                      <a:pt x="1152" y="873"/>
                      <a:pt x="1154" y="922"/>
                      <a:pt x="1154" y="973"/>
                    </a:cubicBezTo>
                    <a:cubicBezTo>
                      <a:pt x="1174" y="969"/>
                      <a:pt x="1195" y="965"/>
                      <a:pt x="1215" y="961"/>
                    </a:cubicBezTo>
                    <a:cubicBezTo>
                      <a:pt x="1227" y="925"/>
                      <a:pt x="1240" y="889"/>
                      <a:pt x="1248" y="849"/>
                    </a:cubicBezTo>
                    <a:cubicBezTo>
                      <a:pt x="1215" y="841"/>
                      <a:pt x="1184" y="832"/>
                      <a:pt x="1149" y="826"/>
                    </a:cubicBezTo>
                    <a:close/>
                    <a:moveTo>
                      <a:pt x="1461" y="878"/>
                    </a:moveTo>
                    <a:cubicBezTo>
                      <a:pt x="1455" y="899"/>
                      <a:pt x="1449" y="921"/>
                      <a:pt x="1442" y="941"/>
                    </a:cubicBezTo>
                    <a:cubicBezTo>
                      <a:pt x="1456" y="956"/>
                      <a:pt x="1469" y="972"/>
                      <a:pt x="1476" y="993"/>
                    </a:cubicBezTo>
                    <a:cubicBezTo>
                      <a:pt x="1493" y="949"/>
                      <a:pt x="1507" y="896"/>
                      <a:pt x="1506" y="837"/>
                    </a:cubicBezTo>
                    <a:cubicBezTo>
                      <a:pt x="1495" y="854"/>
                      <a:pt x="1476" y="865"/>
                      <a:pt x="1461" y="878"/>
                    </a:cubicBezTo>
                    <a:close/>
                    <a:moveTo>
                      <a:pt x="196" y="877"/>
                    </a:moveTo>
                    <a:cubicBezTo>
                      <a:pt x="201" y="898"/>
                      <a:pt x="208" y="918"/>
                      <a:pt x="215" y="938"/>
                    </a:cubicBezTo>
                    <a:cubicBezTo>
                      <a:pt x="247" y="946"/>
                      <a:pt x="278" y="956"/>
                      <a:pt x="313" y="961"/>
                    </a:cubicBezTo>
                    <a:cubicBezTo>
                      <a:pt x="311" y="919"/>
                      <a:pt x="316" y="878"/>
                      <a:pt x="315" y="839"/>
                    </a:cubicBezTo>
                    <a:cubicBezTo>
                      <a:pt x="314" y="839"/>
                      <a:pt x="313" y="839"/>
                      <a:pt x="313" y="839"/>
                    </a:cubicBezTo>
                    <a:cubicBezTo>
                      <a:pt x="272" y="850"/>
                      <a:pt x="233" y="863"/>
                      <a:pt x="196" y="877"/>
                    </a:cubicBezTo>
                    <a:close/>
                    <a:moveTo>
                      <a:pt x="55" y="977"/>
                    </a:moveTo>
                    <a:cubicBezTo>
                      <a:pt x="56" y="970"/>
                      <a:pt x="61" y="968"/>
                      <a:pt x="63" y="962"/>
                    </a:cubicBezTo>
                    <a:cubicBezTo>
                      <a:pt x="57" y="935"/>
                      <a:pt x="56" y="902"/>
                      <a:pt x="54" y="871"/>
                    </a:cubicBezTo>
                    <a:cubicBezTo>
                      <a:pt x="42" y="861"/>
                      <a:pt x="30" y="852"/>
                      <a:pt x="20" y="840"/>
                    </a:cubicBezTo>
                    <a:cubicBezTo>
                      <a:pt x="27" y="890"/>
                      <a:pt x="39" y="936"/>
                      <a:pt x="55" y="977"/>
                    </a:cubicBezTo>
                    <a:close/>
                    <a:moveTo>
                      <a:pt x="1251" y="851"/>
                    </a:moveTo>
                    <a:cubicBezTo>
                      <a:pt x="1241" y="889"/>
                      <a:pt x="1230" y="925"/>
                      <a:pt x="1218" y="960"/>
                    </a:cubicBezTo>
                    <a:cubicBezTo>
                      <a:pt x="1253" y="953"/>
                      <a:pt x="1288" y="945"/>
                      <a:pt x="1320" y="935"/>
                    </a:cubicBezTo>
                    <a:cubicBezTo>
                      <a:pt x="1320" y="914"/>
                      <a:pt x="1320" y="893"/>
                      <a:pt x="1319" y="873"/>
                    </a:cubicBezTo>
                    <a:cubicBezTo>
                      <a:pt x="1296" y="866"/>
                      <a:pt x="1275" y="857"/>
                      <a:pt x="1251" y="851"/>
                    </a:cubicBezTo>
                    <a:close/>
                    <a:moveTo>
                      <a:pt x="316" y="962"/>
                    </a:moveTo>
                    <a:cubicBezTo>
                      <a:pt x="327" y="965"/>
                      <a:pt x="339" y="967"/>
                      <a:pt x="351" y="969"/>
                    </a:cubicBezTo>
                    <a:cubicBezTo>
                      <a:pt x="338" y="932"/>
                      <a:pt x="328" y="893"/>
                      <a:pt x="318" y="853"/>
                    </a:cubicBezTo>
                    <a:cubicBezTo>
                      <a:pt x="316" y="889"/>
                      <a:pt x="315" y="925"/>
                      <a:pt x="316" y="962"/>
                    </a:cubicBezTo>
                    <a:close/>
                    <a:moveTo>
                      <a:pt x="65" y="959"/>
                    </a:moveTo>
                    <a:cubicBezTo>
                      <a:pt x="75" y="948"/>
                      <a:pt x="90" y="935"/>
                      <a:pt x="102" y="923"/>
                    </a:cubicBezTo>
                    <a:cubicBezTo>
                      <a:pt x="99" y="914"/>
                      <a:pt x="96" y="904"/>
                      <a:pt x="94" y="894"/>
                    </a:cubicBezTo>
                    <a:cubicBezTo>
                      <a:pt x="80" y="889"/>
                      <a:pt x="69" y="880"/>
                      <a:pt x="56" y="873"/>
                    </a:cubicBezTo>
                    <a:cubicBezTo>
                      <a:pt x="59" y="902"/>
                      <a:pt x="60" y="932"/>
                      <a:pt x="65" y="959"/>
                    </a:cubicBezTo>
                    <a:close/>
                    <a:moveTo>
                      <a:pt x="1322" y="934"/>
                    </a:moveTo>
                    <a:cubicBezTo>
                      <a:pt x="1332" y="932"/>
                      <a:pt x="1340" y="928"/>
                      <a:pt x="1350" y="925"/>
                    </a:cubicBezTo>
                    <a:cubicBezTo>
                      <a:pt x="1354" y="914"/>
                      <a:pt x="1357" y="903"/>
                      <a:pt x="1360" y="891"/>
                    </a:cubicBezTo>
                    <a:cubicBezTo>
                      <a:pt x="1347" y="886"/>
                      <a:pt x="1335" y="880"/>
                      <a:pt x="1322" y="875"/>
                    </a:cubicBezTo>
                    <a:cubicBezTo>
                      <a:pt x="1323" y="895"/>
                      <a:pt x="1323" y="913"/>
                      <a:pt x="1322" y="934"/>
                    </a:cubicBezTo>
                    <a:close/>
                    <a:moveTo>
                      <a:pt x="194" y="879"/>
                    </a:moveTo>
                    <a:cubicBezTo>
                      <a:pt x="181" y="882"/>
                      <a:pt x="173" y="889"/>
                      <a:pt x="161" y="892"/>
                    </a:cubicBezTo>
                    <a:cubicBezTo>
                      <a:pt x="161" y="902"/>
                      <a:pt x="161" y="911"/>
                      <a:pt x="161" y="921"/>
                    </a:cubicBezTo>
                    <a:cubicBezTo>
                      <a:pt x="179" y="925"/>
                      <a:pt x="195" y="935"/>
                      <a:pt x="212" y="935"/>
                    </a:cubicBezTo>
                    <a:cubicBezTo>
                      <a:pt x="205" y="917"/>
                      <a:pt x="199" y="899"/>
                      <a:pt x="194" y="879"/>
                    </a:cubicBezTo>
                    <a:close/>
                    <a:moveTo>
                      <a:pt x="1457" y="881"/>
                    </a:moveTo>
                    <a:cubicBezTo>
                      <a:pt x="1457" y="880"/>
                      <a:pt x="1456" y="880"/>
                      <a:pt x="1455" y="880"/>
                    </a:cubicBezTo>
                    <a:cubicBezTo>
                      <a:pt x="1452" y="883"/>
                      <a:pt x="1447" y="885"/>
                      <a:pt x="1443" y="887"/>
                    </a:cubicBezTo>
                    <a:cubicBezTo>
                      <a:pt x="1443" y="905"/>
                      <a:pt x="1440" y="923"/>
                      <a:pt x="1441" y="937"/>
                    </a:cubicBezTo>
                    <a:cubicBezTo>
                      <a:pt x="1443" y="919"/>
                      <a:pt x="1456" y="899"/>
                      <a:pt x="1457" y="881"/>
                    </a:cubicBezTo>
                    <a:close/>
                    <a:moveTo>
                      <a:pt x="1505" y="889"/>
                    </a:moveTo>
                    <a:cubicBezTo>
                      <a:pt x="1506" y="893"/>
                      <a:pt x="1506" y="886"/>
                      <a:pt x="1505" y="889"/>
                    </a:cubicBezTo>
                    <a:close/>
                    <a:moveTo>
                      <a:pt x="1399" y="909"/>
                    </a:moveTo>
                    <a:cubicBezTo>
                      <a:pt x="1411" y="918"/>
                      <a:pt x="1425" y="927"/>
                      <a:pt x="1437" y="936"/>
                    </a:cubicBezTo>
                    <a:cubicBezTo>
                      <a:pt x="1438" y="922"/>
                      <a:pt x="1441" y="904"/>
                      <a:pt x="1439" y="889"/>
                    </a:cubicBezTo>
                    <a:cubicBezTo>
                      <a:pt x="1427" y="897"/>
                      <a:pt x="1413" y="903"/>
                      <a:pt x="1399" y="909"/>
                    </a:cubicBezTo>
                    <a:close/>
                    <a:moveTo>
                      <a:pt x="1354" y="924"/>
                    </a:moveTo>
                    <a:cubicBezTo>
                      <a:pt x="1366" y="919"/>
                      <a:pt x="1379" y="914"/>
                      <a:pt x="1392" y="910"/>
                    </a:cubicBezTo>
                    <a:cubicBezTo>
                      <a:pt x="1384" y="902"/>
                      <a:pt x="1373" y="898"/>
                      <a:pt x="1363" y="893"/>
                    </a:cubicBezTo>
                    <a:cubicBezTo>
                      <a:pt x="1360" y="903"/>
                      <a:pt x="1354" y="915"/>
                      <a:pt x="1354" y="924"/>
                    </a:cubicBezTo>
                    <a:close/>
                    <a:moveTo>
                      <a:pt x="131" y="910"/>
                    </a:moveTo>
                    <a:cubicBezTo>
                      <a:pt x="141" y="912"/>
                      <a:pt x="148" y="917"/>
                      <a:pt x="158" y="919"/>
                    </a:cubicBezTo>
                    <a:cubicBezTo>
                      <a:pt x="158" y="911"/>
                      <a:pt x="159" y="901"/>
                      <a:pt x="157" y="894"/>
                    </a:cubicBezTo>
                    <a:cubicBezTo>
                      <a:pt x="149" y="900"/>
                      <a:pt x="139" y="903"/>
                      <a:pt x="131" y="910"/>
                    </a:cubicBezTo>
                    <a:close/>
                    <a:moveTo>
                      <a:pt x="929" y="998"/>
                    </a:moveTo>
                    <a:cubicBezTo>
                      <a:pt x="936" y="999"/>
                      <a:pt x="939" y="996"/>
                      <a:pt x="945" y="997"/>
                    </a:cubicBezTo>
                    <a:cubicBezTo>
                      <a:pt x="947" y="964"/>
                      <a:pt x="945" y="928"/>
                      <a:pt x="944" y="895"/>
                    </a:cubicBezTo>
                    <a:cubicBezTo>
                      <a:pt x="941" y="931"/>
                      <a:pt x="935" y="964"/>
                      <a:pt x="929" y="998"/>
                    </a:cubicBezTo>
                    <a:close/>
                    <a:moveTo>
                      <a:pt x="98" y="897"/>
                    </a:moveTo>
                    <a:cubicBezTo>
                      <a:pt x="99" y="906"/>
                      <a:pt x="103" y="913"/>
                      <a:pt x="104" y="922"/>
                    </a:cubicBezTo>
                    <a:cubicBezTo>
                      <a:pt x="112" y="918"/>
                      <a:pt x="119" y="915"/>
                      <a:pt x="125" y="909"/>
                    </a:cubicBezTo>
                    <a:cubicBezTo>
                      <a:pt x="115" y="906"/>
                      <a:pt x="107" y="900"/>
                      <a:pt x="98" y="897"/>
                    </a:cubicBezTo>
                    <a:moveTo>
                      <a:pt x="98" y="897"/>
                    </a:moveTo>
                    <a:cubicBezTo>
                      <a:pt x="97" y="896"/>
                      <a:pt x="97" y="897"/>
                      <a:pt x="98" y="897"/>
                    </a:cubicBezTo>
                    <a:moveTo>
                      <a:pt x="128" y="911"/>
                    </a:moveTo>
                    <a:cubicBezTo>
                      <a:pt x="121" y="916"/>
                      <a:pt x="111" y="919"/>
                      <a:pt x="106" y="927"/>
                    </a:cubicBezTo>
                    <a:cubicBezTo>
                      <a:pt x="126" y="981"/>
                      <a:pt x="148" y="1032"/>
                      <a:pt x="176" y="1078"/>
                    </a:cubicBezTo>
                    <a:cubicBezTo>
                      <a:pt x="166" y="1030"/>
                      <a:pt x="160" y="978"/>
                      <a:pt x="158" y="922"/>
                    </a:cubicBezTo>
                    <a:cubicBezTo>
                      <a:pt x="148" y="919"/>
                      <a:pt x="138" y="915"/>
                      <a:pt x="128" y="911"/>
                    </a:cubicBezTo>
                    <a:close/>
                    <a:moveTo>
                      <a:pt x="1396" y="911"/>
                    </a:moveTo>
                    <a:cubicBezTo>
                      <a:pt x="1381" y="916"/>
                      <a:pt x="1367" y="923"/>
                      <a:pt x="1351" y="927"/>
                    </a:cubicBezTo>
                    <a:cubicBezTo>
                      <a:pt x="1341" y="957"/>
                      <a:pt x="1330" y="985"/>
                      <a:pt x="1317" y="1011"/>
                    </a:cubicBezTo>
                    <a:cubicBezTo>
                      <a:pt x="1313" y="1047"/>
                      <a:pt x="1308" y="1080"/>
                      <a:pt x="1301" y="1111"/>
                    </a:cubicBezTo>
                    <a:cubicBezTo>
                      <a:pt x="1314" y="1119"/>
                      <a:pt x="1324" y="1130"/>
                      <a:pt x="1336" y="1139"/>
                    </a:cubicBezTo>
                    <a:cubicBezTo>
                      <a:pt x="1376" y="1079"/>
                      <a:pt x="1414" y="1018"/>
                      <a:pt x="1437" y="941"/>
                    </a:cubicBezTo>
                    <a:cubicBezTo>
                      <a:pt x="1425" y="929"/>
                      <a:pt x="1410" y="920"/>
                      <a:pt x="1396" y="911"/>
                    </a:cubicBezTo>
                    <a:close/>
                    <a:moveTo>
                      <a:pt x="161" y="927"/>
                    </a:moveTo>
                    <a:cubicBezTo>
                      <a:pt x="163" y="985"/>
                      <a:pt x="170" y="1038"/>
                      <a:pt x="181" y="1087"/>
                    </a:cubicBezTo>
                    <a:cubicBezTo>
                      <a:pt x="190" y="1099"/>
                      <a:pt x="197" y="1113"/>
                      <a:pt x="206" y="1125"/>
                    </a:cubicBezTo>
                    <a:cubicBezTo>
                      <a:pt x="227" y="1107"/>
                      <a:pt x="251" y="1093"/>
                      <a:pt x="277" y="1081"/>
                    </a:cubicBezTo>
                    <a:cubicBezTo>
                      <a:pt x="255" y="1036"/>
                      <a:pt x="231" y="992"/>
                      <a:pt x="214" y="940"/>
                    </a:cubicBezTo>
                    <a:cubicBezTo>
                      <a:pt x="195" y="936"/>
                      <a:pt x="179" y="929"/>
                      <a:pt x="161" y="924"/>
                    </a:cubicBezTo>
                    <a:cubicBezTo>
                      <a:pt x="161" y="925"/>
                      <a:pt x="161" y="926"/>
                      <a:pt x="161" y="927"/>
                    </a:cubicBezTo>
                    <a:close/>
                    <a:moveTo>
                      <a:pt x="66" y="965"/>
                    </a:moveTo>
                    <a:cubicBezTo>
                      <a:pt x="64" y="977"/>
                      <a:pt x="71" y="992"/>
                      <a:pt x="74" y="1005"/>
                    </a:cubicBezTo>
                    <a:cubicBezTo>
                      <a:pt x="77" y="1019"/>
                      <a:pt x="78" y="1032"/>
                      <a:pt x="82" y="1043"/>
                    </a:cubicBezTo>
                    <a:cubicBezTo>
                      <a:pt x="93" y="1070"/>
                      <a:pt x="112" y="1092"/>
                      <a:pt x="122" y="1112"/>
                    </a:cubicBezTo>
                    <a:cubicBezTo>
                      <a:pt x="142" y="1123"/>
                      <a:pt x="164" y="1137"/>
                      <a:pt x="186" y="1144"/>
                    </a:cubicBezTo>
                    <a:cubicBezTo>
                      <a:pt x="195" y="1137"/>
                      <a:pt x="189" y="1127"/>
                      <a:pt x="186" y="1118"/>
                    </a:cubicBezTo>
                    <a:cubicBezTo>
                      <a:pt x="183" y="1108"/>
                      <a:pt x="181" y="1097"/>
                      <a:pt x="179" y="1087"/>
                    </a:cubicBezTo>
                    <a:cubicBezTo>
                      <a:pt x="149" y="1039"/>
                      <a:pt x="124" y="986"/>
                      <a:pt x="104" y="928"/>
                    </a:cubicBezTo>
                    <a:cubicBezTo>
                      <a:pt x="104" y="927"/>
                      <a:pt x="104" y="927"/>
                      <a:pt x="103" y="927"/>
                    </a:cubicBezTo>
                    <a:cubicBezTo>
                      <a:pt x="95" y="937"/>
                      <a:pt x="68" y="952"/>
                      <a:pt x="66" y="965"/>
                    </a:cubicBezTo>
                    <a:close/>
                    <a:moveTo>
                      <a:pt x="1322" y="936"/>
                    </a:moveTo>
                    <a:cubicBezTo>
                      <a:pt x="1322" y="959"/>
                      <a:pt x="1319" y="983"/>
                      <a:pt x="1319" y="1003"/>
                    </a:cubicBezTo>
                    <a:cubicBezTo>
                      <a:pt x="1329" y="979"/>
                      <a:pt x="1339" y="954"/>
                      <a:pt x="1349" y="929"/>
                    </a:cubicBezTo>
                    <a:cubicBezTo>
                      <a:pt x="1339" y="930"/>
                      <a:pt x="1332" y="935"/>
                      <a:pt x="1322" y="936"/>
                    </a:cubicBezTo>
                    <a:close/>
                    <a:moveTo>
                      <a:pt x="1216" y="963"/>
                    </a:moveTo>
                    <a:cubicBezTo>
                      <a:pt x="1206" y="996"/>
                      <a:pt x="1192" y="1025"/>
                      <a:pt x="1179" y="1055"/>
                    </a:cubicBezTo>
                    <a:cubicBezTo>
                      <a:pt x="1212" y="1065"/>
                      <a:pt x="1242" y="1078"/>
                      <a:pt x="1271" y="1093"/>
                    </a:cubicBezTo>
                    <a:cubicBezTo>
                      <a:pt x="1278" y="1080"/>
                      <a:pt x="1286" y="1067"/>
                      <a:pt x="1294" y="1053"/>
                    </a:cubicBezTo>
                    <a:cubicBezTo>
                      <a:pt x="1300" y="1041"/>
                      <a:pt x="1312" y="1023"/>
                      <a:pt x="1315" y="1010"/>
                    </a:cubicBezTo>
                    <a:cubicBezTo>
                      <a:pt x="1320" y="988"/>
                      <a:pt x="1316" y="966"/>
                      <a:pt x="1319" y="938"/>
                    </a:cubicBezTo>
                    <a:cubicBezTo>
                      <a:pt x="1318" y="938"/>
                      <a:pt x="1318" y="938"/>
                      <a:pt x="1317" y="938"/>
                    </a:cubicBezTo>
                    <a:cubicBezTo>
                      <a:pt x="1285" y="948"/>
                      <a:pt x="1252" y="957"/>
                      <a:pt x="1216" y="963"/>
                    </a:cubicBezTo>
                    <a:close/>
                    <a:moveTo>
                      <a:pt x="280" y="1079"/>
                    </a:moveTo>
                    <a:cubicBezTo>
                      <a:pt x="293" y="1075"/>
                      <a:pt x="305" y="1068"/>
                      <a:pt x="319" y="1064"/>
                    </a:cubicBezTo>
                    <a:cubicBezTo>
                      <a:pt x="315" y="1033"/>
                      <a:pt x="314" y="998"/>
                      <a:pt x="313" y="964"/>
                    </a:cubicBezTo>
                    <a:cubicBezTo>
                      <a:pt x="279" y="958"/>
                      <a:pt x="248" y="950"/>
                      <a:pt x="217" y="941"/>
                    </a:cubicBezTo>
                    <a:cubicBezTo>
                      <a:pt x="234" y="991"/>
                      <a:pt x="256" y="1036"/>
                      <a:pt x="280" y="1079"/>
                    </a:cubicBezTo>
                    <a:close/>
                    <a:moveTo>
                      <a:pt x="1403" y="1111"/>
                    </a:moveTo>
                    <a:cubicBezTo>
                      <a:pt x="1431" y="1098"/>
                      <a:pt x="1442" y="1073"/>
                      <a:pt x="1454" y="1045"/>
                    </a:cubicBezTo>
                    <a:cubicBezTo>
                      <a:pt x="1461" y="1029"/>
                      <a:pt x="1470" y="1013"/>
                      <a:pt x="1474" y="997"/>
                    </a:cubicBezTo>
                    <a:cubicBezTo>
                      <a:pt x="1468" y="975"/>
                      <a:pt x="1455" y="958"/>
                      <a:pt x="1440" y="944"/>
                    </a:cubicBezTo>
                    <a:cubicBezTo>
                      <a:pt x="1433" y="1004"/>
                      <a:pt x="1418" y="1062"/>
                      <a:pt x="1403" y="1111"/>
                    </a:cubicBezTo>
                    <a:close/>
                    <a:moveTo>
                      <a:pt x="1491" y="959"/>
                    </a:moveTo>
                    <a:cubicBezTo>
                      <a:pt x="1492" y="962"/>
                      <a:pt x="1492" y="955"/>
                      <a:pt x="1491" y="959"/>
                    </a:cubicBezTo>
                    <a:close/>
                    <a:moveTo>
                      <a:pt x="1434" y="961"/>
                    </a:moveTo>
                    <a:cubicBezTo>
                      <a:pt x="1434" y="961"/>
                      <a:pt x="1435" y="962"/>
                      <a:pt x="1434" y="961"/>
                    </a:cubicBezTo>
                    <a:close/>
                    <a:moveTo>
                      <a:pt x="1490" y="963"/>
                    </a:moveTo>
                    <a:cubicBezTo>
                      <a:pt x="1489" y="963"/>
                      <a:pt x="1489" y="963"/>
                      <a:pt x="1489" y="963"/>
                    </a:cubicBezTo>
                    <a:cubicBezTo>
                      <a:pt x="1487" y="979"/>
                      <a:pt x="1474" y="992"/>
                      <a:pt x="1479" y="1008"/>
                    </a:cubicBezTo>
                    <a:cubicBezTo>
                      <a:pt x="1482" y="992"/>
                      <a:pt x="1488" y="980"/>
                      <a:pt x="1490" y="963"/>
                    </a:cubicBezTo>
                    <a:moveTo>
                      <a:pt x="1490" y="963"/>
                    </a:moveTo>
                    <a:cubicBezTo>
                      <a:pt x="1493" y="962"/>
                      <a:pt x="1489" y="958"/>
                      <a:pt x="1490" y="963"/>
                    </a:cubicBezTo>
                    <a:moveTo>
                      <a:pt x="1350" y="1123"/>
                    </a:moveTo>
                    <a:cubicBezTo>
                      <a:pt x="1346" y="1129"/>
                      <a:pt x="1339" y="1135"/>
                      <a:pt x="1338" y="1144"/>
                    </a:cubicBezTo>
                    <a:cubicBezTo>
                      <a:pt x="1361" y="1136"/>
                      <a:pt x="1379" y="1125"/>
                      <a:pt x="1398" y="1114"/>
                    </a:cubicBezTo>
                    <a:cubicBezTo>
                      <a:pt x="1414" y="1068"/>
                      <a:pt x="1429" y="1017"/>
                      <a:pt x="1433" y="963"/>
                    </a:cubicBezTo>
                    <a:cubicBezTo>
                      <a:pt x="1411" y="1021"/>
                      <a:pt x="1383" y="1076"/>
                      <a:pt x="1350" y="1123"/>
                    </a:cubicBezTo>
                    <a:close/>
                    <a:moveTo>
                      <a:pt x="1213" y="965"/>
                    </a:moveTo>
                    <a:cubicBezTo>
                      <a:pt x="1195" y="967"/>
                      <a:pt x="1173" y="973"/>
                      <a:pt x="1153" y="976"/>
                    </a:cubicBezTo>
                    <a:cubicBezTo>
                      <a:pt x="1153" y="1000"/>
                      <a:pt x="1152" y="1023"/>
                      <a:pt x="1150" y="1046"/>
                    </a:cubicBezTo>
                    <a:cubicBezTo>
                      <a:pt x="1160" y="1048"/>
                      <a:pt x="1167" y="1052"/>
                      <a:pt x="1177" y="1054"/>
                    </a:cubicBezTo>
                    <a:cubicBezTo>
                      <a:pt x="1190" y="1025"/>
                      <a:pt x="1202" y="996"/>
                      <a:pt x="1213" y="965"/>
                    </a:cubicBezTo>
                    <a:close/>
                    <a:moveTo>
                      <a:pt x="321" y="1062"/>
                    </a:moveTo>
                    <a:cubicBezTo>
                      <a:pt x="341" y="1057"/>
                      <a:pt x="360" y="1049"/>
                      <a:pt x="380" y="1044"/>
                    </a:cubicBezTo>
                    <a:cubicBezTo>
                      <a:pt x="370" y="1020"/>
                      <a:pt x="361" y="996"/>
                      <a:pt x="352" y="972"/>
                    </a:cubicBezTo>
                    <a:cubicBezTo>
                      <a:pt x="339" y="970"/>
                      <a:pt x="328" y="967"/>
                      <a:pt x="316" y="965"/>
                    </a:cubicBezTo>
                    <a:cubicBezTo>
                      <a:pt x="316" y="999"/>
                      <a:pt x="319" y="1030"/>
                      <a:pt x="321" y="1062"/>
                    </a:cubicBezTo>
                    <a:close/>
                    <a:moveTo>
                      <a:pt x="75" y="1024"/>
                    </a:moveTo>
                    <a:cubicBezTo>
                      <a:pt x="70" y="1006"/>
                      <a:pt x="68" y="985"/>
                      <a:pt x="62" y="968"/>
                    </a:cubicBezTo>
                    <a:cubicBezTo>
                      <a:pt x="50" y="986"/>
                      <a:pt x="69" y="1007"/>
                      <a:pt x="75" y="1024"/>
                    </a:cubicBezTo>
                    <a:close/>
                    <a:moveTo>
                      <a:pt x="382" y="1043"/>
                    </a:moveTo>
                    <a:cubicBezTo>
                      <a:pt x="421" y="1032"/>
                      <a:pt x="463" y="1025"/>
                      <a:pt x="504" y="1016"/>
                    </a:cubicBezTo>
                    <a:cubicBezTo>
                      <a:pt x="501" y="1009"/>
                      <a:pt x="499" y="1001"/>
                      <a:pt x="497" y="992"/>
                    </a:cubicBezTo>
                    <a:cubicBezTo>
                      <a:pt x="448" y="988"/>
                      <a:pt x="402" y="981"/>
                      <a:pt x="356" y="973"/>
                    </a:cubicBezTo>
                    <a:cubicBezTo>
                      <a:pt x="363" y="998"/>
                      <a:pt x="374" y="1019"/>
                      <a:pt x="382" y="1043"/>
                    </a:cubicBezTo>
                    <a:close/>
                    <a:moveTo>
                      <a:pt x="1150" y="976"/>
                    </a:moveTo>
                    <a:cubicBezTo>
                      <a:pt x="1125" y="981"/>
                      <a:pt x="1099" y="984"/>
                      <a:pt x="1073" y="987"/>
                    </a:cubicBezTo>
                    <a:cubicBezTo>
                      <a:pt x="1069" y="1000"/>
                      <a:pt x="1065" y="1012"/>
                      <a:pt x="1062" y="1025"/>
                    </a:cubicBezTo>
                    <a:cubicBezTo>
                      <a:pt x="1092" y="1029"/>
                      <a:pt x="1121" y="1039"/>
                      <a:pt x="1148" y="1044"/>
                    </a:cubicBezTo>
                    <a:cubicBezTo>
                      <a:pt x="1148" y="1021"/>
                      <a:pt x="1151" y="996"/>
                      <a:pt x="1150" y="976"/>
                    </a:cubicBezTo>
                    <a:close/>
                    <a:moveTo>
                      <a:pt x="95" y="1092"/>
                    </a:moveTo>
                    <a:cubicBezTo>
                      <a:pt x="95" y="1093"/>
                      <a:pt x="96" y="1092"/>
                      <a:pt x="95" y="1092"/>
                    </a:cubicBezTo>
                    <a:moveTo>
                      <a:pt x="95" y="1092"/>
                    </a:moveTo>
                    <a:cubicBezTo>
                      <a:pt x="84" y="1053"/>
                      <a:pt x="70" y="1017"/>
                      <a:pt x="54" y="984"/>
                    </a:cubicBezTo>
                    <a:cubicBezTo>
                      <a:pt x="36" y="1032"/>
                      <a:pt x="67" y="1071"/>
                      <a:pt x="95" y="1092"/>
                    </a:cubicBezTo>
                    <a:moveTo>
                      <a:pt x="950" y="1000"/>
                    </a:moveTo>
                    <a:cubicBezTo>
                      <a:pt x="950" y="1002"/>
                      <a:pt x="950" y="1004"/>
                      <a:pt x="950" y="1007"/>
                    </a:cubicBezTo>
                    <a:cubicBezTo>
                      <a:pt x="986" y="1013"/>
                      <a:pt x="1024" y="1017"/>
                      <a:pt x="1059" y="1024"/>
                    </a:cubicBezTo>
                    <a:cubicBezTo>
                      <a:pt x="1063" y="1013"/>
                      <a:pt x="1066" y="1000"/>
                      <a:pt x="1070" y="988"/>
                    </a:cubicBezTo>
                    <a:cubicBezTo>
                      <a:pt x="1030" y="992"/>
                      <a:pt x="990" y="996"/>
                      <a:pt x="950" y="1000"/>
                    </a:cubicBezTo>
                    <a:close/>
                    <a:moveTo>
                      <a:pt x="508" y="1016"/>
                    </a:moveTo>
                    <a:cubicBezTo>
                      <a:pt x="508" y="1009"/>
                      <a:pt x="508" y="1001"/>
                      <a:pt x="508" y="994"/>
                    </a:cubicBezTo>
                    <a:cubicBezTo>
                      <a:pt x="506" y="993"/>
                      <a:pt x="503" y="993"/>
                      <a:pt x="500" y="993"/>
                    </a:cubicBezTo>
                    <a:cubicBezTo>
                      <a:pt x="502" y="1001"/>
                      <a:pt x="502" y="1011"/>
                      <a:pt x="508" y="1016"/>
                    </a:cubicBezTo>
                    <a:close/>
                    <a:moveTo>
                      <a:pt x="510" y="994"/>
                    </a:moveTo>
                    <a:cubicBezTo>
                      <a:pt x="511" y="1001"/>
                      <a:pt x="509" y="1011"/>
                      <a:pt x="511" y="1016"/>
                    </a:cubicBezTo>
                    <a:cubicBezTo>
                      <a:pt x="545" y="1009"/>
                      <a:pt x="584" y="1008"/>
                      <a:pt x="619" y="1002"/>
                    </a:cubicBezTo>
                    <a:cubicBezTo>
                      <a:pt x="581" y="1001"/>
                      <a:pt x="546" y="997"/>
                      <a:pt x="510" y="994"/>
                    </a:cubicBezTo>
                    <a:close/>
                    <a:moveTo>
                      <a:pt x="684" y="1002"/>
                    </a:moveTo>
                    <a:cubicBezTo>
                      <a:pt x="696" y="1003"/>
                      <a:pt x="716" y="1005"/>
                      <a:pt x="726" y="1001"/>
                    </a:cubicBezTo>
                    <a:cubicBezTo>
                      <a:pt x="714" y="999"/>
                      <a:pt x="697" y="1001"/>
                      <a:pt x="684" y="1002"/>
                    </a:cubicBezTo>
                    <a:close/>
                    <a:moveTo>
                      <a:pt x="728" y="1002"/>
                    </a:moveTo>
                    <a:cubicBezTo>
                      <a:pt x="729" y="1002"/>
                      <a:pt x="729" y="1003"/>
                      <a:pt x="730" y="1003"/>
                    </a:cubicBezTo>
                    <a:cubicBezTo>
                      <a:pt x="740" y="1004"/>
                      <a:pt x="752" y="1004"/>
                      <a:pt x="763" y="1004"/>
                    </a:cubicBezTo>
                    <a:cubicBezTo>
                      <a:pt x="770" y="1004"/>
                      <a:pt x="780" y="1006"/>
                      <a:pt x="783" y="1001"/>
                    </a:cubicBezTo>
                    <a:cubicBezTo>
                      <a:pt x="767" y="1000"/>
                      <a:pt x="743" y="998"/>
                      <a:pt x="728" y="1002"/>
                    </a:cubicBezTo>
                    <a:close/>
                    <a:moveTo>
                      <a:pt x="786" y="1002"/>
                    </a:moveTo>
                    <a:cubicBezTo>
                      <a:pt x="802" y="1003"/>
                      <a:pt x="826" y="1004"/>
                      <a:pt x="840" y="1001"/>
                    </a:cubicBezTo>
                    <a:cubicBezTo>
                      <a:pt x="822" y="1003"/>
                      <a:pt x="801" y="997"/>
                      <a:pt x="786" y="1002"/>
                    </a:cubicBezTo>
                    <a:close/>
                    <a:moveTo>
                      <a:pt x="928" y="1005"/>
                    </a:moveTo>
                    <a:cubicBezTo>
                      <a:pt x="933" y="1006"/>
                      <a:pt x="939" y="1006"/>
                      <a:pt x="945" y="1007"/>
                    </a:cubicBezTo>
                    <a:cubicBezTo>
                      <a:pt x="945" y="1004"/>
                      <a:pt x="945" y="1002"/>
                      <a:pt x="945" y="1000"/>
                    </a:cubicBezTo>
                    <a:cubicBezTo>
                      <a:pt x="939" y="1001"/>
                      <a:pt x="929" y="998"/>
                      <a:pt x="928" y="1005"/>
                    </a:cubicBezTo>
                    <a:close/>
                    <a:moveTo>
                      <a:pt x="905" y="1003"/>
                    </a:moveTo>
                    <a:cubicBezTo>
                      <a:pt x="911" y="1002"/>
                      <a:pt x="924" y="1008"/>
                      <a:pt x="926" y="1002"/>
                    </a:cubicBezTo>
                    <a:cubicBezTo>
                      <a:pt x="921" y="1001"/>
                      <a:pt x="911" y="1002"/>
                      <a:pt x="905" y="1003"/>
                    </a:cubicBezTo>
                    <a:close/>
                    <a:moveTo>
                      <a:pt x="510" y="1018"/>
                    </a:moveTo>
                    <a:cubicBezTo>
                      <a:pt x="512" y="1043"/>
                      <a:pt x="518" y="1061"/>
                      <a:pt x="525" y="1080"/>
                    </a:cubicBezTo>
                    <a:cubicBezTo>
                      <a:pt x="539" y="1124"/>
                      <a:pt x="556" y="1165"/>
                      <a:pt x="573" y="1204"/>
                    </a:cubicBezTo>
                    <a:cubicBezTo>
                      <a:pt x="605" y="1200"/>
                      <a:pt x="636" y="1195"/>
                      <a:pt x="671" y="1193"/>
                    </a:cubicBezTo>
                    <a:cubicBezTo>
                      <a:pt x="658" y="1137"/>
                      <a:pt x="651" y="1072"/>
                      <a:pt x="641" y="1014"/>
                    </a:cubicBezTo>
                    <a:cubicBezTo>
                      <a:pt x="641" y="1011"/>
                      <a:pt x="643" y="1004"/>
                      <a:pt x="637" y="1004"/>
                    </a:cubicBezTo>
                    <a:cubicBezTo>
                      <a:pt x="594" y="1007"/>
                      <a:pt x="552" y="1012"/>
                      <a:pt x="510" y="1018"/>
                    </a:cubicBezTo>
                    <a:close/>
                    <a:moveTo>
                      <a:pt x="675" y="1192"/>
                    </a:moveTo>
                    <a:cubicBezTo>
                      <a:pt x="693" y="1192"/>
                      <a:pt x="708" y="1189"/>
                      <a:pt x="726" y="1190"/>
                    </a:cubicBezTo>
                    <a:cubicBezTo>
                      <a:pt x="727" y="1128"/>
                      <a:pt x="725" y="1068"/>
                      <a:pt x="726" y="1006"/>
                    </a:cubicBezTo>
                    <a:cubicBezTo>
                      <a:pt x="697" y="1006"/>
                      <a:pt x="672" y="1004"/>
                      <a:pt x="645" y="1004"/>
                    </a:cubicBezTo>
                    <a:cubicBezTo>
                      <a:pt x="650" y="1067"/>
                      <a:pt x="663" y="1131"/>
                      <a:pt x="675" y="1192"/>
                    </a:cubicBezTo>
                    <a:close/>
                    <a:moveTo>
                      <a:pt x="786" y="1006"/>
                    </a:moveTo>
                    <a:cubicBezTo>
                      <a:pt x="784" y="1067"/>
                      <a:pt x="782" y="1128"/>
                      <a:pt x="780" y="1189"/>
                    </a:cubicBezTo>
                    <a:cubicBezTo>
                      <a:pt x="815" y="1190"/>
                      <a:pt x="851" y="1191"/>
                      <a:pt x="883" y="1196"/>
                    </a:cubicBezTo>
                    <a:cubicBezTo>
                      <a:pt x="899" y="1135"/>
                      <a:pt x="913" y="1072"/>
                      <a:pt x="925" y="1007"/>
                    </a:cubicBezTo>
                    <a:cubicBezTo>
                      <a:pt x="882" y="1000"/>
                      <a:pt x="834" y="1007"/>
                      <a:pt x="786" y="1006"/>
                    </a:cubicBezTo>
                    <a:close/>
                    <a:moveTo>
                      <a:pt x="1439" y="1083"/>
                    </a:moveTo>
                    <a:cubicBezTo>
                      <a:pt x="1437" y="1084"/>
                      <a:pt x="1439" y="1084"/>
                      <a:pt x="1439" y="1083"/>
                    </a:cubicBezTo>
                    <a:moveTo>
                      <a:pt x="1439" y="1083"/>
                    </a:moveTo>
                    <a:cubicBezTo>
                      <a:pt x="1439" y="1083"/>
                      <a:pt x="1440" y="1083"/>
                      <a:pt x="1440" y="1083"/>
                    </a:cubicBezTo>
                    <a:cubicBezTo>
                      <a:pt x="1458" y="1065"/>
                      <a:pt x="1478" y="1037"/>
                      <a:pt x="1474" y="1004"/>
                    </a:cubicBezTo>
                    <a:cubicBezTo>
                      <a:pt x="1465" y="1033"/>
                      <a:pt x="1451" y="1057"/>
                      <a:pt x="1439" y="1083"/>
                    </a:cubicBezTo>
                    <a:moveTo>
                      <a:pt x="729" y="1190"/>
                    </a:moveTo>
                    <a:cubicBezTo>
                      <a:pt x="744" y="1188"/>
                      <a:pt x="762" y="1189"/>
                      <a:pt x="777" y="1189"/>
                    </a:cubicBezTo>
                    <a:cubicBezTo>
                      <a:pt x="780" y="1129"/>
                      <a:pt x="782" y="1067"/>
                      <a:pt x="783" y="1006"/>
                    </a:cubicBezTo>
                    <a:cubicBezTo>
                      <a:pt x="765" y="1006"/>
                      <a:pt x="747" y="1006"/>
                      <a:pt x="729" y="1006"/>
                    </a:cubicBezTo>
                    <a:cubicBezTo>
                      <a:pt x="727" y="1066"/>
                      <a:pt x="729" y="1129"/>
                      <a:pt x="729" y="1190"/>
                    </a:cubicBezTo>
                    <a:close/>
                    <a:moveTo>
                      <a:pt x="928" y="1007"/>
                    </a:moveTo>
                    <a:cubicBezTo>
                      <a:pt x="915" y="1072"/>
                      <a:pt x="903" y="1136"/>
                      <a:pt x="885" y="1196"/>
                    </a:cubicBezTo>
                    <a:cubicBezTo>
                      <a:pt x="903" y="1197"/>
                      <a:pt x="920" y="1200"/>
                      <a:pt x="937" y="1202"/>
                    </a:cubicBezTo>
                    <a:cubicBezTo>
                      <a:pt x="941" y="1140"/>
                      <a:pt x="945" y="1077"/>
                      <a:pt x="945" y="1009"/>
                    </a:cubicBezTo>
                    <a:cubicBezTo>
                      <a:pt x="940" y="1009"/>
                      <a:pt x="934" y="1008"/>
                      <a:pt x="928" y="1007"/>
                    </a:cubicBezTo>
                    <a:close/>
                    <a:moveTo>
                      <a:pt x="951" y="1010"/>
                    </a:moveTo>
                    <a:cubicBezTo>
                      <a:pt x="947" y="1074"/>
                      <a:pt x="947" y="1142"/>
                      <a:pt x="941" y="1203"/>
                    </a:cubicBezTo>
                    <a:cubicBezTo>
                      <a:pt x="955" y="1205"/>
                      <a:pt x="968" y="1208"/>
                      <a:pt x="981" y="1211"/>
                    </a:cubicBezTo>
                    <a:cubicBezTo>
                      <a:pt x="1010" y="1153"/>
                      <a:pt x="1037" y="1093"/>
                      <a:pt x="1058" y="1026"/>
                    </a:cubicBezTo>
                    <a:cubicBezTo>
                      <a:pt x="1022" y="1020"/>
                      <a:pt x="989" y="1013"/>
                      <a:pt x="951" y="1010"/>
                    </a:cubicBezTo>
                    <a:close/>
                    <a:moveTo>
                      <a:pt x="507" y="1020"/>
                    </a:moveTo>
                    <a:cubicBezTo>
                      <a:pt x="508" y="1024"/>
                      <a:pt x="508" y="1016"/>
                      <a:pt x="507" y="1020"/>
                    </a:cubicBezTo>
                    <a:close/>
                    <a:moveTo>
                      <a:pt x="384" y="1045"/>
                    </a:moveTo>
                    <a:cubicBezTo>
                      <a:pt x="411" y="1107"/>
                      <a:pt x="441" y="1167"/>
                      <a:pt x="479" y="1218"/>
                    </a:cubicBezTo>
                    <a:cubicBezTo>
                      <a:pt x="493" y="1223"/>
                      <a:pt x="508" y="1219"/>
                      <a:pt x="522" y="1216"/>
                    </a:cubicBezTo>
                    <a:cubicBezTo>
                      <a:pt x="517" y="1173"/>
                      <a:pt x="513" y="1126"/>
                      <a:pt x="510" y="1081"/>
                    </a:cubicBezTo>
                    <a:cubicBezTo>
                      <a:pt x="509" y="1066"/>
                      <a:pt x="511" y="1049"/>
                      <a:pt x="509" y="1034"/>
                    </a:cubicBezTo>
                    <a:cubicBezTo>
                      <a:pt x="508" y="1030"/>
                      <a:pt x="506" y="1023"/>
                      <a:pt x="502" y="1020"/>
                    </a:cubicBezTo>
                    <a:cubicBezTo>
                      <a:pt x="460" y="1026"/>
                      <a:pt x="422" y="1036"/>
                      <a:pt x="384" y="1045"/>
                    </a:cubicBezTo>
                    <a:close/>
                    <a:moveTo>
                      <a:pt x="1274" y="1095"/>
                    </a:moveTo>
                    <a:cubicBezTo>
                      <a:pt x="1283" y="1099"/>
                      <a:pt x="1290" y="1105"/>
                      <a:pt x="1299" y="1109"/>
                    </a:cubicBezTo>
                    <a:cubicBezTo>
                      <a:pt x="1304" y="1081"/>
                      <a:pt x="1312" y="1050"/>
                      <a:pt x="1312" y="1021"/>
                    </a:cubicBezTo>
                    <a:cubicBezTo>
                      <a:pt x="1301" y="1047"/>
                      <a:pt x="1286" y="1070"/>
                      <a:pt x="1274" y="1095"/>
                    </a:cubicBezTo>
                    <a:close/>
                    <a:moveTo>
                      <a:pt x="508" y="1025"/>
                    </a:moveTo>
                    <a:cubicBezTo>
                      <a:pt x="507" y="1024"/>
                      <a:pt x="508" y="1025"/>
                      <a:pt x="508" y="1025"/>
                    </a:cubicBezTo>
                    <a:close/>
                    <a:moveTo>
                      <a:pt x="75" y="1026"/>
                    </a:moveTo>
                    <a:cubicBezTo>
                      <a:pt x="75" y="1026"/>
                      <a:pt x="74" y="1025"/>
                      <a:pt x="75" y="1026"/>
                    </a:cubicBezTo>
                    <a:close/>
                    <a:moveTo>
                      <a:pt x="1062" y="1027"/>
                    </a:moveTo>
                    <a:cubicBezTo>
                      <a:pt x="1038" y="1091"/>
                      <a:pt x="1014" y="1154"/>
                      <a:pt x="984" y="1211"/>
                    </a:cubicBezTo>
                    <a:cubicBezTo>
                      <a:pt x="1013" y="1223"/>
                      <a:pt x="1049" y="1219"/>
                      <a:pt x="1083" y="1213"/>
                    </a:cubicBezTo>
                    <a:cubicBezTo>
                      <a:pt x="1092" y="1199"/>
                      <a:pt x="1103" y="1185"/>
                      <a:pt x="1112" y="1170"/>
                    </a:cubicBezTo>
                    <a:cubicBezTo>
                      <a:pt x="1121" y="1156"/>
                      <a:pt x="1134" y="1140"/>
                      <a:pt x="1139" y="1124"/>
                    </a:cubicBezTo>
                    <a:cubicBezTo>
                      <a:pt x="1146" y="1101"/>
                      <a:pt x="1143" y="1075"/>
                      <a:pt x="1147" y="1047"/>
                    </a:cubicBezTo>
                    <a:cubicBezTo>
                      <a:pt x="1119" y="1040"/>
                      <a:pt x="1091" y="1033"/>
                      <a:pt x="1062" y="1027"/>
                    </a:cubicBezTo>
                    <a:close/>
                    <a:moveTo>
                      <a:pt x="526" y="1215"/>
                    </a:moveTo>
                    <a:cubicBezTo>
                      <a:pt x="539" y="1211"/>
                      <a:pt x="555" y="1208"/>
                      <a:pt x="570" y="1205"/>
                    </a:cubicBezTo>
                    <a:cubicBezTo>
                      <a:pt x="548" y="1154"/>
                      <a:pt x="529" y="1101"/>
                      <a:pt x="511" y="1046"/>
                    </a:cubicBezTo>
                    <a:cubicBezTo>
                      <a:pt x="514" y="1104"/>
                      <a:pt x="518" y="1162"/>
                      <a:pt x="526" y="1215"/>
                    </a:cubicBezTo>
                    <a:close/>
                    <a:moveTo>
                      <a:pt x="322" y="1065"/>
                    </a:moveTo>
                    <a:cubicBezTo>
                      <a:pt x="325" y="1103"/>
                      <a:pt x="332" y="1137"/>
                      <a:pt x="339" y="1171"/>
                    </a:cubicBezTo>
                    <a:cubicBezTo>
                      <a:pt x="345" y="1180"/>
                      <a:pt x="353" y="1188"/>
                      <a:pt x="359" y="1198"/>
                    </a:cubicBezTo>
                    <a:cubicBezTo>
                      <a:pt x="396" y="1205"/>
                      <a:pt x="436" y="1213"/>
                      <a:pt x="474" y="1217"/>
                    </a:cubicBezTo>
                    <a:cubicBezTo>
                      <a:pt x="441" y="1168"/>
                      <a:pt x="410" y="1113"/>
                      <a:pt x="386" y="1057"/>
                    </a:cubicBezTo>
                    <a:cubicBezTo>
                      <a:pt x="384" y="1054"/>
                      <a:pt x="384" y="1048"/>
                      <a:pt x="379" y="1047"/>
                    </a:cubicBezTo>
                    <a:cubicBezTo>
                      <a:pt x="359" y="1052"/>
                      <a:pt x="341" y="1059"/>
                      <a:pt x="322" y="1065"/>
                    </a:cubicBezTo>
                    <a:close/>
                    <a:moveTo>
                      <a:pt x="1144" y="1118"/>
                    </a:moveTo>
                    <a:cubicBezTo>
                      <a:pt x="1154" y="1097"/>
                      <a:pt x="1166" y="1078"/>
                      <a:pt x="1175" y="1055"/>
                    </a:cubicBezTo>
                    <a:cubicBezTo>
                      <a:pt x="1166" y="1054"/>
                      <a:pt x="1159" y="1050"/>
                      <a:pt x="1150" y="1049"/>
                    </a:cubicBezTo>
                    <a:cubicBezTo>
                      <a:pt x="1149" y="1072"/>
                      <a:pt x="1144" y="1097"/>
                      <a:pt x="1144" y="1118"/>
                    </a:cubicBezTo>
                    <a:close/>
                    <a:moveTo>
                      <a:pt x="87" y="1057"/>
                    </a:moveTo>
                    <a:cubicBezTo>
                      <a:pt x="94" y="1077"/>
                      <a:pt x="96" y="1100"/>
                      <a:pt x="115" y="1107"/>
                    </a:cubicBezTo>
                    <a:cubicBezTo>
                      <a:pt x="106" y="1091"/>
                      <a:pt x="96" y="1074"/>
                      <a:pt x="87" y="1057"/>
                    </a:cubicBezTo>
                    <a:moveTo>
                      <a:pt x="87" y="1057"/>
                    </a:moveTo>
                    <a:cubicBezTo>
                      <a:pt x="88" y="1053"/>
                      <a:pt x="84" y="1057"/>
                      <a:pt x="87" y="1057"/>
                    </a:cubicBezTo>
                    <a:moveTo>
                      <a:pt x="1177" y="1057"/>
                    </a:moveTo>
                    <a:cubicBezTo>
                      <a:pt x="1172" y="1069"/>
                      <a:pt x="1167" y="1081"/>
                      <a:pt x="1160" y="1093"/>
                    </a:cubicBezTo>
                    <a:cubicBezTo>
                      <a:pt x="1155" y="1103"/>
                      <a:pt x="1146" y="1113"/>
                      <a:pt x="1142" y="1125"/>
                    </a:cubicBezTo>
                    <a:cubicBezTo>
                      <a:pt x="1138" y="1137"/>
                      <a:pt x="1139" y="1152"/>
                      <a:pt x="1136" y="1165"/>
                    </a:cubicBezTo>
                    <a:cubicBezTo>
                      <a:pt x="1134" y="1178"/>
                      <a:pt x="1131" y="1190"/>
                      <a:pt x="1129" y="1204"/>
                    </a:cubicBezTo>
                    <a:cubicBezTo>
                      <a:pt x="1155" y="1201"/>
                      <a:pt x="1179" y="1194"/>
                      <a:pt x="1204" y="1189"/>
                    </a:cubicBezTo>
                    <a:cubicBezTo>
                      <a:pt x="1227" y="1159"/>
                      <a:pt x="1250" y="1129"/>
                      <a:pt x="1269" y="1095"/>
                    </a:cubicBezTo>
                    <a:cubicBezTo>
                      <a:pt x="1240" y="1080"/>
                      <a:pt x="1211" y="1066"/>
                      <a:pt x="1177" y="1057"/>
                    </a:cubicBezTo>
                    <a:close/>
                    <a:moveTo>
                      <a:pt x="64" y="1065"/>
                    </a:moveTo>
                    <a:cubicBezTo>
                      <a:pt x="88" y="1121"/>
                      <a:pt x="118" y="1171"/>
                      <a:pt x="154" y="1215"/>
                    </a:cubicBezTo>
                    <a:moveTo>
                      <a:pt x="154" y="1215"/>
                    </a:moveTo>
                    <a:cubicBezTo>
                      <a:pt x="154" y="1216"/>
                      <a:pt x="155" y="1216"/>
                      <a:pt x="155" y="1216"/>
                    </a:cubicBezTo>
                    <a:moveTo>
                      <a:pt x="155" y="1216"/>
                    </a:moveTo>
                    <a:cubicBezTo>
                      <a:pt x="155" y="1217"/>
                      <a:pt x="155" y="1218"/>
                      <a:pt x="156" y="1218"/>
                    </a:cubicBezTo>
                    <a:moveTo>
                      <a:pt x="156" y="1218"/>
                    </a:moveTo>
                    <a:cubicBezTo>
                      <a:pt x="156" y="1219"/>
                      <a:pt x="157" y="1219"/>
                      <a:pt x="157" y="1219"/>
                    </a:cubicBezTo>
                    <a:moveTo>
                      <a:pt x="157" y="1219"/>
                    </a:moveTo>
                    <a:cubicBezTo>
                      <a:pt x="158" y="1220"/>
                      <a:pt x="158" y="1219"/>
                      <a:pt x="157" y="1219"/>
                    </a:cubicBezTo>
                    <a:moveTo>
                      <a:pt x="157" y="1219"/>
                    </a:moveTo>
                    <a:cubicBezTo>
                      <a:pt x="157" y="1218"/>
                      <a:pt x="157" y="1218"/>
                      <a:pt x="156" y="1218"/>
                    </a:cubicBezTo>
                    <a:moveTo>
                      <a:pt x="156" y="1218"/>
                    </a:moveTo>
                    <a:cubicBezTo>
                      <a:pt x="156" y="1217"/>
                      <a:pt x="156" y="1216"/>
                      <a:pt x="155" y="1216"/>
                    </a:cubicBezTo>
                    <a:moveTo>
                      <a:pt x="155" y="1216"/>
                    </a:moveTo>
                    <a:cubicBezTo>
                      <a:pt x="155" y="1215"/>
                      <a:pt x="155" y="1215"/>
                      <a:pt x="154" y="1215"/>
                    </a:cubicBezTo>
                    <a:moveTo>
                      <a:pt x="154" y="1215"/>
                    </a:moveTo>
                    <a:cubicBezTo>
                      <a:pt x="134" y="1178"/>
                      <a:pt x="113" y="1142"/>
                      <a:pt x="99" y="1099"/>
                    </a:cubicBezTo>
                    <a:cubicBezTo>
                      <a:pt x="85" y="1089"/>
                      <a:pt x="75" y="1077"/>
                      <a:pt x="64" y="1065"/>
                    </a:cubicBezTo>
                    <a:moveTo>
                      <a:pt x="64" y="1065"/>
                    </a:moveTo>
                    <a:cubicBezTo>
                      <a:pt x="63" y="1064"/>
                      <a:pt x="63" y="1065"/>
                      <a:pt x="64" y="1065"/>
                    </a:cubicBezTo>
                    <a:moveTo>
                      <a:pt x="282" y="1081"/>
                    </a:moveTo>
                    <a:cubicBezTo>
                      <a:pt x="297" y="1111"/>
                      <a:pt x="315" y="1138"/>
                      <a:pt x="335" y="1164"/>
                    </a:cubicBezTo>
                    <a:cubicBezTo>
                      <a:pt x="327" y="1133"/>
                      <a:pt x="324" y="1098"/>
                      <a:pt x="318" y="1066"/>
                    </a:cubicBezTo>
                    <a:cubicBezTo>
                      <a:pt x="307" y="1072"/>
                      <a:pt x="294" y="1076"/>
                      <a:pt x="282" y="1081"/>
                    </a:cubicBezTo>
                    <a:close/>
                    <a:moveTo>
                      <a:pt x="1457" y="1068"/>
                    </a:moveTo>
                    <a:cubicBezTo>
                      <a:pt x="1458" y="1069"/>
                      <a:pt x="1457" y="1068"/>
                      <a:pt x="1457" y="1068"/>
                    </a:cubicBezTo>
                    <a:close/>
                    <a:moveTo>
                      <a:pt x="1361" y="1232"/>
                    </a:moveTo>
                    <a:cubicBezTo>
                      <a:pt x="1360" y="1233"/>
                      <a:pt x="1361" y="1233"/>
                      <a:pt x="1361" y="1232"/>
                    </a:cubicBezTo>
                    <a:moveTo>
                      <a:pt x="1361" y="1232"/>
                    </a:moveTo>
                    <a:cubicBezTo>
                      <a:pt x="1399" y="1185"/>
                      <a:pt x="1434" y="1129"/>
                      <a:pt x="1456" y="1069"/>
                    </a:cubicBezTo>
                    <a:cubicBezTo>
                      <a:pt x="1450" y="1078"/>
                      <a:pt x="1442" y="1085"/>
                      <a:pt x="1433" y="1092"/>
                    </a:cubicBezTo>
                    <a:cubicBezTo>
                      <a:pt x="1414" y="1130"/>
                      <a:pt x="1388" y="1162"/>
                      <a:pt x="1365" y="1196"/>
                    </a:cubicBezTo>
                    <a:cubicBezTo>
                      <a:pt x="1367" y="1209"/>
                      <a:pt x="1364" y="1221"/>
                      <a:pt x="1361" y="1232"/>
                    </a:cubicBezTo>
                    <a:moveTo>
                      <a:pt x="341" y="1193"/>
                    </a:moveTo>
                    <a:cubicBezTo>
                      <a:pt x="341" y="1194"/>
                      <a:pt x="342" y="1193"/>
                      <a:pt x="341" y="1193"/>
                    </a:cubicBezTo>
                    <a:moveTo>
                      <a:pt x="341" y="1193"/>
                    </a:moveTo>
                    <a:cubicBezTo>
                      <a:pt x="340" y="1185"/>
                      <a:pt x="337" y="1179"/>
                      <a:pt x="337" y="1172"/>
                    </a:cubicBezTo>
                    <a:cubicBezTo>
                      <a:pt x="315" y="1144"/>
                      <a:pt x="298" y="1113"/>
                      <a:pt x="278" y="1083"/>
                    </a:cubicBezTo>
                    <a:cubicBezTo>
                      <a:pt x="261" y="1092"/>
                      <a:pt x="240" y="1102"/>
                      <a:pt x="222" y="1114"/>
                    </a:cubicBezTo>
                    <a:cubicBezTo>
                      <a:pt x="220" y="1116"/>
                      <a:pt x="207" y="1125"/>
                      <a:pt x="207" y="1127"/>
                    </a:cubicBezTo>
                    <a:cubicBezTo>
                      <a:pt x="207" y="1129"/>
                      <a:pt x="219" y="1144"/>
                      <a:pt x="221" y="1146"/>
                    </a:cubicBezTo>
                    <a:cubicBezTo>
                      <a:pt x="226" y="1153"/>
                      <a:pt x="230" y="1157"/>
                      <a:pt x="234" y="1164"/>
                    </a:cubicBezTo>
                    <a:cubicBezTo>
                      <a:pt x="269" y="1174"/>
                      <a:pt x="303" y="1186"/>
                      <a:pt x="341" y="1193"/>
                    </a:cubicBezTo>
                    <a:moveTo>
                      <a:pt x="183" y="1096"/>
                    </a:moveTo>
                    <a:cubicBezTo>
                      <a:pt x="183" y="1095"/>
                      <a:pt x="184" y="1096"/>
                      <a:pt x="183" y="1096"/>
                    </a:cubicBezTo>
                    <a:close/>
                    <a:moveTo>
                      <a:pt x="195" y="1134"/>
                    </a:moveTo>
                    <a:cubicBezTo>
                      <a:pt x="197" y="1130"/>
                      <a:pt x="202" y="1130"/>
                      <a:pt x="203" y="1125"/>
                    </a:cubicBezTo>
                    <a:cubicBezTo>
                      <a:pt x="196" y="1116"/>
                      <a:pt x="191" y="1106"/>
                      <a:pt x="184" y="1097"/>
                    </a:cubicBezTo>
                    <a:cubicBezTo>
                      <a:pt x="187" y="1110"/>
                      <a:pt x="190" y="1123"/>
                      <a:pt x="195" y="1134"/>
                    </a:cubicBezTo>
                    <a:close/>
                    <a:moveTo>
                      <a:pt x="1271" y="1097"/>
                    </a:moveTo>
                    <a:cubicBezTo>
                      <a:pt x="1271" y="1098"/>
                      <a:pt x="1270" y="1099"/>
                      <a:pt x="1270" y="1100"/>
                    </a:cubicBezTo>
                    <a:cubicBezTo>
                      <a:pt x="1254" y="1126"/>
                      <a:pt x="1234" y="1154"/>
                      <a:pt x="1216" y="1177"/>
                    </a:cubicBezTo>
                    <a:cubicBezTo>
                      <a:pt x="1214" y="1180"/>
                      <a:pt x="1210" y="1183"/>
                      <a:pt x="1210" y="1187"/>
                    </a:cubicBezTo>
                    <a:cubicBezTo>
                      <a:pt x="1235" y="1180"/>
                      <a:pt x="1261" y="1174"/>
                      <a:pt x="1284" y="1165"/>
                    </a:cubicBezTo>
                    <a:cubicBezTo>
                      <a:pt x="1289" y="1147"/>
                      <a:pt x="1294" y="1131"/>
                      <a:pt x="1298" y="1112"/>
                    </a:cubicBezTo>
                    <a:cubicBezTo>
                      <a:pt x="1289" y="1107"/>
                      <a:pt x="1281" y="1100"/>
                      <a:pt x="1271" y="1097"/>
                    </a:cubicBezTo>
                    <a:close/>
                    <a:moveTo>
                      <a:pt x="1426" y="1099"/>
                    </a:moveTo>
                    <a:cubicBezTo>
                      <a:pt x="1417" y="1104"/>
                      <a:pt x="1408" y="1111"/>
                      <a:pt x="1399" y="1117"/>
                    </a:cubicBezTo>
                    <a:cubicBezTo>
                      <a:pt x="1394" y="1137"/>
                      <a:pt x="1385" y="1154"/>
                      <a:pt x="1377" y="1173"/>
                    </a:cubicBezTo>
                    <a:moveTo>
                      <a:pt x="1377" y="1173"/>
                    </a:moveTo>
                    <a:cubicBezTo>
                      <a:pt x="1376" y="1173"/>
                      <a:pt x="1377" y="1174"/>
                      <a:pt x="1376" y="1175"/>
                    </a:cubicBezTo>
                    <a:moveTo>
                      <a:pt x="1376" y="1175"/>
                    </a:moveTo>
                    <a:cubicBezTo>
                      <a:pt x="1375" y="1175"/>
                      <a:pt x="1377" y="1176"/>
                      <a:pt x="1376" y="1175"/>
                    </a:cubicBezTo>
                    <a:moveTo>
                      <a:pt x="1376" y="1175"/>
                    </a:moveTo>
                    <a:cubicBezTo>
                      <a:pt x="1377" y="1174"/>
                      <a:pt x="1377" y="1173"/>
                      <a:pt x="1377" y="1173"/>
                    </a:cubicBezTo>
                    <a:moveTo>
                      <a:pt x="1377" y="1173"/>
                    </a:moveTo>
                    <a:cubicBezTo>
                      <a:pt x="1396" y="1150"/>
                      <a:pt x="1412" y="1125"/>
                      <a:pt x="1426" y="1099"/>
                    </a:cubicBezTo>
                    <a:moveTo>
                      <a:pt x="1426" y="1099"/>
                    </a:moveTo>
                    <a:cubicBezTo>
                      <a:pt x="1428" y="1098"/>
                      <a:pt x="1426" y="1098"/>
                      <a:pt x="1426" y="1099"/>
                    </a:cubicBezTo>
                    <a:moveTo>
                      <a:pt x="159" y="1216"/>
                    </a:moveTo>
                    <a:cubicBezTo>
                      <a:pt x="156" y="1201"/>
                      <a:pt x="160" y="1188"/>
                      <a:pt x="164" y="1176"/>
                    </a:cubicBezTo>
                    <a:cubicBezTo>
                      <a:pt x="148" y="1157"/>
                      <a:pt x="133" y="1136"/>
                      <a:pt x="120" y="1113"/>
                    </a:cubicBezTo>
                    <a:cubicBezTo>
                      <a:pt x="113" y="1111"/>
                      <a:pt x="109" y="1105"/>
                      <a:pt x="102" y="1103"/>
                    </a:cubicBezTo>
                    <a:cubicBezTo>
                      <a:pt x="118" y="1144"/>
                      <a:pt x="137" y="1181"/>
                      <a:pt x="159" y="1216"/>
                    </a:cubicBezTo>
                    <a:close/>
                    <a:moveTo>
                      <a:pt x="1287" y="1164"/>
                    </a:moveTo>
                    <a:cubicBezTo>
                      <a:pt x="1303" y="1157"/>
                      <a:pt x="1323" y="1155"/>
                      <a:pt x="1333" y="1143"/>
                    </a:cubicBezTo>
                    <a:cubicBezTo>
                      <a:pt x="1325" y="1131"/>
                      <a:pt x="1312" y="1123"/>
                      <a:pt x="1301" y="1114"/>
                    </a:cubicBezTo>
                    <a:cubicBezTo>
                      <a:pt x="1296" y="1131"/>
                      <a:pt x="1292" y="1148"/>
                      <a:pt x="1287" y="1164"/>
                    </a:cubicBezTo>
                    <a:close/>
                    <a:moveTo>
                      <a:pt x="126" y="1118"/>
                    </a:moveTo>
                    <a:cubicBezTo>
                      <a:pt x="138" y="1138"/>
                      <a:pt x="150" y="1157"/>
                      <a:pt x="166" y="1174"/>
                    </a:cubicBezTo>
                    <a:cubicBezTo>
                      <a:pt x="169" y="1162"/>
                      <a:pt x="177" y="1155"/>
                      <a:pt x="182" y="1146"/>
                    </a:cubicBezTo>
                    <a:cubicBezTo>
                      <a:pt x="161" y="1138"/>
                      <a:pt x="144" y="1127"/>
                      <a:pt x="126" y="1118"/>
                    </a:cubicBezTo>
                    <a:moveTo>
                      <a:pt x="126" y="1118"/>
                    </a:moveTo>
                    <a:cubicBezTo>
                      <a:pt x="125" y="1116"/>
                      <a:pt x="124" y="1118"/>
                      <a:pt x="126" y="1118"/>
                    </a:cubicBezTo>
                    <a:moveTo>
                      <a:pt x="1342" y="1146"/>
                    </a:moveTo>
                    <a:cubicBezTo>
                      <a:pt x="1351" y="1159"/>
                      <a:pt x="1360" y="1173"/>
                      <a:pt x="1365" y="1190"/>
                    </a:cubicBezTo>
                    <a:cubicBezTo>
                      <a:pt x="1377" y="1168"/>
                      <a:pt x="1387" y="1145"/>
                      <a:pt x="1396" y="1120"/>
                    </a:cubicBezTo>
                    <a:cubicBezTo>
                      <a:pt x="1397" y="1120"/>
                      <a:pt x="1396" y="1119"/>
                      <a:pt x="1395" y="1119"/>
                    </a:cubicBezTo>
                    <a:cubicBezTo>
                      <a:pt x="1379" y="1129"/>
                      <a:pt x="1361" y="1138"/>
                      <a:pt x="1342" y="1146"/>
                    </a:cubicBezTo>
                    <a:close/>
                    <a:moveTo>
                      <a:pt x="204" y="1128"/>
                    </a:moveTo>
                    <a:cubicBezTo>
                      <a:pt x="202" y="1133"/>
                      <a:pt x="196" y="1134"/>
                      <a:pt x="195" y="1139"/>
                    </a:cubicBezTo>
                    <a:cubicBezTo>
                      <a:pt x="197" y="1142"/>
                      <a:pt x="198" y="1146"/>
                      <a:pt x="198" y="1151"/>
                    </a:cubicBezTo>
                    <a:cubicBezTo>
                      <a:pt x="209" y="1153"/>
                      <a:pt x="219" y="1160"/>
                      <a:pt x="229" y="1160"/>
                    </a:cubicBezTo>
                    <a:cubicBezTo>
                      <a:pt x="220" y="1151"/>
                      <a:pt x="214" y="1138"/>
                      <a:pt x="204" y="1128"/>
                    </a:cubicBezTo>
                    <a:close/>
                    <a:moveTo>
                      <a:pt x="1100" y="1194"/>
                    </a:moveTo>
                    <a:cubicBezTo>
                      <a:pt x="1095" y="1200"/>
                      <a:pt x="1088" y="1206"/>
                      <a:pt x="1088" y="1212"/>
                    </a:cubicBezTo>
                    <a:cubicBezTo>
                      <a:pt x="1101" y="1209"/>
                      <a:pt x="1114" y="1208"/>
                      <a:pt x="1126" y="1205"/>
                    </a:cubicBezTo>
                    <a:cubicBezTo>
                      <a:pt x="1129" y="1181"/>
                      <a:pt x="1137" y="1156"/>
                      <a:pt x="1137" y="1132"/>
                    </a:cubicBezTo>
                    <a:cubicBezTo>
                      <a:pt x="1126" y="1153"/>
                      <a:pt x="1113" y="1175"/>
                      <a:pt x="1100" y="1194"/>
                    </a:cubicBezTo>
                    <a:close/>
                    <a:moveTo>
                      <a:pt x="187" y="1146"/>
                    </a:moveTo>
                    <a:cubicBezTo>
                      <a:pt x="190" y="1145"/>
                      <a:pt x="194" y="1150"/>
                      <a:pt x="196" y="1148"/>
                    </a:cubicBezTo>
                    <a:cubicBezTo>
                      <a:pt x="193" y="1146"/>
                      <a:pt x="194" y="1141"/>
                      <a:pt x="192" y="1140"/>
                    </a:cubicBezTo>
                    <a:cubicBezTo>
                      <a:pt x="191" y="1142"/>
                      <a:pt x="188" y="1143"/>
                      <a:pt x="187" y="1146"/>
                    </a:cubicBezTo>
                    <a:close/>
                    <a:moveTo>
                      <a:pt x="1333" y="1147"/>
                    </a:moveTo>
                    <a:cubicBezTo>
                      <a:pt x="1335" y="1147"/>
                      <a:pt x="1336" y="1146"/>
                      <a:pt x="1337" y="1145"/>
                    </a:cubicBezTo>
                    <a:cubicBezTo>
                      <a:pt x="1335" y="1143"/>
                      <a:pt x="1334" y="1145"/>
                      <a:pt x="1333" y="1147"/>
                    </a:cubicBezTo>
                    <a:close/>
                    <a:moveTo>
                      <a:pt x="241" y="1257"/>
                    </a:moveTo>
                    <a:cubicBezTo>
                      <a:pt x="241" y="1258"/>
                      <a:pt x="242" y="1257"/>
                      <a:pt x="241" y="1257"/>
                    </a:cubicBezTo>
                    <a:moveTo>
                      <a:pt x="241" y="1257"/>
                    </a:moveTo>
                    <a:cubicBezTo>
                      <a:pt x="224" y="1224"/>
                      <a:pt x="209" y="1190"/>
                      <a:pt x="197" y="1152"/>
                    </a:cubicBezTo>
                    <a:cubicBezTo>
                      <a:pt x="194" y="1150"/>
                      <a:pt x="189" y="1150"/>
                      <a:pt x="187" y="1148"/>
                    </a:cubicBezTo>
                    <a:cubicBezTo>
                      <a:pt x="177" y="1154"/>
                      <a:pt x="173" y="1166"/>
                      <a:pt x="167" y="1175"/>
                    </a:cubicBezTo>
                    <a:cubicBezTo>
                      <a:pt x="189" y="1205"/>
                      <a:pt x="214" y="1232"/>
                      <a:pt x="241" y="1257"/>
                    </a:cubicBezTo>
                    <a:moveTo>
                      <a:pt x="1207" y="1335"/>
                    </a:moveTo>
                    <a:cubicBezTo>
                      <a:pt x="1206" y="1335"/>
                      <a:pt x="1208" y="1336"/>
                      <a:pt x="1207" y="1335"/>
                    </a:cubicBezTo>
                    <a:moveTo>
                      <a:pt x="1207" y="1335"/>
                    </a:moveTo>
                    <a:cubicBezTo>
                      <a:pt x="1267" y="1295"/>
                      <a:pt x="1319" y="1248"/>
                      <a:pt x="1362" y="1192"/>
                    </a:cubicBezTo>
                    <a:cubicBezTo>
                      <a:pt x="1357" y="1174"/>
                      <a:pt x="1350" y="1158"/>
                      <a:pt x="1337" y="1148"/>
                    </a:cubicBezTo>
                    <a:cubicBezTo>
                      <a:pt x="1322" y="1158"/>
                      <a:pt x="1312" y="1174"/>
                      <a:pt x="1300" y="1189"/>
                    </a:cubicBezTo>
                    <a:cubicBezTo>
                      <a:pt x="1294" y="1196"/>
                      <a:pt x="1288" y="1203"/>
                      <a:pt x="1281" y="1210"/>
                    </a:cubicBezTo>
                    <a:cubicBezTo>
                      <a:pt x="1275" y="1217"/>
                      <a:pt x="1267" y="1223"/>
                      <a:pt x="1263" y="1230"/>
                    </a:cubicBezTo>
                    <a:cubicBezTo>
                      <a:pt x="1258" y="1239"/>
                      <a:pt x="1255" y="1249"/>
                      <a:pt x="1251" y="1258"/>
                    </a:cubicBezTo>
                    <a:cubicBezTo>
                      <a:pt x="1237" y="1285"/>
                      <a:pt x="1225" y="1311"/>
                      <a:pt x="1207" y="1335"/>
                    </a:cubicBezTo>
                    <a:moveTo>
                      <a:pt x="1324" y="1154"/>
                    </a:moveTo>
                    <a:cubicBezTo>
                      <a:pt x="1310" y="1158"/>
                      <a:pt x="1300" y="1164"/>
                      <a:pt x="1286" y="1167"/>
                    </a:cubicBezTo>
                    <a:cubicBezTo>
                      <a:pt x="1282" y="1186"/>
                      <a:pt x="1272" y="1204"/>
                      <a:pt x="1269" y="1221"/>
                    </a:cubicBezTo>
                    <a:cubicBezTo>
                      <a:pt x="1287" y="1199"/>
                      <a:pt x="1307" y="1178"/>
                      <a:pt x="1324" y="1154"/>
                    </a:cubicBezTo>
                    <a:moveTo>
                      <a:pt x="1324" y="1154"/>
                    </a:moveTo>
                    <a:cubicBezTo>
                      <a:pt x="1325" y="1154"/>
                      <a:pt x="1324" y="1153"/>
                      <a:pt x="1324" y="1154"/>
                    </a:cubicBezTo>
                    <a:moveTo>
                      <a:pt x="222" y="1212"/>
                    </a:moveTo>
                    <a:cubicBezTo>
                      <a:pt x="231" y="1230"/>
                      <a:pt x="237" y="1251"/>
                      <a:pt x="247" y="1264"/>
                    </a:cubicBezTo>
                    <a:cubicBezTo>
                      <a:pt x="252" y="1270"/>
                      <a:pt x="260" y="1275"/>
                      <a:pt x="267" y="1280"/>
                    </a:cubicBezTo>
                    <a:cubicBezTo>
                      <a:pt x="287" y="1297"/>
                      <a:pt x="306" y="1314"/>
                      <a:pt x="328" y="1328"/>
                    </a:cubicBezTo>
                    <a:cubicBezTo>
                      <a:pt x="334" y="1313"/>
                      <a:pt x="344" y="1302"/>
                      <a:pt x="354" y="1291"/>
                    </a:cubicBezTo>
                    <a:cubicBezTo>
                      <a:pt x="308" y="1254"/>
                      <a:pt x="269" y="1211"/>
                      <a:pt x="232" y="1165"/>
                    </a:cubicBezTo>
                    <a:cubicBezTo>
                      <a:pt x="220" y="1162"/>
                      <a:pt x="212" y="1157"/>
                      <a:pt x="200" y="1154"/>
                    </a:cubicBezTo>
                    <a:cubicBezTo>
                      <a:pt x="206" y="1174"/>
                      <a:pt x="214" y="1193"/>
                      <a:pt x="222" y="1212"/>
                    </a:cubicBezTo>
                    <a:close/>
                    <a:moveTo>
                      <a:pt x="356" y="1290"/>
                    </a:moveTo>
                    <a:cubicBezTo>
                      <a:pt x="359" y="1285"/>
                      <a:pt x="365" y="1284"/>
                      <a:pt x="367" y="1278"/>
                    </a:cubicBezTo>
                    <a:cubicBezTo>
                      <a:pt x="358" y="1252"/>
                      <a:pt x="349" y="1226"/>
                      <a:pt x="342" y="1197"/>
                    </a:cubicBezTo>
                    <a:cubicBezTo>
                      <a:pt x="306" y="1189"/>
                      <a:pt x="270" y="1177"/>
                      <a:pt x="238" y="1169"/>
                    </a:cubicBezTo>
                    <a:cubicBezTo>
                      <a:pt x="274" y="1212"/>
                      <a:pt x="312" y="1254"/>
                      <a:pt x="356" y="1290"/>
                    </a:cubicBezTo>
                    <a:close/>
                    <a:moveTo>
                      <a:pt x="1223" y="1265"/>
                    </a:moveTo>
                    <a:cubicBezTo>
                      <a:pt x="1235" y="1254"/>
                      <a:pt x="1255" y="1239"/>
                      <a:pt x="1263" y="1225"/>
                    </a:cubicBezTo>
                    <a:cubicBezTo>
                      <a:pt x="1273" y="1209"/>
                      <a:pt x="1274" y="1190"/>
                      <a:pt x="1282" y="1170"/>
                    </a:cubicBezTo>
                    <a:cubicBezTo>
                      <a:pt x="1282" y="1169"/>
                      <a:pt x="1282" y="1169"/>
                      <a:pt x="1281" y="1169"/>
                    </a:cubicBezTo>
                    <a:cubicBezTo>
                      <a:pt x="1257" y="1177"/>
                      <a:pt x="1232" y="1184"/>
                      <a:pt x="1206" y="1191"/>
                    </a:cubicBezTo>
                    <a:cubicBezTo>
                      <a:pt x="1184" y="1218"/>
                      <a:pt x="1160" y="1242"/>
                      <a:pt x="1137" y="1268"/>
                    </a:cubicBezTo>
                    <a:cubicBezTo>
                      <a:pt x="1155" y="1276"/>
                      <a:pt x="1167" y="1289"/>
                      <a:pt x="1181" y="1301"/>
                    </a:cubicBezTo>
                    <a:cubicBezTo>
                      <a:pt x="1195" y="1290"/>
                      <a:pt x="1208" y="1278"/>
                      <a:pt x="1223" y="1265"/>
                    </a:cubicBezTo>
                    <a:close/>
                    <a:moveTo>
                      <a:pt x="344" y="1195"/>
                    </a:moveTo>
                    <a:cubicBezTo>
                      <a:pt x="349" y="1194"/>
                      <a:pt x="353" y="1198"/>
                      <a:pt x="355" y="1196"/>
                    </a:cubicBezTo>
                    <a:cubicBezTo>
                      <a:pt x="350" y="1190"/>
                      <a:pt x="346" y="1183"/>
                      <a:pt x="341" y="1178"/>
                    </a:cubicBezTo>
                    <a:cubicBezTo>
                      <a:pt x="342" y="1184"/>
                      <a:pt x="343" y="1189"/>
                      <a:pt x="344" y="1195"/>
                    </a:cubicBezTo>
                    <a:close/>
                    <a:moveTo>
                      <a:pt x="289" y="1331"/>
                    </a:moveTo>
                    <a:cubicBezTo>
                      <a:pt x="289" y="1332"/>
                      <a:pt x="290" y="1331"/>
                      <a:pt x="289" y="1331"/>
                    </a:cubicBezTo>
                    <a:moveTo>
                      <a:pt x="289" y="1331"/>
                    </a:moveTo>
                    <a:cubicBezTo>
                      <a:pt x="274" y="1310"/>
                      <a:pt x="258" y="1290"/>
                      <a:pt x="246" y="1266"/>
                    </a:cubicBezTo>
                    <a:cubicBezTo>
                      <a:pt x="216" y="1240"/>
                      <a:pt x="192" y="1209"/>
                      <a:pt x="165" y="1180"/>
                    </a:cubicBezTo>
                    <a:cubicBezTo>
                      <a:pt x="163" y="1194"/>
                      <a:pt x="158" y="1209"/>
                      <a:pt x="163" y="1223"/>
                    </a:cubicBezTo>
                    <a:cubicBezTo>
                      <a:pt x="169" y="1238"/>
                      <a:pt x="189" y="1257"/>
                      <a:pt x="203" y="1271"/>
                    </a:cubicBezTo>
                    <a:cubicBezTo>
                      <a:pt x="217" y="1284"/>
                      <a:pt x="236" y="1304"/>
                      <a:pt x="249" y="1313"/>
                    </a:cubicBezTo>
                    <a:cubicBezTo>
                      <a:pt x="261" y="1321"/>
                      <a:pt x="278" y="1326"/>
                      <a:pt x="289" y="1331"/>
                    </a:cubicBezTo>
                    <a:moveTo>
                      <a:pt x="676" y="1195"/>
                    </a:moveTo>
                    <a:cubicBezTo>
                      <a:pt x="677" y="1209"/>
                      <a:pt x="682" y="1221"/>
                      <a:pt x="683" y="1235"/>
                    </a:cubicBezTo>
                    <a:cubicBezTo>
                      <a:pt x="697" y="1236"/>
                      <a:pt x="712" y="1236"/>
                      <a:pt x="727" y="1236"/>
                    </a:cubicBezTo>
                    <a:cubicBezTo>
                      <a:pt x="726" y="1222"/>
                      <a:pt x="730" y="1202"/>
                      <a:pt x="725" y="1192"/>
                    </a:cubicBezTo>
                    <a:cubicBezTo>
                      <a:pt x="709" y="1193"/>
                      <a:pt x="691" y="1193"/>
                      <a:pt x="676" y="1195"/>
                    </a:cubicBezTo>
                    <a:close/>
                    <a:moveTo>
                      <a:pt x="729" y="1192"/>
                    </a:moveTo>
                    <a:cubicBezTo>
                      <a:pt x="729" y="1207"/>
                      <a:pt x="731" y="1220"/>
                      <a:pt x="730" y="1236"/>
                    </a:cubicBezTo>
                    <a:cubicBezTo>
                      <a:pt x="744" y="1238"/>
                      <a:pt x="761" y="1236"/>
                      <a:pt x="775" y="1237"/>
                    </a:cubicBezTo>
                    <a:cubicBezTo>
                      <a:pt x="777" y="1222"/>
                      <a:pt x="777" y="1207"/>
                      <a:pt x="777" y="1192"/>
                    </a:cubicBezTo>
                    <a:cubicBezTo>
                      <a:pt x="761" y="1192"/>
                      <a:pt x="745" y="1192"/>
                      <a:pt x="729" y="1192"/>
                    </a:cubicBezTo>
                    <a:close/>
                    <a:moveTo>
                      <a:pt x="780" y="1192"/>
                    </a:moveTo>
                    <a:cubicBezTo>
                      <a:pt x="779" y="1206"/>
                      <a:pt x="779" y="1222"/>
                      <a:pt x="778" y="1237"/>
                    </a:cubicBezTo>
                    <a:cubicBezTo>
                      <a:pt x="809" y="1235"/>
                      <a:pt x="841" y="1236"/>
                      <a:pt x="871" y="1234"/>
                    </a:cubicBezTo>
                    <a:cubicBezTo>
                      <a:pt x="875" y="1222"/>
                      <a:pt x="879" y="1210"/>
                      <a:pt x="882" y="1198"/>
                    </a:cubicBezTo>
                    <a:cubicBezTo>
                      <a:pt x="849" y="1195"/>
                      <a:pt x="816" y="1192"/>
                      <a:pt x="780" y="1192"/>
                    </a:cubicBezTo>
                    <a:close/>
                    <a:moveTo>
                      <a:pt x="1200" y="1193"/>
                    </a:moveTo>
                    <a:cubicBezTo>
                      <a:pt x="1176" y="1197"/>
                      <a:pt x="1153" y="1204"/>
                      <a:pt x="1128" y="1207"/>
                    </a:cubicBezTo>
                    <a:cubicBezTo>
                      <a:pt x="1124" y="1224"/>
                      <a:pt x="1120" y="1239"/>
                      <a:pt x="1116" y="1255"/>
                    </a:cubicBezTo>
                    <a:cubicBezTo>
                      <a:pt x="1122" y="1258"/>
                      <a:pt x="1128" y="1262"/>
                      <a:pt x="1134" y="1265"/>
                    </a:cubicBezTo>
                    <a:cubicBezTo>
                      <a:pt x="1158" y="1242"/>
                      <a:pt x="1180" y="1219"/>
                      <a:pt x="1200" y="1193"/>
                    </a:cubicBezTo>
                    <a:moveTo>
                      <a:pt x="1200" y="1193"/>
                    </a:moveTo>
                    <a:cubicBezTo>
                      <a:pt x="1201" y="1192"/>
                      <a:pt x="1200" y="1192"/>
                      <a:pt x="1200" y="1193"/>
                    </a:cubicBezTo>
                    <a:moveTo>
                      <a:pt x="671" y="1195"/>
                    </a:moveTo>
                    <a:cubicBezTo>
                      <a:pt x="638" y="1198"/>
                      <a:pt x="605" y="1201"/>
                      <a:pt x="575" y="1207"/>
                    </a:cubicBezTo>
                    <a:cubicBezTo>
                      <a:pt x="578" y="1215"/>
                      <a:pt x="580" y="1224"/>
                      <a:pt x="586" y="1229"/>
                    </a:cubicBezTo>
                    <a:cubicBezTo>
                      <a:pt x="616" y="1232"/>
                      <a:pt x="650" y="1235"/>
                      <a:pt x="680" y="1234"/>
                    </a:cubicBezTo>
                    <a:cubicBezTo>
                      <a:pt x="676" y="1222"/>
                      <a:pt x="675" y="1207"/>
                      <a:pt x="671" y="1195"/>
                    </a:cubicBezTo>
                    <a:close/>
                    <a:moveTo>
                      <a:pt x="369" y="1277"/>
                    </a:moveTo>
                    <a:cubicBezTo>
                      <a:pt x="382" y="1271"/>
                      <a:pt x="394" y="1263"/>
                      <a:pt x="406" y="1255"/>
                    </a:cubicBezTo>
                    <a:cubicBezTo>
                      <a:pt x="389" y="1237"/>
                      <a:pt x="373" y="1219"/>
                      <a:pt x="358" y="1199"/>
                    </a:cubicBezTo>
                    <a:cubicBezTo>
                      <a:pt x="353" y="1200"/>
                      <a:pt x="350" y="1197"/>
                      <a:pt x="345" y="1198"/>
                    </a:cubicBezTo>
                    <a:cubicBezTo>
                      <a:pt x="352" y="1226"/>
                      <a:pt x="361" y="1251"/>
                      <a:pt x="369" y="1277"/>
                    </a:cubicBezTo>
                    <a:close/>
                    <a:moveTo>
                      <a:pt x="884" y="1199"/>
                    </a:moveTo>
                    <a:cubicBezTo>
                      <a:pt x="882" y="1211"/>
                      <a:pt x="877" y="1221"/>
                      <a:pt x="874" y="1234"/>
                    </a:cubicBezTo>
                    <a:cubicBezTo>
                      <a:pt x="894" y="1233"/>
                      <a:pt x="914" y="1231"/>
                      <a:pt x="934" y="1230"/>
                    </a:cubicBezTo>
                    <a:cubicBezTo>
                      <a:pt x="934" y="1221"/>
                      <a:pt x="936" y="1215"/>
                      <a:pt x="936" y="1205"/>
                    </a:cubicBezTo>
                    <a:cubicBezTo>
                      <a:pt x="919" y="1202"/>
                      <a:pt x="903" y="1199"/>
                      <a:pt x="884" y="1199"/>
                    </a:cubicBezTo>
                    <a:close/>
                    <a:moveTo>
                      <a:pt x="1360" y="1199"/>
                    </a:moveTo>
                    <a:cubicBezTo>
                      <a:pt x="1360" y="1199"/>
                      <a:pt x="1361" y="1200"/>
                      <a:pt x="1360" y="1199"/>
                    </a:cubicBezTo>
                    <a:close/>
                    <a:moveTo>
                      <a:pt x="363" y="1201"/>
                    </a:moveTo>
                    <a:cubicBezTo>
                      <a:pt x="378" y="1220"/>
                      <a:pt x="392" y="1239"/>
                      <a:pt x="410" y="1254"/>
                    </a:cubicBezTo>
                    <a:cubicBezTo>
                      <a:pt x="432" y="1244"/>
                      <a:pt x="454" y="1234"/>
                      <a:pt x="480" y="1227"/>
                    </a:cubicBezTo>
                    <a:cubicBezTo>
                      <a:pt x="477" y="1217"/>
                      <a:pt x="463" y="1219"/>
                      <a:pt x="454" y="1218"/>
                    </a:cubicBezTo>
                    <a:cubicBezTo>
                      <a:pt x="424" y="1213"/>
                      <a:pt x="391" y="1206"/>
                      <a:pt x="363" y="1201"/>
                    </a:cubicBezTo>
                    <a:moveTo>
                      <a:pt x="363" y="1201"/>
                    </a:moveTo>
                    <a:cubicBezTo>
                      <a:pt x="362" y="1200"/>
                      <a:pt x="361" y="1201"/>
                      <a:pt x="363" y="1201"/>
                    </a:cubicBezTo>
                    <a:moveTo>
                      <a:pt x="1359" y="1201"/>
                    </a:moveTo>
                    <a:cubicBezTo>
                      <a:pt x="1318" y="1253"/>
                      <a:pt x="1263" y="1298"/>
                      <a:pt x="1208" y="1338"/>
                    </a:cubicBezTo>
                    <a:cubicBezTo>
                      <a:pt x="1206" y="1339"/>
                      <a:pt x="1201" y="1341"/>
                      <a:pt x="1202" y="1345"/>
                    </a:cubicBezTo>
                    <a:cubicBezTo>
                      <a:pt x="1217" y="1339"/>
                      <a:pt x="1232" y="1333"/>
                      <a:pt x="1247" y="1326"/>
                    </a:cubicBezTo>
                    <a:cubicBezTo>
                      <a:pt x="1261" y="1320"/>
                      <a:pt x="1277" y="1313"/>
                      <a:pt x="1289" y="1304"/>
                    </a:cubicBezTo>
                    <a:cubicBezTo>
                      <a:pt x="1303" y="1293"/>
                      <a:pt x="1316" y="1270"/>
                      <a:pt x="1326" y="1255"/>
                    </a:cubicBezTo>
                    <a:cubicBezTo>
                      <a:pt x="1338" y="1238"/>
                      <a:pt x="1350" y="1220"/>
                      <a:pt x="1359" y="1201"/>
                    </a:cubicBezTo>
                    <a:moveTo>
                      <a:pt x="1359" y="1201"/>
                    </a:moveTo>
                    <a:cubicBezTo>
                      <a:pt x="1361" y="1201"/>
                      <a:pt x="1359" y="1200"/>
                      <a:pt x="1359" y="1201"/>
                    </a:cubicBezTo>
                    <a:moveTo>
                      <a:pt x="1301" y="1295"/>
                    </a:moveTo>
                    <a:cubicBezTo>
                      <a:pt x="1299" y="1296"/>
                      <a:pt x="1301" y="1297"/>
                      <a:pt x="1301" y="1295"/>
                    </a:cubicBezTo>
                    <a:moveTo>
                      <a:pt x="1301" y="1295"/>
                    </a:moveTo>
                    <a:cubicBezTo>
                      <a:pt x="1315" y="1282"/>
                      <a:pt x="1343" y="1260"/>
                      <a:pt x="1354" y="1241"/>
                    </a:cubicBezTo>
                    <a:cubicBezTo>
                      <a:pt x="1360" y="1231"/>
                      <a:pt x="1364" y="1215"/>
                      <a:pt x="1362" y="1201"/>
                    </a:cubicBezTo>
                    <a:cubicBezTo>
                      <a:pt x="1345" y="1236"/>
                      <a:pt x="1323" y="1266"/>
                      <a:pt x="1301" y="1295"/>
                    </a:cubicBezTo>
                    <a:moveTo>
                      <a:pt x="938" y="1229"/>
                    </a:moveTo>
                    <a:cubicBezTo>
                      <a:pt x="950" y="1230"/>
                      <a:pt x="958" y="1227"/>
                      <a:pt x="970" y="1227"/>
                    </a:cubicBezTo>
                    <a:cubicBezTo>
                      <a:pt x="975" y="1224"/>
                      <a:pt x="977" y="1218"/>
                      <a:pt x="979" y="1213"/>
                    </a:cubicBezTo>
                    <a:cubicBezTo>
                      <a:pt x="967" y="1210"/>
                      <a:pt x="953" y="1208"/>
                      <a:pt x="941" y="1205"/>
                    </a:cubicBezTo>
                    <a:cubicBezTo>
                      <a:pt x="939" y="1212"/>
                      <a:pt x="940" y="1222"/>
                      <a:pt x="938" y="1229"/>
                    </a:cubicBezTo>
                    <a:close/>
                    <a:moveTo>
                      <a:pt x="526" y="1219"/>
                    </a:moveTo>
                    <a:cubicBezTo>
                      <a:pt x="526" y="1221"/>
                      <a:pt x="526" y="1222"/>
                      <a:pt x="527" y="1223"/>
                    </a:cubicBezTo>
                    <a:cubicBezTo>
                      <a:pt x="544" y="1226"/>
                      <a:pt x="565" y="1229"/>
                      <a:pt x="582" y="1228"/>
                    </a:cubicBezTo>
                    <a:cubicBezTo>
                      <a:pt x="577" y="1222"/>
                      <a:pt x="575" y="1213"/>
                      <a:pt x="571" y="1207"/>
                    </a:cubicBezTo>
                    <a:cubicBezTo>
                      <a:pt x="557" y="1212"/>
                      <a:pt x="538" y="1212"/>
                      <a:pt x="526" y="1219"/>
                    </a:cubicBezTo>
                    <a:close/>
                    <a:moveTo>
                      <a:pt x="1084" y="1215"/>
                    </a:moveTo>
                    <a:cubicBezTo>
                      <a:pt x="1080" y="1223"/>
                      <a:pt x="1071" y="1229"/>
                      <a:pt x="1070" y="1236"/>
                    </a:cubicBezTo>
                    <a:cubicBezTo>
                      <a:pt x="1086" y="1240"/>
                      <a:pt x="1099" y="1248"/>
                      <a:pt x="1113" y="1253"/>
                    </a:cubicBezTo>
                    <a:cubicBezTo>
                      <a:pt x="1118" y="1240"/>
                      <a:pt x="1120" y="1224"/>
                      <a:pt x="1125" y="1210"/>
                    </a:cubicBezTo>
                    <a:cubicBezTo>
                      <a:pt x="1125" y="1209"/>
                      <a:pt x="1125" y="1208"/>
                      <a:pt x="1123" y="1208"/>
                    </a:cubicBezTo>
                    <a:cubicBezTo>
                      <a:pt x="1111" y="1211"/>
                      <a:pt x="1097" y="1213"/>
                      <a:pt x="1084" y="1215"/>
                    </a:cubicBezTo>
                    <a:close/>
                    <a:moveTo>
                      <a:pt x="982" y="1214"/>
                    </a:moveTo>
                    <a:cubicBezTo>
                      <a:pt x="980" y="1218"/>
                      <a:pt x="977" y="1222"/>
                      <a:pt x="975" y="1226"/>
                    </a:cubicBezTo>
                    <a:cubicBezTo>
                      <a:pt x="988" y="1225"/>
                      <a:pt x="1003" y="1224"/>
                      <a:pt x="1015" y="1222"/>
                    </a:cubicBezTo>
                    <a:cubicBezTo>
                      <a:pt x="1005" y="1219"/>
                      <a:pt x="994" y="1216"/>
                      <a:pt x="982" y="1214"/>
                    </a:cubicBezTo>
                    <a:close/>
                    <a:moveTo>
                      <a:pt x="1031" y="1223"/>
                    </a:moveTo>
                    <a:cubicBezTo>
                      <a:pt x="1044" y="1226"/>
                      <a:pt x="1054" y="1231"/>
                      <a:pt x="1066" y="1234"/>
                    </a:cubicBezTo>
                    <a:cubicBezTo>
                      <a:pt x="1070" y="1229"/>
                      <a:pt x="1080" y="1220"/>
                      <a:pt x="1078" y="1216"/>
                    </a:cubicBezTo>
                    <a:cubicBezTo>
                      <a:pt x="1063" y="1219"/>
                      <a:pt x="1045" y="1220"/>
                      <a:pt x="1031" y="1223"/>
                    </a:cubicBezTo>
                    <a:close/>
                    <a:moveTo>
                      <a:pt x="509" y="1223"/>
                    </a:moveTo>
                    <a:cubicBezTo>
                      <a:pt x="515" y="1222"/>
                      <a:pt x="518" y="1224"/>
                      <a:pt x="524" y="1223"/>
                    </a:cubicBezTo>
                    <a:cubicBezTo>
                      <a:pt x="523" y="1222"/>
                      <a:pt x="524" y="1217"/>
                      <a:pt x="521" y="1218"/>
                    </a:cubicBezTo>
                    <a:cubicBezTo>
                      <a:pt x="518" y="1220"/>
                      <a:pt x="511" y="1219"/>
                      <a:pt x="509" y="1223"/>
                    </a:cubicBezTo>
                    <a:close/>
                    <a:moveTo>
                      <a:pt x="482" y="1225"/>
                    </a:moveTo>
                    <a:cubicBezTo>
                      <a:pt x="487" y="1226"/>
                      <a:pt x="490" y="1224"/>
                      <a:pt x="493" y="1223"/>
                    </a:cubicBezTo>
                    <a:cubicBezTo>
                      <a:pt x="488" y="1223"/>
                      <a:pt x="483" y="1220"/>
                      <a:pt x="480" y="1223"/>
                    </a:cubicBezTo>
                    <a:cubicBezTo>
                      <a:pt x="481" y="1223"/>
                      <a:pt x="482" y="1224"/>
                      <a:pt x="482" y="1225"/>
                    </a:cubicBezTo>
                    <a:close/>
                    <a:moveTo>
                      <a:pt x="535" y="1295"/>
                    </a:moveTo>
                    <a:cubicBezTo>
                      <a:pt x="536" y="1296"/>
                      <a:pt x="537" y="1294"/>
                      <a:pt x="535" y="1295"/>
                    </a:cubicBezTo>
                    <a:moveTo>
                      <a:pt x="535" y="1295"/>
                    </a:moveTo>
                    <a:cubicBezTo>
                      <a:pt x="532" y="1272"/>
                      <a:pt x="527" y="1251"/>
                      <a:pt x="525" y="1227"/>
                    </a:cubicBezTo>
                    <a:cubicBezTo>
                      <a:pt x="512" y="1224"/>
                      <a:pt x="497" y="1223"/>
                      <a:pt x="486" y="1227"/>
                    </a:cubicBezTo>
                    <a:cubicBezTo>
                      <a:pt x="498" y="1250"/>
                      <a:pt x="518" y="1273"/>
                      <a:pt x="535" y="1295"/>
                    </a:cubicBezTo>
                    <a:moveTo>
                      <a:pt x="1022" y="1223"/>
                    </a:moveTo>
                    <a:cubicBezTo>
                      <a:pt x="1007" y="1223"/>
                      <a:pt x="991" y="1230"/>
                      <a:pt x="973" y="1229"/>
                    </a:cubicBezTo>
                    <a:cubicBezTo>
                      <a:pt x="960" y="1255"/>
                      <a:pt x="945" y="1280"/>
                      <a:pt x="928" y="1303"/>
                    </a:cubicBezTo>
                    <a:cubicBezTo>
                      <a:pt x="927" y="1316"/>
                      <a:pt x="925" y="1329"/>
                      <a:pt x="922" y="1342"/>
                    </a:cubicBezTo>
                    <a:cubicBezTo>
                      <a:pt x="920" y="1353"/>
                      <a:pt x="915" y="1367"/>
                      <a:pt x="917" y="1376"/>
                    </a:cubicBezTo>
                    <a:cubicBezTo>
                      <a:pt x="925" y="1381"/>
                      <a:pt x="933" y="1372"/>
                      <a:pt x="939" y="1367"/>
                    </a:cubicBezTo>
                    <a:cubicBezTo>
                      <a:pt x="986" y="1330"/>
                      <a:pt x="1029" y="1283"/>
                      <a:pt x="1064" y="1236"/>
                    </a:cubicBezTo>
                    <a:cubicBezTo>
                      <a:pt x="1050" y="1234"/>
                      <a:pt x="1038" y="1224"/>
                      <a:pt x="1022" y="1223"/>
                    </a:cubicBezTo>
                    <a:close/>
                    <a:moveTo>
                      <a:pt x="539" y="1299"/>
                    </a:moveTo>
                    <a:cubicBezTo>
                      <a:pt x="563" y="1325"/>
                      <a:pt x="587" y="1352"/>
                      <a:pt x="615" y="1374"/>
                    </a:cubicBezTo>
                    <a:cubicBezTo>
                      <a:pt x="628" y="1368"/>
                      <a:pt x="645" y="1367"/>
                      <a:pt x="658" y="1362"/>
                    </a:cubicBezTo>
                    <a:cubicBezTo>
                      <a:pt x="630" y="1322"/>
                      <a:pt x="605" y="1279"/>
                      <a:pt x="583" y="1232"/>
                    </a:cubicBezTo>
                    <a:cubicBezTo>
                      <a:pt x="564" y="1230"/>
                      <a:pt x="545" y="1229"/>
                      <a:pt x="527" y="1226"/>
                    </a:cubicBezTo>
                    <a:cubicBezTo>
                      <a:pt x="530" y="1251"/>
                      <a:pt x="535" y="1275"/>
                      <a:pt x="539" y="1299"/>
                    </a:cubicBezTo>
                    <a:close/>
                    <a:moveTo>
                      <a:pt x="537" y="1300"/>
                    </a:moveTo>
                    <a:cubicBezTo>
                      <a:pt x="517" y="1278"/>
                      <a:pt x="500" y="1252"/>
                      <a:pt x="481" y="1229"/>
                    </a:cubicBezTo>
                    <a:cubicBezTo>
                      <a:pt x="456" y="1237"/>
                      <a:pt x="433" y="1246"/>
                      <a:pt x="412" y="1256"/>
                    </a:cubicBezTo>
                    <a:cubicBezTo>
                      <a:pt x="452" y="1302"/>
                      <a:pt x="504" y="1344"/>
                      <a:pt x="558" y="1379"/>
                    </a:cubicBezTo>
                    <a:cubicBezTo>
                      <a:pt x="550" y="1354"/>
                      <a:pt x="543" y="1328"/>
                      <a:pt x="537" y="1300"/>
                    </a:cubicBezTo>
                    <a:close/>
                    <a:moveTo>
                      <a:pt x="938" y="1232"/>
                    </a:moveTo>
                    <a:cubicBezTo>
                      <a:pt x="936" y="1253"/>
                      <a:pt x="931" y="1276"/>
                      <a:pt x="931" y="1295"/>
                    </a:cubicBezTo>
                    <a:cubicBezTo>
                      <a:pt x="945" y="1275"/>
                      <a:pt x="957" y="1253"/>
                      <a:pt x="970" y="1231"/>
                    </a:cubicBezTo>
                    <a:cubicBezTo>
                      <a:pt x="970" y="1230"/>
                      <a:pt x="970" y="1229"/>
                      <a:pt x="968" y="1229"/>
                    </a:cubicBezTo>
                    <a:cubicBezTo>
                      <a:pt x="959" y="1231"/>
                      <a:pt x="948" y="1232"/>
                      <a:pt x="938" y="1232"/>
                    </a:cubicBezTo>
                    <a:close/>
                    <a:moveTo>
                      <a:pt x="663" y="1362"/>
                    </a:moveTo>
                    <a:cubicBezTo>
                      <a:pt x="679" y="1359"/>
                      <a:pt x="696" y="1357"/>
                      <a:pt x="712" y="1355"/>
                    </a:cubicBezTo>
                    <a:cubicBezTo>
                      <a:pt x="700" y="1317"/>
                      <a:pt x="690" y="1278"/>
                      <a:pt x="680" y="1238"/>
                    </a:cubicBezTo>
                    <a:cubicBezTo>
                      <a:pt x="649" y="1236"/>
                      <a:pt x="616" y="1235"/>
                      <a:pt x="586" y="1232"/>
                    </a:cubicBezTo>
                    <a:cubicBezTo>
                      <a:pt x="608" y="1279"/>
                      <a:pt x="632" y="1324"/>
                      <a:pt x="663" y="1362"/>
                    </a:cubicBezTo>
                    <a:close/>
                    <a:moveTo>
                      <a:pt x="872" y="1237"/>
                    </a:moveTo>
                    <a:cubicBezTo>
                      <a:pt x="861" y="1280"/>
                      <a:pt x="845" y="1318"/>
                      <a:pt x="829" y="1357"/>
                    </a:cubicBezTo>
                    <a:cubicBezTo>
                      <a:pt x="845" y="1360"/>
                      <a:pt x="862" y="1361"/>
                      <a:pt x="876" y="1366"/>
                    </a:cubicBezTo>
                    <a:cubicBezTo>
                      <a:pt x="895" y="1349"/>
                      <a:pt x="908" y="1326"/>
                      <a:pt x="924" y="1306"/>
                    </a:cubicBezTo>
                    <a:cubicBezTo>
                      <a:pt x="927" y="1282"/>
                      <a:pt x="932" y="1259"/>
                      <a:pt x="933" y="1233"/>
                    </a:cubicBezTo>
                    <a:cubicBezTo>
                      <a:pt x="912" y="1234"/>
                      <a:pt x="892" y="1235"/>
                      <a:pt x="872" y="1237"/>
                    </a:cubicBezTo>
                    <a:close/>
                    <a:moveTo>
                      <a:pt x="1182" y="1304"/>
                    </a:moveTo>
                    <a:cubicBezTo>
                      <a:pt x="1190" y="1314"/>
                      <a:pt x="1196" y="1326"/>
                      <a:pt x="1200" y="1341"/>
                    </a:cubicBezTo>
                    <a:cubicBezTo>
                      <a:pt x="1222" y="1309"/>
                      <a:pt x="1244" y="1273"/>
                      <a:pt x="1257" y="1235"/>
                    </a:cubicBezTo>
                    <a:cubicBezTo>
                      <a:pt x="1234" y="1260"/>
                      <a:pt x="1208" y="1282"/>
                      <a:pt x="1182" y="1304"/>
                    </a:cubicBezTo>
                    <a:close/>
                    <a:moveTo>
                      <a:pt x="778" y="1239"/>
                    </a:moveTo>
                    <a:cubicBezTo>
                      <a:pt x="776" y="1277"/>
                      <a:pt x="774" y="1315"/>
                      <a:pt x="773" y="1353"/>
                    </a:cubicBezTo>
                    <a:cubicBezTo>
                      <a:pt x="791" y="1354"/>
                      <a:pt x="810" y="1355"/>
                      <a:pt x="826" y="1357"/>
                    </a:cubicBezTo>
                    <a:cubicBezTo>
                      <a:pt x="843" y="1319"/>
                      <a:pt x="857" y="1279"/>
                      <a:pt x="870" y="1237"/>
                    </a:cubicBezTo>
                    <a:cubicBezTo>
                      <a:pt x="840" y="1238"/>
                      <a:pt x="810" y="1239"/>
                      <a:pt x="778" y="1239"/>
                    </a:cubicBezTo>
                    <a:close/>
                    <a:moveTo>
                      <a:pt x="170" y="1239"/>
                    </a:moveTo>
                    <a:cubicBezTo>
                      <a:pt x="177" y="1254"/>
                      <a:pt x="187" y="1266"/>
                      <a:pt x="198" y="1276"/>
                    </a:cubicBezTo>
                    <a:moveTo>
                      <a:pt x="198" y="1276"/>
                    </a:moveTo>
                    <a:cubicBezTo>
                      <a:pt x="199" y="1278"/>
                      <a:pt x="200" y="1276"/>
                      <a:pt x="198" y="1276"/>
                    </a:cubicBezTo>
                    <a:moveTo>
                      <a:pt x="198" y="1276"/>
                    </a:moveTo>
                    <a:cubicBezTo>
                      <a:pt x="189" y="1264"/>
                      <a:pt x="180" y="1250"/>
                      <a:pt x="170" y="1239"/>
                    </a:cubicBezTo>
                    <a:moveTo>
                      <a:pt x="170" y="1239"/>
                    </a:moveTo>
                    <a:cubicBezTo>
                      <a:pt x="169" y="1237"/>
                      <a:pt x="169" y="1239"/>
                      <a:pt x="170" y="1239"/>
                    </a:cubicBezTo>
                    <a:moveTo>
                      <a:pt x="716" y="1355"/>
                    </a:moveTo>
                    <a:cubicBezTo>
                      <a:pt x="722" y="1356"/>
                      <a:pt x="725" y="1353"/>
                      <a:pt x="731" y="1354"/>
                    </a:cubicBezTo>
                    <a:cubicBezTo>
                      <a:pt x="729" y="1317"/>
                      <a:pt x="729" y="1277"/>
                      <a:pt x="727" y="1239"/>
                    </a:cubicBezTo>
                    <a:cubicBezTo>
                      <a:pt x="713" y="1240"/>
                      <a:pt x="696" y="1237"/>
                      <a:pt x="684" y="1239"/>
                    </a:cubicBezTo>
                    <a:cubicBezTo>
                      <a:pt x="694" y="1278"/>
                      <a:pt x="704" y="1318"/>
                      <a:pt x="716" y="1355"/>
                    </a:cubicBezTo>
                    <a:close/>
                    <a:moveTo>
                      <a:pt x="1067" y="1238"/>
                    </a:moveTo>
                    <a:cubicBezTo>
                      <a:pt x="1026" y="1291"/>
                      <a:pt x="978" y="1338"/>
                      <a:pt x="927" y="1381"/>
                    </a:cubicBezTo>
                    <a:cubicBezTo>
                      <a:pt x="939" y="1385"/>
                      <a:pt x="948" y="1391"/>
                      <a:pt x="959" y="1396"/>
                    </a:cubicBezTo>
                    <a:cubicBezTo>
                      <a:pt x="1011" y="1367"/>
                      <a:pt x="1058" y="1334"/>
                      <a:pt x="1101" y="1296"/>
                    </a:cubicBezTo>
                    <a:cubicBezTo>
                      <a:pt x="1104" y="1282"/>
                      <a:pt x="1110" y="1271"/>
                      <a:pt x="1112" y="1256"/>
                    </a:cubicBezTo>
                    <a:cubicBezTo>
                      <a:pt x="1098" y="1249"/>
                      <a:pt x="1084" y="1242"/>
                      <a:pt x="1067" y="1238"/>
                    </a:cubicBezTo>
                    <a:close/>
                    <a:moveTo>
                      <a:pt x="731" y="1239"/>
                    </a:moveTo>
                    <a:cubicBezTo>
                      <a:pt x="730" y="1276"/>
                      <a:pt x="733" y="1316"/>
                      <a:pt x="733" y="1354"/>
                    </a:cubicBezTo>
                    <a:cubicBezTo>
                      <a:pt x="745" y="1354"/>
                      <a:pt x="757" y="1353"/>
                      <a:pt x="770" y="1353"/>
                    </a:cubicBezTo>
                    <a:cubicBezTo>
                      <a:pt x="772" y="1316"/>
                      <a:pt x="774" y="1278"/>
                      <a:pt x="775" y="1240"/>
                    </a:cubicBezTo>
                    <a:cubicBezTo>
                      <a:pt x="761" y="1239"/>
                      <a:pt x="747" y="1238"/>
                      <a:pt x="731" y="1239"/>
                    </a:cubicBezTo>
                    <a:close/>
                    <a:moveTo>
                      <a:pt x="559" y="1383"/>
                    </a:moveTo>
                    <a:cubicBezTo>
                      <a:pt x="502" y="1348"/>
                      <a:pt x="454" y="1304"/>
                      <a:pt x="408" y="1258"/>
                    </a:cubicBezTo>
                    <a:cubicBezTo>
                      <a:pt x="395" y="1265"/>
                      <a:pt x="383" y="1272"/>
                      <a:pt x="371" y="1280"/>
                    </a:cubicBezTo>
                    <a:cubicBezTo>
                      <a:pt x="377" y="1308"/>
                      <a:pt x="393" y="1320"/>
                      <a:pt x="414" y="1334"/>
                    </a:cubicBezTo>
                    <a:cubicBezTo>
                      <a:pt x="445" y="1356"/>
                      <a:pt x="480" y="1376"/>
                      <a:pt x="511" y="1392"/>
                    </a:cubicBezTo>
                    <a:cubicBezTo>
                      <a:pt x="529" y="1393"/>
                      <a:pt x="548" y="1399"/>
                      <a:pt x="564" y="1398"/>
                    </a:cubicBezTo>
                    <a:cubicBezTo>
                      <a:pt x="563" y="1393"/>
                      <a:pt x="560" y="1389"/>
                      <a:pt x="559" y="1383"/>
                    </a:cubicBezTo>
                    <a:close/>
                    <a:moveTo>
                      <a:pt x="1106" y="1293"/>
                    </a:moveTo>
                    <a:cubicBezTo>
                      <a:pt x="1114" y="1284"/>
                      <a:pt x="1124" y="1276"/>
                      <a:pt x="1133" y="1267"/>
                    </a:cubicBezTo>
                    <a:cubicBezTo>
                      <a:pt x="1126" y="1264"/>
                      <a:pt x="1122" y="1260"/>
                      <a:pt x="1115" y="1258"/>
                    </a:cubicBezTo>
                    <a:cubicBezTo>
                      <a:pt x="1112" y="1269"/>
                      <a:pt x="1106" y="1282"/>
                      <a:pt x="1106" y="1293"/>
                    </a:cubicBezTo>
                    <a:close/>
                    <a:moveTo>
                      <a:pt x="193" y="1264"/>
                    </a:moveTo>
                    <a:cubicBezTo>
                      <a:pt x="193" y="1265"/>
                      <a:pt x="193" y="1265"/>
                      <a:pt x="194" y="1265"/>
                    </a:cubicBezTo>
                    <a:moveTo>
                      <a:pt x="194" y="1265"/>
                    </a:moveTo>
                    <a:cubicBezTo>
                      <a:pt x="194" y="1266"/>
                      <a:pt x="194" y="1266"/>
                      <a:pt x="195" y="1266"/>
                    </a:cubicBezTo>
                    <a:moveTo>
                      <a:pt x="195" y="1266"/>
                    </a:moveTo>
                    <a:cubicBezTo>
                      <a:pt x="205" y="1280"/>
                      <a:pt x="216" y="1293"/>
                      <a:pt x="232" y="1301"/>
                    </a:cubicBezTo>
                    <a:moveTo>
                      <a:pt x="232" y="1301"/>
                    </a:moveTo>
                    <a:cubicBezTo>
                      <a:pt x="232" y="1302"/>
                      <a:pt x="232" y="1302"/>
                      <a:pt x="233" y="1302"/>
                    </a:cubicBezTo>
                    <a:moveTo>
                      <a:pt x="233" y="1302"/>
                    </a:moveTo>
                    <a:cubicBezTo>
                      <a:pt x="234" y="1304"/>
                      <a:pt x="234" y="1302"/>
                      <a:pt x="233" y="1302"/>
                    </a:cubicBezTo>
                    <a:moveTo>
                      <a:pt x="233" y="1302"/>
                    </a:moveTo>
                    <a:cubicBezTo>
                      <a:pt x="233" y="1301"/>
                      <a:pt x="233" y="1301"/>
                      <a:pt x="232" y="1301"/>
                    </a:cubicBezTo>
                    <a:moveTo>
                      <a:pt x="195" y="1266"/>
                    </a:moveTo>
                    <a:cubicBezTo>
                      <a:pt x="207" y="1278"/>
                      <a:pt x="219" y="1290"/>
                      <a:pt x="232" y="1301"/>
                    </a:cubicBezTo>
                    <a:moveTo>
                      <a:pt x="195" y="1266"/>
                    </a:moveTo>
                    <a:cubicBezTo>
                      <a:pt x="195" y="1265"/>
                      <a:pt x="194" y="1265"/>
                      <a:pt x="194" y="1265"/>
                    </a:cubicBezTo>
                    <a:moveTo>
                      <a:pt x="194" y="1265"/>
                    </a:moveTo>
                    <a:cubicBezTo>
                      <a:pt x="194" y="1264"/>
                      <a:pt x="193" y="1264"/>
                      <a:pt x="193" y="1264"/>
                    </a:cubicBezTo>
                    <a:moveTo>
                      <a:pt x="193" y="1264"/>
                    </a:moveTo>
                    <a:cubicBezTo>
                      <a:pt x="192" y="1262"/>
                      <a:pt x="192" y="1264"/>
                      <a:pt x="193" y="1264"/>
                    </a:cubicBezTo>
                    <a:moveTo>
                      <a:pt x="1071" y="1373"/>
                    </a:moveTo>
                    <a:cubicBezTo>
                      <a:pt x="1070" y="1374"/>
                      <a:pt x="1071" y="1374"/>
                      <a:pt x="1071" y="1373"/>
                    </a:cubicBezTo>
                    <a:moveTo>
                      <a:pt x="1071" y="1373"/>
                    </a:moveTo>
                    <a:cubicBezTo>
                      <a:pt x="1096" y="1361"/>
                      <a:pt x="1127" y="1341"/>
                      <a:pt x="1154" y="1321"/>
                    </a:cubicBezTo>
                    <a:cubicBezTo>
                      <a:pt x="1159" y="1318"/>
                      <a:pt x="1178" y="1306"/>
                      <a:pt x="1178" y="1302"/>
                    </a:cubicBezTo>
                    <a:cubicBezTo>
                      <a:pt x="1178" y="1299"/>
                      <a:pt x="1160" y="1286"/>
                      <a:pt x="1158" y="1284"/>
                    </a:cubicBezTo>
                    <a:cubicBezTo>
                      <a:pt x="1149" y="1277"/>
                      <a:pt x="1143" y="1273"/>
                      <a:pt x="1134" y="1269"/>
                    </a:cubicBezTo>
                    <a:cubicBezTo>
                      <a:pt x="1124" y="1279"/>
                      <a:pt x="1114" y="1289"/>
                      <a:pt x="1102" y="1298"/>
                    </a:cubicBezTo>
                    <a:cubicBezTo>
                      <a:pt x="1094" y="1326"/>
                      <a:pt x="1082" y="1349"/>
                      <a:pt x="1071" y="1373"/>
                    </a:cubicBezTo>
                    <a:moveTo>
                      <a:pt x="253" y="1272"/>
                    </a:moveTo>
                    <a:cubicBezTo>
                      <a:pt x="253" y="1273"/>
                      <a:pt x="254" y="1273"/>
                      <a:pt x="254" y="1273"/>
                    </a:cubicBezTo>
                    <a:moveTo>
                      <a:pt x="254" y="1273"/>
                    </a:moveTo>
                    <a:cubicBezTo>
                      <a:pt x="266" y="1296"/>
                      <a:pt x="280" y="1316"/>
                      <a:pt x="295" y="1335"/>
                    </a:cubicBezTo>
                    <a:cubicBezTo>
                      <a:pt x="305" y="1338"/>
                      <a:pt x="314" y="1343"/>
                      <a:pt x="324" y="1345"/>
                    </a:cubicBezTo>
                    <a:cubicBezTo>
                      <a:pt x="324" y="1340"/>
                      <a:pt x="326" y="1335"/>
                      <a:pt x="327" y="1331"/>
                    </a:cubicBezTo>
                    <a:cubicBezTo>
                      <a:pt x="302" y="1313"/>
                      <a:pt x="277" y="1294"/>
                      <a:pt x="254" y="1273"/>
                    </a:cubicBezTo>
                    <a:moveTo>
                      <a:pt x="254" y="1273"/>
                    </a:moveTo>
                    <a:cubicBezTo>
                      <a:pt x="254" y="1273"/>
                      <a:pt x="254" y="1272"/>
                      <a:pt x="253" y="1272"/>
                    </a:cubicBezTo>
                    <a:moveTo>
                      <a:pt x="253" y="1272"/>
                    </a:moveTo>
                    <a:cubicBezTo>
                      <a:pt x="253" y="1271"/>
                      <a:pt x="252" y="1273"/>
                      <a:pt x="253" y="1272"/>
                    </a:cubicBezTo>
                    <a:moveTo>
                      <a:pt x="379" y="1308"/>
                    </a:moveTo>
                    <a:cubicBezTo>
                      <a:pt x="380" y="1309"/>
                      <a:pt x="380" y="1308"/>
                      <a:pt x="379" y="1308"/>
                    </a:cubicBezTo>
                    <a:moveTo>
                      <a:pt x="379" y="1308"/>
                    </a:moveTo>
                    <a:cubicBezTo>
                      <a:pt x="376" y="1299"/>
                      <a:pt x="372" y="1290"/>
                      <a:pt x="368" y="1282"/>
                    </a:cubicBezTo>
                    <a:cubicBezTo>
                      <a:pt x="365" y="1285"/>
                      <a:pt x="361" y="1288"/>
                      <a:pt x="358" y="1292"/>
                    </a:cubicBezTo>
                    <a:cubicBezTo>
                      <a:pt x="365" y="1297"/>
                      <a:pt x="371" y="1303"/>
                      <a:pt x="379" y="1308"/>
                    </a:cubicBezTo>
                    <a:moveTo>
                      <a:pt x="383" y="1315"/>
                    </a:moveTo>
                    <a:cubicBezTo>
                      <a:pt x="373" y="1308"/>
                      <a:pt x="366" y="1299"/>
                      <a:pt x="355" y="1294"/>
                    </a:cubicBezTo>
                    <a:cubicBezTo>
                      <a:pt x="345" y="1304"/>
                      <a:pt x="335" y="1315"/>
                      <a:pt x="330" y="1330"/>
                    </a:cubicBezTo>
                    <a:cubicBezTo>
                      <a:pt x="356" y="1345"/>
                      <a:pt x="378" y="1368"/>
                      <a:pt x="413" y="1371"/>
                    </a:cubicBezTo>
                    <a:cubicBezTo>
                      <a:pt x="401" y="1354"/>
                      <a:pt x="391" y="1335"/>
                      <a:pt x="383" y="1315"/>
                    </a:cubicBezTo>
                    <a:close/>
                    <a:moveTo>
                      <a:pt x="929" y="1297"/>
                    </a:moveTo>
                    <a:cubicBezTo>
                      <a:pt x="929" y="1297"/>
                      <a:pt x="930" y="1298"/>
                      <a:pt x="929" y="1297"/>
                    </a:cubicBezTo>
                    <a:close/>
                    <a:moveTo>
                      <a:pt x="224" y="1300"/>
                    </a:moveTo>
                    <a:cubicBezTo>
                      <a:pt x="224" y="1301"/>
                      <a:pt x="225" y="1301"/>
                      <a:pt x="225" y="1301"/>
                    </a:cubicBezTo>
                    <a:moveTo>
                      <a:pt x="225" y="1301"/>
                    </a:moveTo>
                    <a:cubicBezTo>
                      <a:pt x="259" y="1340"/>
                      <a:pt x="299" y="1371"/>
                      <a:pt x="343" y="1399"/>
                    </a:cubicBezTo>
                    <a:cubicBezTo>
                      <a:pt x="340" y="1392"/>
                      <a:pt x="333" y="1387"/>
                      <a:pt x="331" y="1378"/>
                    </a:cubicBezTo>
                    <a:cubicBezTo>
                      <a:pt x="326" y="1374"/>
                      <a:pt x="321" y="1369"/>
                      <a:pt x="317" y="1364"/>
                    </a:cubicBezTo>
                    <a:cubicBezTo>
                      <a:pt x="283" y="1346"/>
                      <a:pt x="259" y="1319"/>
                      <a:pt x="225" y="1301"/>
                    </a:cubicBezTo>
                    <a:moveTo>
                      <a:pt x="225" y="1301"/>
                    </a:moveTo>
                    <a:cubicBezTo>
                      <a:pt x="226" y="1300"/>
                      <a:pt x="225" y="1300"/>
                      <a:pt x="224" y="1300"/>
                    </a:cubicBezTo>
                    <a:moveTo>
                      <a:pt x="224" y="1300"/>
                    </a:moveTo>
                    <a:cubicBezTo>
                      <a:pt x="224" y="1299"/>
                      <a:pt x="223" y="1300"/>
                      <a:pt x="224" y="1300"/>
                    </a:cubicBezTo>
                    <a:moveTo>
                      <a:pt x="961" y="1398"/>
                    </a:moveTo>
                    <a:cubicBezTo>
                      <a:pt x="996" y="1395"/>
                      <a:pt x="1039" y="1392"/>
                      <a:pt x="1066" y="1377"/>
                    </a:cubicBezTo>
                    <a:cubicBezTo>
                      <a:pt x="1077" y="1353"/>
                      <a:pt x="1091" y="1328"/>
                      <a:pt x="1097" y="1302"/>
                    </a:cubicBezTo>
                    <a:cubicBezTo>
                      <a:pt x="1057" y="1339"/>
                      <a:pt x="1010" y="1370"/>
                      <a:pt x="961" y="1398"/>
                    </a:cubicBezTo>
                    <a:close/>
                    <a:moveTo>
                      <a:pt x="1294" y="1304"/>
                    </a:moveTo>
                    <a:cubicBezTo>
                      <a:pt x="1293" y="1304"/>
                      <a:pt x="1294" y="1305"/>
                      <a:pt x="1294" y="1304"/>
                    </a:cubicBezTo>
                    <a:close/>
                    <a:moveTo>
                      <a:pt x="1292" y="1305"/>
                    </a:moveTo>
                    <a:cubicBezTo>
                      <a:pt x="1292" y="1305"/>
                      <a:pt x="1293" y="1306"/>
                      <a:pt x="1292" y="1305"/>
                    </a:cubicBezTo>
                    <a:close/>
                    <a:moveTo>
                      <a:pt x="561" y="1382"/>
                    </a:moveTo>
                    <a:cubicBezTo>
                      <a:pt x="567" y="1384"/>
                      <a:pt x="571" y="1388"/>
                      <a:pt x="577" y="1391"/>
                    </a:cubicBezTo>
                    <a:cubicBezTo>
                      <a:pt x="587" y="1385"/>
                      <a:pt x="597" y="1379"/>
                      <a:pt x="610" y="1376"/>
                    </a:cubicBezTo>
                    <a:cubicBezTo>
                      <a:pt x="587" y="1352"/>
                      <a:pt x="562" y="1331"/>
                      <a:pt x="541" y="1305"/>
                    </a:cubicBezTo>
                    <a:cubicBezTo>
                      <a:pt x="546" y="1332"/>
                      <a:pt x="554" y="1357"/>
                      <a:pt x="561" y="1382"/>
                    </a:cubicBezTo>
                    <a:close/>
                    <a:moveTo>
                      <a:pt x="1179" y="1305"/>
                    </a:moveTo>
                    <a:cubicBezTo>
                      <a:pt x="1162" y="1320"/>
                      <a:pt x="1142" y="1333"/>
                      <a:pt x="1122" y="1345"/>
                    </a:cubicBezTo>
                    <a:cubicBezTo>
                      <a:pt x="1103" y="1357"/>
                      <a:pt x="1083" y="1369"/>
                      <a:pt x="1066" y="1382"/>
                    </a:cubicBezTo>
                    <a:cubicBezTo>
                      <a:pt x="1112" y="1371"/>
                      <a:pt x="1168" y="1364"/>
                      <a:pt x="1197" y="1341"/>
                    </a:cubicBezTo>
                    <a:cubicBezTo>
                      <a:pt x="1194" y="1326"/>
                      <a:pt x="1188" y="1314"/>
                      <a:pt x="1179" y="1305"/>
                    </a:cubicBezTo>
                    <a:close/>
                    <a:moveTo>
                      <a:pt x="1283" y="1311"/>
                    </a:moveTo>
                    <a:cubicBezTo>
                      <a:pt x="1257" y="1325"/>
                      <a:pt x="1230" y="1338"/>
                      <a:pt x="1200" y="1348"/>
                    </a:cubicBezTo>
                    <a:cubicBezTo>
                      <a:pt x="1201" y="1361"/>
                      <a:pt x="1197" y="1369"/>
                      <a:pt x="1194" y="1378"/>
                    </a:cubicBezTo>
                    <a:moveTo>
                      <a:pt x="1194" y="1378"/>
                    </a:moveTo>
                    <a:cubicBezTo>
                      <a:pt x="1193" y="1379"/>
                      <a:pt x="1194" y="1379"/>
                      <a:pt x="1194" y="1378"/>
                    </a:cubicBezTo>
                    <a:moveTo>
                      <a:pt x="1194" y="1378"/>
                    </a:moveTo>
                    <a:cubicBezTo>
                      <a:pt x="1227" y="1358"/>
                      <a:pt x="1258" y="1338"/>
                      <a:pt x="1283" y="1311"/>
                    </a:cubicBezTo>
                    <a:moveTo>
                      <a:pt x="1283" y="1311"/>
                    </a:moveTo>
                    <a:cubicBezTo>
                      <a:pt x="1285" y="1310"/>
                      <a:pt x="1283" y="1310"/>
                      <a:pt x="1283" y="1311"/>
                    </a:cubicBezTo>
                    <a:moveTo>
                      <a:pt x="881" y="1367"/>
                    </a:moveTo>
                    <a:cubicBezTo>
                      <a:pt x="892" y="1368"/>
                      <a:pt x="901" y="1372"/>
                      <a:pt x="911" y="1374"/>
                    </a:cubicBezTo>
                    <a:cubicBezTo>
                      <a:pt x="916" y="1355"/>
                      <a:pt x="921" y="1331"/>
                      <a:pt x="922" y="1312"/>
                    </a:cubicBezTo>
                    <a:cubicBezTo>
                      <a:pt x="910" y="1331"/>
                      <a:pt x="895" y="1349"/>
                      <a:pt x="881" y="1367"/>
                    </a:cubicBezTo>
                    <a:close/>
                    <a:moveTo>
                      <a:pt x="388" y="1319"/>
                    </a:moveTo>
                    <a:cubicBezTo>
                      <a:pt x="395" y="1338"/>
                      <a:pt x="406" y="1356"/>
                      <a:pt x="416" y="1373"/>
                    </a:cubicBezTo>
                    <a:cubicBezTo>
                      <a:pt x="444" y="1379"/>
                      <a:pt x="470" y="1386"/>
                      <a:pt x="500" y="1390"/>
                    </a:cubicBezTo>
                    <a:moveTo>
                      <a:pt x="500" y="1390"/>
                    </a:moveTo>
                    <a:cubicBezTo>
                      <a:pt x="500" y="1392"/>
                      <a:pt x="504" y="1389"/>
                      <a:pt x="500" y="1390"/>
                    </a:cubicBezTo>
                    <a:moveTo>
                      <a:pt x="388" y="1319"/>
                    </a:moveTo>
                    <a:cubicBezTo>
                      <a:pt x="423" y="1344"/>
                      <a:pt x="460" y="1368"/>
                      <a:pt x="500" y="1390"/>
                    </a:cubicBezTo>
                    <a:moveTo>
                      <a:pt x="388" y="1319"/>
                    </a:moveTo>
                    <a:cubicBezTo>
                      <a:pt x="387" y="1317"/>
                      <a:pt x="386" y="1319"/>
                      <a:pt x="388" y="1319"/>
                    </a:cubicBezTo>
                    <a:moveTo>
                      <a:pt x="261" y="1322"/>
                    </a:moveTo>
                    <a:cubicBezTo>
                      <a:pt x="260" y="1322"/>
                      <a:pt x="262" y="1323"/>
                      <a:pt x="261" y="1322"/>
                    </a:cubicBezTo>
                    <a:close/>
                    <a:moveTo>
                      <a:pt x="264" y="1323"/>
                    </a:moveTo>
                    <a:cubicBezTo>
                      <a:pt x="264" y="1324"/>
                      <a:pt x="264" y="1324"/>
                      <a:pt x="264" y="1324"/>
                    </a:cubicBezTo>
                    <a:cubicBezTo>
                      <a:pt x="279" y="1334"/>
                      <a:pt x="292" y="1346"/>
                      <a:pt x="308" y="1355"/>
                    </a:cubicBezTo>
                    <a:moveTo>
                      <a:pt x="308" y="1355"/>
                    </a:moveTo>
                    <a:cubicBezTo>
                      <a:pt x="308" y="1356"/>
                      <a:pt x="308" y="1356"/>
                      <a:pt x="309" y="1356"/>
                    </a:cubicBezTo>
                    <a:moveTo>
                      <a:pt x="309" y="1356"/>
                    </a:moveTo>
                    <a:cubicBezTo>
                      <a:pt x="309" y="1357"/>
                      <a:pt x="310" y="1356"/>
                      <a:pt x="309" y="1356"/>
                    </a:cubicBezTo>
                    <a:moveTo>
                      <a:pt x="309" y="1356"/>
                    </a:moveTo>
                    <a:cubicBezTo>
                      <a:pt x="309" y="1355"/>
                      <a:pt x="309" y="1355"/>
                      <a:pt x="308" y="1355"/>
                    </a:cubicBezTo>
                    <a:moveTo>
                      <a:pt x="308" y="1355"/>
                    </a:moveTo>
                    <a:cubicBezTo>
                      <a:pt x="299" y="1338"/>
                      <a:pt x="282" y="1330"/>
                      <a:pt x="264" y="1323"/>
                    </a:cubicBezTo>
                    <a:moveTo>
                      <a:pt x="264" y="1323"/>
                    </a:moveTo>
                    <a:cubicBezTo>
                      <a:pt x="263" y="1322"/>
                      <a:pt x="263" y="1323"/>
                      <a:pt x="264" y="1323"/>
                    </a:cubicBezTo>
                    <a:moveTo>
                      <a:pt x="327" y="1347"/>
                    </a:moveTo>
                    <a:cubicBezTo>
                      <a:pt x="343" y="1351"/>
                      <a:pt x="359" y="1360"/>
                      <a:pt x="374" y="1361"/>
                    </a:cubicBezTo>
                    <a:cubicBezTo>
                      <a:pt x="358" y="1353"/>
                      <a:pt x="345" y="1342"/>
                      <a:pt x="329" y="1333"/>
                    </a:cubicBezTo>
                    <a:cubicBezTo>
                      <a:pt x="328" y="1337"/>
                      <a:pt x="327" y="1341"/>
                      <a:pt x="327" y="1347"/>
                    </a:cubicBezTo>
                    <a:close/>
                    <a:moveTo>
                      <a:pt x="299" y="1340"/>
                    </a:moveTo>
                    <a:cubicBezTo>
                      <a:pt x="308" y="1349"/>
                      <a:pt x="314" y="1361"/>
                      <a:pt x="326" y="1367"/>
                    </a:cubicBezTo>
                    <a:cubicBezTo>
                      <a:pt x="325" y="1362"/>
                      <a:pt x="324" y="1356"/>
                      <a:pt x="324" y="1348"/>
                    </a:cubicBezTo>
                    <a:cubicBezTo>
                      <a:pt x="315" y="1346"/>
                      <a:pt x="309" y="1342"/>
                      <a:pt x="299" y="1340"/>
                    </a:cubicBezTo>
                    <a:moveTo>
                      <a:pt x="299" y="1340"/>
                    </a:moveTo>
                    <a:cubicBezTo>
                      <a:pt x="299" y="1338"/>
                      <a:pt x="298" y="1340"/>
                      <a:pt x="299" y="1340"/>
                    </a:cubicBezTo>
                    <a:moveTo>
                      <a:pt x="1254" y="1341"/>
                    </a:moveTo>
                    <a:cubicBezTo>
                      <a:pt x="1254" y="1340"/>
                      <a:pt x="1254" y="1341"/>
                      <a:pt x="1254" y="1342"/>
                    </a:cubicBezTo>
                    <a:moveTo>
                      <a:pt x="1254" y="1342"/>
                    </a:moveTo>
                    <a:cubicBezTo>
                      <a:pt x="1253" y="1341"/>
                      <a:pt x="1253" y="1342"/>
                      <a:pt x="1253" y="1343"/>
                    </a:cubicBezTo>
                    <a:moveTo>
                      <a:pt x="1253" y="1343"/>
                    </a:moveTo>
                    <a:cubicBezTo>
                      <a:pt x="1252" y="1342"/>
                      <a:pt x="1252" y="1343"/>
                      <a:pt x="1252" y="1343"/>
                    </a:cubicBezTo>
                    <a:moveTo>
                      <a:pt x="1252" y="1343"/>
                    </a:moveTo>
                    <a:cubicBezTo>
                      <a:pt x="1231" y="1356"/>
                      <a:pt x="1213" y="1372"/>
                      <a:pt x="1191" y="1383"/>
                    </a:cubicBezTo>
                    <a:cubicBezTo>
                      <a:pt x="1188" y="1390"/>
                      <a:pt x="1182" y="1395"/>
                      <a:pt x="1178" y="1402"/>
                    </a:cubicBezTo>
                    <a:moveTo>
                      <a:pt x="1178" y="1402"/>
                    </a:moveTo>
                    <a:cubicBezTo>
                      <a:pt x="1177" y="1402"/>
                      <a:pt x="1177" y="1402"/>
                      <a:pt x="1177" y="1403"/>
                    </a:cubicBezTo>
                    <a:moveTo>
                      <a:pt x="1177" y="1403"/>
                    </a:moveTo>
                    <a:cubicBezTo>
                      <a:pt x="1175" y="1404"/>
                      <a:pt x="1177" y="1404"/>
                      <a:pt x="1177" y="1403"/>
                    </a:cubicBezTo>
                    <a:moveTo>
                      <a:pt x="1177" y="1403"/>
                    </a:moveTo>
                    <a:cubicBezTo>
                      <a:pt x="1178" y="1403"/>
                      <a:pt x="1178" y="1403"/>
                      <a:pt x="1178" y="1402"/>
                    </a:cubicBezTo>
                    <a:moveTo>
                      <a:pt x="1178" y="1402"/>
                    </a:moveTo>
                    <a:cubicBezTo>
                      <a:pt x="1205" y="1385"/>
                      <a:pt x="1229" y="1365"/>
                      <a:pt x="1252" y="1343"/>
                    </a:cubicBezTo>
                    <a:moveTo>
                      <a:pt x="1252" y="1343"/>
                    </a:moveTo>
                    <a:cubicBezTo>
                      <a:pt x="1252" y="1344"/>
                      <a:pt x="1253" y="1343"/>
                      <a:pt x="1253" y="1343"/>
                    </a:cubicBezTo>
                    <a:moveTo>
                      <a:pt x="1253" y="1343"/>
                    </a:moveTo>
                    <a:cubicBezTo>
                      <a:pt x="1253" y="1343"/>
                      <a:pt x="1253" y="1342"/>
                      <a:pt x="1254" y="1342"/>
                    </a:cubicBezTo>
                    <a:moveTo>
                      <a:pt x="1254" y="1342"/>
                    </a:moveTo>
                    <a:cubicBezTo>
                      <a:pt x="1254" y="1342"/>
                      <a:pt x="1254" y="1341"/>
                      <a:pt x="1254" y="1341"/>
                    </a:cubicBezTo>
                    <a:moveTo>
                      <a:pt x="1254" y="1341"/>
                    </a:moveTo>
                    <a:cubicBezTo>
                      <a:pt x="1256" y="1340"/>
                      <a:pt x="1254" y="1339"/>
                      <a:pt x="1254" y="1341"/>
                    </a:cubicBezTo>
                    <a:moveTo>
                      <a:pt x="1193" y="1348"/>
                    </a:moveTo>
                    <a:cubicBezTo>
                      <a:pt x="1193" y="1348"/>
                      <a:pt x="1194" y="1349"/>
                      <a:pt x="1193" y="1348"/>
                    </a:cubicBezTo>
                    <a:close/>
                    <a:moveTo>
                      <a:pt x="330" y="1369"/>
                    </a:moveTo>
                    <a:cubicBezTo>
                      <a:pt x="368" y="1393"/>
                      <a:pt x="409" y="1413"/>
                      <a:pt x="454" y="1429"/>
                    </a:cubicBezTo>
                    <a:cubicBezTo>
                      <a:pt x="444" y="1415"/>
                      <a:pt x="432" y="1403"/>
                      <a:pt x="423" y="1388"/>
                    </a:cubicBezTo>
                    <a:cubicBezTo>
                      <a:pt x="395" y="1370"/>
                      <a:pt x="360" y="1360"/>
                      <a:pt x="326" y="1349"/>
                    </a:cubicBezTo>
                    <a:cubicBezTo>
                      <a:pt x="327" y="1357"/>
                      <a:pt x="327" y="1364"/>
                      <a:pt x="330" y="1369"/>
                    </a:cubicBezTo>
                    <a:close/>
                    <a:moveTo>
                      <a:pt x="1151" y="1402"/>
                    </a:moveTo>
                    <a:cubicBezTo>
                      <a:pt x="1149" y="1403"/>
                      <a:pt x="1151" y="1403"/>
                      <a:pt x="1151" y="1402"/>
                    </a:cubicBezTo>
                    <a:moveTo>
                      <a:pt x="1151" y="1402"/>
                    </a:moveTo>
                    <a:cubicBezTo>
                      <a:pt x="1165" y="1397"/>
                      <a:pt x="1176" y="1388"/>
                      <a:pt x="1189" y="1382"/>
                    </a:cubicBezTo>
                    <a:cubicBezTo>
                      <a:pt x="1193" y="1373"/>
                      <a:pt x="1197" y="1363"/>
                      <a:pt x="1198" y="1350"/>
                    </a:cubicBezTo>
                    <a:cubicBezTo>
                      <a:pt x="1183" y="1365"/>
                      <a:pt x="1168" y="1386"/>
                      <a:pt x="1151" y="1402"/>
                    </a:cubicBezTo>
                    <a:moveTo>
                      <a:pt x="1191" y="1352"/>
                    </a:moveTo>
                    <a:cubicBezTo>
                      <a:pt x="1142" y="1377"/>
                      <a:pt x="1096" y="1406"/>
                      <a:pt x="1039" y="1424"/>
                    </a:cubicBezTo>
                    <a:cubicBezTo>
                      <a:pt x="1033" y="1434"/>
                      <a:pt x="1025" y="1443"/>
                      <a:pt x="1017" y="1452"/>
                    </a:cubicBezTo>
                    <a:moveTo>
                      <a:pt x="1017" y="1452"/>
                    </a:moveTo>
                    <a:cubicBezTo>
                      <a:pt x="1016" y="1453"/>
                      <a:pt x="1017" y="1453"/>
                      <a:pt x="1017" y="1452"/>
                    </a:cubicBezTo>
                    <a:moveTo>
                      <a:pt x="1017" y="1452"/>
                    </a:moveTo>
                    <a:cubicBezTo>
                      <a:pt x="1063" y="1442"/>
                      <a:pt x="1102" y="1425"/>
                      <a:pt x="1141" y="1408"/>
                    </a:cubicBezTo>
                    <a:cubicBezTo>
                      <a:pt x="1159" y="1390"/>
                      <a:pt x="1176" y="1372"/>
                      <a:pt x="1191" y="1352"/>
                    </a:cubicBezTo>
                    <a:moveTo>
                      <a:pt x="1191" y="1352"/>
                    </a:moveTo>
                    <a:cubicBezTo>
                      <a:pt x="1193" y="1352"/>
                      <a:pt x="1191" y="1351"/>
                      <a:pt x="1191" y="1352"/>
                    </a:cubicBezTo>
                    <a:moveTo>
                      <a:pt x="735" y="1356"/>
                    </a:moveTo>
                    <a:cubicBezTo>
                      <a:pt x="733" y="1373"/>
                      <a:pt x="736" y="1393"/>
                      <a:pt x="736" y="1411"/>
                    </a:cubicBezTo>
                    <a:cubicBezTo>
                      <a:pt x="746" y="1411"/>
                      <a:pt x="756" y="1411"/>
                      <a:pt x="766" y="1411"/>
                    </a:cubicBezTo>
                    <a:cubicBezTo>
                      <a:pt x="768" y="1393"/>
                      <a:pt x="768" y="1374"/>
                      <a:pt x="770" y="1356"/>
                    </a:cubicBezTo>
                    <a:cubicBezTo>
                      <a:pt x="758" y="1356"/>
                      <a:pt x="747" y="1356"/>
                      <a:pt x="735" y="1356"/>
                    </a:cubicBezTo>
                    <a:close/>
                    <a:moveTo>
                      <a:pt x="773" y="1356"/>
                    </a:moveTo>
                    <a:cubicBezTo>
                      <a:pt x="771" y="1374"/>
                      <a:pt x="770" y="1392"/>
                      <a:pt x="769" y="1411"/>
                    </a:cubicBezTo>
                    <a:cubicBezTo>
                      <a:pt x="779" y="1411"/>
                      <a:pt x="789" y="1411"/>
                      <a:pt x="799" y="1411"/>
                    </a:cubicBezTo>
                    <a:cubicBezTo>
                      <a:pt x="809" y="1394"/>
                      <a:pt x="817" y="1376"/>
                      <a:pt x="825" y="1359"/>
                    </a:cubicBezTo>
                    <a:cubicBezTo>
                      <a:pt x="807" y="1358"/>
                      <a:pt x="791" y="1356"/>
                      <a:pt x="773" y="1356"/>
                    </a:cubicBezTo>
                    <a:close/>
                    <a:moveTo>
                      <a:pt x="718" y="1358"/>
                    </a:moveTo>
                    <a:cubicBezTo>
                      <a:pt x="721" y="1371"/>
                      <a:pt x="728" y="1389"/>
                      <a:pt x="733" y="1403"/>
                    </a:cubicBezTo>
                    <a:cubicBezTo>
                      <a:pt x="732" y="1388"/>
                      <a:pt x="731" y="1373"/>
                      <a:pt x="731" y="1357"/>
                    </a:cubicBezTo>
                    <a:cubicBezTo>
                      <a:pt x="727" y="1357"/>
                      <a:pt x="721" y="1356"/>
                      <a:pt x="718" y="1358"/>
                    </a:cubicBezTo>
                    <a:close/>
                    <a:moveTo>
                      <a:pt x="664" y="1365"/>
                    </a:moveTo>
                    <a:cubicBezTo>
                      <a:pt x="673" y="1379"/>
                      <a:pt x="687" y="1397"/>
                      <a:pt x="701" y="1410"/>
                    </a:cubicBezTo>
                    <a:cubicBezTo>
                      <a:pt x="712" y="1408"/>
                      <a:pt x="723" y="1413"/>
                      <a:pt x="732" y="1410"/>
                    </a:cubicBezTo>
                    <a:cubicBezTo>
                      <a:pt x="724" y="1394"/>
                      <a:pt x="719" y="1376"/>
                      <a:pt x="713" y="1358"/>
                    </a:cubicBezTo>
                    <a:cubicBezTo>
                      <a:pt x="696" y="1359"/>
                      <a:pt x="679" y="1361"/>
                      <a:pt x="664" y="1365"/>
                    </a:cubicBezTo>
                    <a:close/>
                    <a:moveTo>
                      <a:pt x="1171" y="1359"/>
                    </a:moveTo>
                    <a:cubicBezTo>
                      <a:pt x="1137" y="1369"/>
                      <a:pt x="1101" y="1378"/>
                      <a:pt x="1064" y="1386"/>
                    </a:cubicBezTo>
                    <a:cubicBezTo>
                      <a:pt x="1058" y="1397"/>
                      <a:pt x="1050" y="1409"/>
                      <a:pt x="1043" y="1420"/>
                    </a:cubicBezTo>
                    <a:cubicBezTo>
                      <a:pt x="1090" y="1404"/>
                      <a:pt x="1132" y="1383"/>
                      <a:pt x="1171" y="1359"/>
                    </a:cubicBezTo>
                    <a:moveTo>
                      <a:pt x="1171" y="1359"/>
                    </a:moveTo>
                    <a:cubicBezTo>
                      <a:pt x="1172" y="1358"/>
                      <a:pt x="1171" y="1358"/>
                      <a:pt x="1171" y="1359"/>
                    </a:cubicBezTo>
                    <a:moveTo>
                      <a:pt x="827" y="1360"/>
                    </a:moveTo>
                    <a:cubicBezTo>
                      <a:pt x="820" y="1378"/>
                      <a:pt x="811" y="1394"/>
                      <a:pt x="802" y="1411"/>
                    </a:cubicBezTo>
                    <a:cubicBezTo>
                      <a:pt x="813" y="1409"/>
                      <a:pt x="828" y="1411"/>
                      <a:pt x="838" y="1409"/>
                    </a:cubicBezTo>
                    <a:cubicBezTo>
                      <a:pt x="847" y="1399"/>
                      <a:pt x="859" y="1388"/>
                      <a:pt x="868" y="1378"/>
                    </a:cubicBezTo>
                    <a:cubicBezTo>
                      <a:pt x="871" y="1375"/>
                      <a:pt x="876" y="1371"/>
                      <a:pt x="874" y="1367"/>
                    </a:cubicBezTo>
                    <a:cubicBezTo>
                      <a:pt x="860" y="1364"/>
                      <a:pt x="844" y="1361"/>
                      <a:pt x="827" y="1360"/>
                    </a:cubicBezTo>
                    <a:close/>
                    <a:moveTo>
                      <a:pt x="375" y="1363"/>
                    </a:moveTo>
                    <a:cubicBezTo>
                      <a:pt x="375" y="1362"/>
                      <a:pt x="376" y="1363"/>
                      <a:pt x="375" y="1363"/>
                    </a:cubicBezTo>
                    <a:close/>
                    <a:moveTo>
                      <a:pt x="618" y="1375"/>
                    </a:moveTo>
                    <a:cubicBezTo>
                      <a:pt x="621" y="1381"/>
                      <a:pt x="628" y="1387"/>
                      <a:pt x="635" y="1392"/>
                    </a:cubicBezTo>
                    <a:cubicBezTo>
                      <a:pt x="641" y="1397"/>
                      <a:pt x="650" y="1406"/>
                      <a:pt x="657" y="1408"/>
                    </a:cubicBezTo>
                    <a:cubicBezTo>
                      <a:pt x="669" y="1411"/>
                      <a:pt x="681" y="1407"/>
                      <a:pt x="695" y="1410"/>
                    </a:cubicBezTo>
                    <a:cubicBezTo>
                      <a:pt x="685" y="1397"/>
                      <a:pt x="672" y="1379"/>
                      <a:pt x="659" y="1366"/>
                    </a:cubicBezTo>
                    <a:cubicBezTo>
                      <a:pt x="644" y="1368"/>
                      <a:pt x="632" y="1372"/>
                      <a:pt x="618" y="1375"/>
                    </a:cubicBezTo>
                    <a:close/>
                    <a:moveTo>
                      <a:pt x="879" y="1368"/>
                    </a:moveTo>
                    <a:cubicBezTo>
                      <a:pt x="870" y="1379"/>
                      <a:pt x="860" y="1391"/>
                      <a:pt x="850" y="1400"/>
                    </a:cubicBezTo>
                    <a:cubicBezTo>
                      <a:pt x="848" y="1403"/>
                      <a:pt x="842" y="1405"/>
                      <a:pt x="844" y="1409"/>
                    </a:cubicBezTo>
                    <a:cubicBezTo>
                      <a:pt x="857" y="1409"/>
                      <a:pt x="870" y="1407"/>
                      <a:pt x="884" y="1407"/>
                    </a:cubicBezTo>
                    <a:cubicBezTo>
                      <a:pt x="892" y="1402"/>
                      <a:pt x="900" y="1396"/>
                      <a:pt x="908" y="1391"/>
                    </a:cubicBezTo>
                    <a:cubicBezTo>
                      <a:pt x="908" y="1385"/>
                      <a:pt x="910" y="1381"/>
                      <a:pt x="911" y="1377"/>
                    </a:cubicBezTo>
                    <a:cubicBezTo>
                      <a:pt x="900" y="1374"/>
                      <a:pt x="890" y="1371"/>
                      <a:pt x="879" y="1368"/>
                    </a:cubicBezTo>
                    <a:close/>
                    <a:moveTo>
                      <a:pt x="419" y="1382"/>
                    </a:moveTo>
                    <a:cubicBezTo>
                      <a:pt x="416" y="1375"/>
                      <a:pt x="405" y="1372"/>
                      <a:pt x="398" y="1372"/>
                    </a:cubicBezTo>
                    <a:cubicBezTo>
                      <a:pt x="405" y="1375"/>
                      <a:pt x="413" y="1382"/>
                      <a:pt x="419" y="1382"/>
                    </a:cubicBezTo>
                    <a:close/>
                    <a:moveTo>
                      <a:pt x="332" y="1374"/>
                    </a:moveTo>
                    <a:cubicBezTo>
                      <a:pt x="368" y="1419"/>
                      <a:pt x="423" y="1445"/>
                      <a:pt x="487" y="1461"/>
                    </a:cubicBezTo>
                    <a:moveTo>
                      <a:pt x="487" y="1461"/>
                    </a:moveTo>
                    <a:cubicBezTo>
                      <a:pt x="488" y="1462"/>
                      <a:pt x="489" y="1461"/>
                      <a:pt x="487" y="1461"/>
                    </a:cubicBezTo>
                    <a:moveTo>
                      <a:pt x="487" y="1461"/>
                    </a:moveTo>
                    <a:cubicBezTo>
                      <a:pt x="476" y="1454"/>
                      <a:pt x="470" y="1441"/>
                      <a:pt x="458" y="1434"/>
                    </a:cubicBezTo>
                    <a:cubicBezTo>
                      <a:pt x="438" y="1423"/>
                      <a:pt x="414" y="1417"/>
                      <a:pt x="392" y="1407"/>
                    </a:cubicBezTo>
                    <a:cubicBezTo>
                      <a:pt x="371" y="1397"/>
                      <a:pt x="351" y="1384"/>
                      <a:pt x="332" y="1374"/>
                    </a:cubicBezTo>
                    <a:moveTo>
                      <a:pt x="332" y="1374"/>
                    </a:moveTo>
                    <a:cubicBezTo>
                      <a:pt x="331" y="1373"/>
                      <a:pt x="331" y="1374"/>
                      <a:pt x="332" y="1374"/>
                    </a:cubicBezTo>
                    <a:moveTo>
                      <a:pt x="419" y="1377"/>
                    </a:moveTo>
                    <a:cubicBezTo>
                      <a:pt x="420" y="1381"/>
                      <a:pt x="424" y="1383"/>
                      <a:pt x="425" y="1387"/>
                    </a:cubicBezTo>
                    <a:cubicBezTo>
                      <a:pt x="461" y="1403"/>
                      <a:pt x="496" y="1420"/>
                      <a:pt x="536" y="1431"/>
                    </a:cubicBezTo>
                    <a:cubicBezTo>
                      <a:pt x="537" y="1422"/>
                      <a:pt x="546" y="1417"/>
                      <a:pt x="546" y="1411"/>
                    </a:cubicBezTo>
                    <a:cubicBezTo>
                      <a:pt x="533" y="1406"/>
                      <a:pt x="522" y="1401"/>
                      <a:pt x="511" y="1394"/>
                    </a:cubicBezTo>
                    <a:cubicBezTo>
                      <a:pt x="479" y="1390"/>
                      <a:pt x="450" y="1383"/>
                      <a:pt x="419" y="1377"/>
                    </a:cubicBezTo>
                    <a:moveTo>
                      <a:pt x="419" y="1377"/>
                    </a:moveTo>
                    <a:cubicBezTo>
                      <a:pt x="419" y="1376"/>
                      <a:pt x="418" y="1377"/>
                      <a:pt x="419" y="1377"/>
                    </a:cubicBezTo>
                    <a:moveTo>
                      <a:pt x="612" y="1377"/>
                    </a:moveTo>
                    <a:cubicBezTo>
                      <a:pt x="601" y="1382"/>
                      <a:pt x="588" y="1386"/>
                      <a:pt x="579" y="1392"/>
                    </a:cubicBezTo>
                    <a:cubicBezTo>
                      <a:pt x="593" y="1405"/>
                      <a:pt x="625" y="1407"/>
                      <a:pt x="650" y="1406"/>
                    </a:cubicBezTo>
                    <a:cubicBezTo>
                      <a:pt x="636" y="1397"/>
                      <a:pt x="626" y="1386"/>
                      <a:pt x="612" y="1377"/>
                    </a:cubicBezTo>
                    <a:close/>
                    <a:moveTo>
                      <a:pt x="914" y="1387"/>
                    </a:moveTo>
                    <a:cubicBezTo>
                      <a:pt x="915" y="1384"/>
                      <a:pt x="920" y="1384"/>
                      <a:pt x="920" y="1380"/>
                    </a:cubicBezTo>
                    <a:cubicBezTo>
                      <a:pt x="917" y="1380"/>
                      <a:pt x="917" y="1378"/>
                      <a:pt x="914" y="1379"/>
                    </a:cubicBezTo>
                    <a:cubicBezTo>
                      <a:pt x="915" y="1382"/>
                      <a:pt x="911" y="1385"/>
                      <a:pt x="914" y="1387"/>
                    </a:cubicBezTo>
                    <a:close/>
                    <a:moveTo>
                      <a:pt x="1062" y="1382"/>
                    </a:moveTo>
                    <a:cubicBezTo>
                      <a:pt x="1061" y="1382"/>
                      <a:pt x="1059" y="1383"/>
                      <a:pt x="1059" y="1384"/>
                    </a:cubicBezTo>
                    <a:cubicBezTo>
                      <a:pt x="1061" y="1384"/>
                      <a:pt x="1062" y="1384"/>
                      <a:pt x="1062" y="1382"/>
                    </a:cubicBezTo>
                    <a:moveTo>
                      <a:pt x="1062" y="1382"/>
                    </a:moveTo>
                    <a:cubicBezTo>
                      <a:pt x="1064" y="1381"/>
                      <a:pt x="1062" y="1381"/>
                      <a:pt x="1062" y="1382"/>
                    </a:cubicBezTo>
                    <a:moveTo>
                      <a:pt x="911" y="1391"/>
                    </a:moveTo>
                    <a:cubicBezTo>
                      <a:pt x="911" y="1397"/>
                      <a:pt x="908" y="1400"/>
                      <a:pt x="908" y="1405"/>
                    </a:cubicBezTo>
                    <a:cubicBezTo>
                      <a:pt x="923" y="1401"/>
                      <a:pt x="944" y="1404"/>
                      <a:pt x="956" y="1397"/>
                    </a:cubicBezTo>
                    <a:cubicBezTo>
                      <a:pt x="941" y="1391"/>
                      <a:pt x="923" y="1374"/>
                      <a:pt x="911" y="1391"/>
                    </a:cubicBezTo>
                    <a:close/>
                    <a:moveTo>
                      <a:pt x="339" y="1387"/>
                    </a:moveTo>
                    <a:cubicBezTo>
                      <a:pt x="338" y="1387"/>
                      <a:pt x="339" y="1388"/>
                      <a:pt x="340" y="1388"/>
                    </a:cubicBezTo>
                    <a:moveTo>
                      <a:pt x="340" y="1388"/>
                    </a:moveTo>
                    <a:cubicBezTo>
                      <a:pt x="346" y="1400"/>
                      <a:pt x="356" y="1408"/>
                      <a:pt x="369" y="1414"/>
                    </a:cubicBezTo>
                    <a:moveTo>
                      <a:pt x="369" y="1414"/>
                    </a:moveTo>
                    <a:cubicBezTo>
                      <a:pt x="369" y="1414"/>
                      <a:pt x="371" y="1414"/>
                      <a:pt x="371" y="1415"/>
                    </a:cubicBezTo>
                    <a:moveTo>
                      <a:pt x="371" y="1415"/>
                    </a:moveTo>
                    <a:cubicBezTo>
                      <a:pt x="372" y="1416"/>
                      <a:pt x="372" y="1414"/>
                      <a:pt x="371" y="1415"/>
                    </a:cubicBezTo>
                    <a:moveTo>
                      <a:pt x="371" y="1415"/>
                    </a:moveTo>
                    <a:cubicBezTo>
                      <a:pt x="371" y="1414"/>
                      <a:pt x="370" y="1414"/>
                      <a:pt x="369" y="1414"/>
                    </a:cubicBezTo>
                    <a:moveTo>
                      <a:pt x="369" y="1414"/>
                    </a:moveTo>
                    <a:cubicBezTo>
                      <a:pt x="360" y="1405"/>
                      <a:pt x="349" y="1396"/>
                      <a:pt x="340" y="1388"/>
                    </a:cubicBezTo>
                    <a:moveTo>
                      <a:pt x="340" y="1388"/>
                    </a:moveTo>
                    <a:cubicBezTo>
                      <a:pt x="340" y="1387"/>
                      <a:pt x="339" y="1387"/>
                      <a:pt x="339" y="1387"/>
                    </a:cubicBezTo>
                    <a:moveTo>
                      <a:pt x="339" y="1387"/>
                    </a:moveTo>
                    <a:cubicBezTo>
                      <a:pt x="338" y="1385"/>
                      <a:pt x="337" y="1387"/>
                      <a:pt x="339" y="1387"/>
                    </a:cubicBezTo>
                    <a:moveTo>
                      <a:pt x="567" y="1396"/>
                    </a:moveTo>
                    <a:cubicBezTo>
                      <a:pt x="568" y="1393"/>
                      <a:pt x="572" y="1394"/>
                      <a:pt x="573" y="1391"/>
                    </a:cubicBezTo>
                    <a:cubicBezTo>
                      <a:pt x="570" y="1390"/>
                      <a:pt x="566" y="1388"/>
                      <a:pt x="563" y="1386"/>
                    </a:cubicBezTo>
                    <a:cubicBezTo>
                      <a:pt x="564" y="1390"/>
                      <a:pt x="565" y="1394"/>
                      <a:pt x="567" y="1396"/>
                    </a:cubicBezTo>
                    <a:close/>
                    <a:moveTo>
                      <a:pt x="982" y="1419"/>
                    </a:moveTo>
                    <a:cubicBezTo>
                      <a:pt x="986" y="1424"/>
                      <a:pt x="989" y="1430"/>
                      <a:pt x="989" y="1439"/>
                    </a:cubicBezTo>
                    <a:cubicBezTo>
                      <a:pt x="1006" y="1434"/>
                      <a:pt x="1021" y="1428"/>
                      <a:pt x="1038" y="1423"/>
                    </a:cubicBezTo>
                    <a:cubicBezTo>
                      <a:pt x="1040" y="1417"/>
                      <a:pt x="1046" y="1411"/>
                      <a:pt x="1050" y="1405"/>
                    </a:cubicBezTo>
                    <a:cubicBezTo>
                      <a:pt x="1054" y="1399"/>
                      <a:pt x="1059" y="1390"/>
                      <a:pt x="1059" y="1387"/>
                    </a:cubicBezTo>
                    <a:cubicBezTo>
                      <a:pt x="1030" y="1395"/>
                      <a:pt x="1008" y="1409"/>
                      <a:pt x="982" y="1419"/>
                    </a:cubicBezTo>
                    <a:close/>
                    <a:moveTo>
                      <a:pt x="1184" y="1388"/>
                    </a:moveTo>
                    <a:cubicBezTo>
                      <a:pt x="1153" y="1402"/>
                      <a:pt x="1127" y="1421"/>
                      <a:pt x="1103" y="1442"/>
                    </a:cubicBezTo>
                    <a:moveTo>
                      <a:pt x="1103" y="1442"/>
                    </a:moveTo>
                    <a:cubicBezTo>
                      <a:pt x="1102" y="1442"/>
                      <a:pt x="1101" y="1443"/>
                      <a:pt x="1101" y="1443"/>
                    </a:cubicBezTo>
                    <a:moveTo>
                      <a:pt x="1101" y="1443"/>
                    </a:moveTo>
                    <a:cubicBezTo>
                      <a:pt x="1099" y="1444"/>
                      <a:pt x="1101" y="1444"/>
                      <a:pt x="1101" y="1443"/>
                    </a:cubicBezTo>
                    <a:moveTo>
                      <a:pt x="1101" y="1443"/>
                    </a:moveTo>
                    <a:cubicBezTo>
                      <a:pt x="1102" y="1443"/>
                      <a:pt x="1103" y="1443"/>
                      <a:pt x="1103" y="1442"/>
                    </a:cubicBezTo>
                    <a:moveTo>
                      <a:pt x="1103" y="1442"/>
                    </a:moveTo>
                    <a:cubicBezTo>
                      <a:pt x="1134" y="1428"/>
                      <a:pt x="1167" y="1416"/>
                      <a:pt x="1184" y="1388"/>
                    </a:cubicBezTo>
                    <a:moveTo>
                      <a:pt x="1184" y="1388"/>
                    </a:moveTo>
                    <a:cubicBezTo>
                      <a:pt x="1186" y="1387"/>
                      <a:pt x="1184" y="1386"/>
                      <a:pt x="1184" y="1388"/>
                    </a:cubicBezTo>
                    <a:moveTo>
                      <a:pt x="429" y="1391"/>
                    </a:moveTo>
                    <a:cubicBezTo>
                      <a:pt x="438" y="1406"/>
                      <a:pt x="450" y="1419"/>
                      <a:pt x="461" y="1432"/>
                    </a:cubicBezTo>
                    <a:cubicBezTo>
                      <a:pt x="485" y="1439"/>
                      <a:pt x="511" y="1450"/>
                      <a:pt x="537" y="1452"/>
                    </a:cubicBezTo>
                    <a:cubicBezTo>
                      <a:pt x="534" y="1448"/>
                      <a:pt x="536" y="1440"/>
                      <a:pt x="535" y="1434"/>
                    </a:cubicBezTo>
                    <a:cubicBezTo>
                      <a:pt x="497" y="1422"/>
                      <a:pt x="463" y="1407"/>
                      <a:pt x="429" y="1391"/>
                    </a:cubicBezTo>
                    <a:moveTo>
                      <a:pt x="429" y="1391"/>
                    </a:moveTo>
                    <a:cubicBezTo>
                      <a:pt x="428" y="1390"/>
                      <a:pt x="428" y="1392"/>
                      <a:pt x="429" y="1391"/>
                    </a:cubicBezTo>
                    <a:moveTo>
                      <a:pt x="966" y="1402"/>
                    </a:moveTo>
                    <a:cubicBezTo>
                      <a:pt x="971" y="1406"/>
                      <a:pt x="976" y="1410"/>
                      <a:pt x="980" y="1416"/>
                    </a:cubicBezTo>
                    <a:cubicBezTo>
                      <a:pt x="1001" y="1409"/>
                      <a:pt x="1020" y="1400"/>
                      <a:pt x="1038" y="1391"/>
                    </a:cubicBezTo>
                    <a:cubicBezTo>
                      <a:pt x="1015" y="1395"/>
                      <a:pt x="989" y="1397"/>
                      <a:pt x="966" y="1402"/>
                    </a:cubicBezTo>
                    <a:close/>
                    <a:moveTo>
                      <a:pt x="567" y="1399"/>
                    </a:moveTo>
                    <a:cubicBezTo>
                      <a:pt x="573" y="1400"/>
                      <a:pt x="584" y="1403"/>
                      <a:pt x="589" y="1401"/>
                    </a:cubicBezTo>
                    <a:cubicBezTo>
                      <a:pt x="581" y="1397"/>
                      <a:pt x="574" y="1390"/>
                      <a:pt x="567" y="1399"/>
                    </a:cubicBezTo>
                    <a:close/>
                    <a:moveTo>
                      <a:pt x="891" y="1406"/>
                    </a:moveTo>
                    <a:cubicBezTo>
                      <a:pt x="896" y="1407"/>
                      <a:pt x="899" y="1404"/>
                      <a:pt x="904" y="1405"/>
                    </a:cubicBezTo>
                    <a:cubicBezTo>
                      <a:pt x="903" y="1401"/>
                      <a:pt x="907" y="1397"/>
                      <a:pt x="905" y="1395"/>
                    </a:cubicBezTo>
                    <a:cubicBezTo>
                      <a:pt x="901" y="1399"/>
                      <a:pt x="895" y="1402"/>
                      <a:pt x="891" y="1406"/>
                    </a:cubicBezTo>
                    <a:close/>
                    <a:moveTo>
                      <a:pt x="548" y="1410"/>
                    </a:moveTo>
                    <a:cubicBezTo>
                      <a:pt x="552" y="1408"/>
                      <a:pt x="555" y="1404"/>
                      <a:pt x="558" y="1401"/>
                    </a:cubicBezTo>
                    <a:cubicBezTo>
                      <a:pt x="546" y="1401"/>
                      <a:pt x="532" y="1396"/>
                      <a:pt x="521" y="1397"/>
                    </a:cubicBezTo>
                    <a:cubicBezTo>
                      <a:pt x="530" y="1401"/>
                      <a:pt x="539" y="1405"/>
                      <a:pt x="548" y="1410"/>
                    </a:cubicBezTo>
                    <a:close/>
                    <a:moveTo>
                      <a:pt x="552" y="1412"/>
                    </a:moveTo>
                    <a:cubicBezTo>
                      <a:pt x="559" y="1414"/>
                      <a:pt x="565" y="1417"/>
                      <a:pt x="572" y="1419"/>
                    </a:cubicBezTo>
                    <a:cubicBezTo>
                      <a:pt x="571" y="1413"/>
                      <a:pt x="567" y="1409"/>
                      <a:pt x="566" y="1402"/>
                    </a:cubicBezTo>
                    <a:cubicBezTo>
                      <a:pt x="558" y="1402"/>
                      <a:pt x="556" y="1408"/>
                      <a:pt x="552" y="1412"/>
                    </a:cubicBezTo>
                    <a:close/>
                    <a:moveTo>
                      <a:pt x="950" y="1403"/>
                    </a:moveTo>
                    <a:cubicBezTo>
                      <a:pt x="936" y="1407"/>
                      <a:pt x="915" y="1424"/>
                      <a:pt x="901" y="1427"/>
                    </a:cubicBezTo>
                    <a:cubicBezTo>
                      <a:pt x="899" y="1433"/>
                      <a:pt x="898" y="1439"/>
                      <a:pt x="895" y="1444"/>
                    </a:cubicBezTo>
                    <a:cubicBezTo>
                      <a:pt x="925" y="1438"/>
                      <a:pt x="950" y="1427"/>
                      <a:pt x="977" y="1418"/>
                    </a:cubicBezTo>
                    <a:cubicBezTo>
                      <a:pt x="971" y="1409"/>
                      <a:pt x="964" y="1399"/>
                      <a:pt x="950" y="1403"/>
                    </a:cubicBezTo>
                    <a:close/>
                    <a:moveTo>
                      <a:pt x="576" y="1421"/>
                    </a:moveTo>
                    <a:cubicBezTo>
                      <a:pt x="625" y="1439"/>
                      <a:pt x="678" y="1457"/>
                      <a:pt x="736" y="1463"/>
                    </a:cubicBezTo>
                    <a:cubicBezTo>
                      <a:pt x="684" y="1449"/>
                      <a:pt x="638" y="1429"/>
                      <a:pt x="596" y="1405"/>
                    </a:cubicBezTo>
                    <a:cubicBezTo>
                      <a:pt x="586" y="1405"/>
                      <a:pt x="579" y="1403"/>
                      <a:pt x="569" y="1403"/>
                    </a:cubicBezTo>
                    <a:cubicBezTo>
                      <a:pt x="571" y="1409"/>
                      <a:pt x="574" y="1415"/>
                      <a:pt x="576" y="1421"/>
                    </a:cubicBezTo>
                    <a:close/>
                    <a:moveTo>
                      <a:pt x="908" y="1407"/>
                    </a:moveTo>
                    <a:cubicBezTo>
                      <a:pt x="905" y="1412"/>
                      <a:pt x="905" y="1418"/>
                      <a:pt x="902" y="1423"/>
                    </a:cubicBezTo>
                    <a:cubicBezTo>
                      <a:pt x="917" y="1418"/>
                      <a:pt x="930" y="1411"/>
                      <a:pt x="942" y="1404"/>
                    </a:cubicBezTo>
                    <a:cubicBezTo>
                      <a:pt x="931" y="1405"/>
                      <a:pt x="920" y="1407"/>
                      <a:pt x="908" y="1407"/>
                    </a:cubicBezTo>
                    <a:close/>
                    <a:moveTo>
                      <a:pt x="606" y="1407"/>
                    </a:moveTo>
                    <a:cubicBezTo>
                      <a:pt x="645" y="1429"/>
                      <a:pt x="691" y="1449"/>
                      <a:pt x="737" y="1461"/>
                    </a:cubicBezTo>
                    <a:cubicBezTo>
                      <a:pt x="716" y="1449"/>
                      <a:pt x="695" y="1437"/>
                      <a:pt x="674" y="1423"/>
                    </a:cubicBezTo>
                    <a:cubicBezTo>
                      <a:pt x="667" y="1419"/>
                      <a:pt x="660" y="1411"/>
                      <a:pt x="654" y="1410"/>
                    </a:cubicBezTo>
                    <a:cubicBezTo>
                      <a:pt x="638" y="1406"/>
                      <a:pt x="624" y="1410"/>
                      <a:pt x="606" y="1407"/>
                    </a:cubicBezTo>
                    <a:moveTo>
                      <a:pt x="606" y="1407"/>
                    </a:moveTo>
                    <a:cubicBezTo>
                      <a:pt x="605" y="1404"/>
                      <a:pt x="602" y="1408"/>
                      <a:pt x="606" y="1407"/>
                    </a:cubicBezTo>
                    <a:moveTo>
                      <a:pt x="886" y="1409"/>
                    </a:moveTo>
                    <a:cubicBezTo>
                      <a:pt x="854" y="1430"/>
                      <a:pt x="820" y="1448"/>
                      <a:pt x="783" y="1463"/>
                    </a:cubicBezTo>
                    <a:cubicBezTo>
                      <a:pt x="824" y="1454"/>
                      <a:pt x="862" y="1441"/>
                      <a:pt x="897" y="1426"/>
                    </a:cubicBezTo>
                    <a:cubicBezTo>
                      <a:pt x="899" y="1420"/>
                      <a:pt x="901" y="1413"/>
                      <a:pt x="903" y="1408"/>
                    </a:cubicBezTo>
                    <a:cubicBezTo>
                      <a:pt x="897" y="1407"/>
                      <a:pt x="893" y="1410"/>
                      <a:pt x="886" y="1409"/>
                    </a:cubicBezTo>
                    <a:close/>
                    <a:moveTo>
                      <a:pt x="839" y="1412"/>
                    </a:moveTo>
                    <a:cubicBezTo>
                      <a:pt x="819" y="1430"/>
                      <a:pt x="798" y="1447"/>
                      <a:pt x="776" y="1463"/>
                    </a:cubicBezTo>
                    <a:cubicBezTo>
                      <a:pt x="814" y="1448"/>
                      <a:pt x="848" y="1430"/>
                      <a:pt x="879" y="1410"/>
                    </a:cubicBezTo>
                    <a:cubicBezTo>
                      <a:pt x="865" y="1410"/>
                      <a:pt x="853" y="1412"/>
                      <a:pt x="839" y="1412"/>
                    </a:cubicBezTo>
                    <a:close/>
                    <a:moveTo>
                      <a:pt x="736" y="1456"/>
                    </a:moveTo>
                    <a:cubicBezTo>
                      <a:pt x="735" y="1447"/>
                      <a:pt x="725" y="1440"/>
                      <a:pt x="718" y="1433"/>
                    </a:cubicBezTo>
                    <a:cubicBezTo>
                      <a:pt x="712" y="1427"/>
                      <a:pt x="704" y="1415"/>
                      <a:pt x="697" y="1413"/>
                    </a:cubicBezTo>
                    <a:cubicBezTo>
                      <a:pt x="687" y="1409"/>
                      <a:pt x="674" y="1412"/>
                      <a:pt x="661" y="1412"/>
                    </a:cubicBezTo>
                    <a:cubicBezTo>
                      <a:pt x="685" y="1428"/>
                      <a:pt x="708" y="1444"/>
                      <a:pt x="736" y="1456"/>
                    </a:cubicBezTo>
                    <a:close/>
                    <a:moveTo>
                      <a:pt x="770" y="1463"/>
                    </a:moveTo>
                    <a:cubicBezTo>
                      <a:pt x="769" y="1462"/>
                      <a:pt x="769" y="1463"/>
                      <a:pt x="769" y="1463"/>
                    </a:cubicBezTo>
                    <a:moveTo>
                      <a:pt x="769" y="1463"/>
                    </a:moveTo>
                    <a:cubicBezTo>
                      <a:pt x="767" y="1464"/>
                      <a:pt x="769" y="1465"/>
                      <a:pt x="769" y="1463"/>
                    </a:cubicBezTo>
                    <a:moveTo>
                      <a:pt x="769" y="1463"/>
                    </a:moveTo>
                    <a:cubicBezTo>
                      <a:pt x="770" y="1464"/>
                      <a:pt x="770" y="1463"/>
                      <a:pt x="770" y="1463"/>
                    </a:cubicBezTo>
                    <a:moveTo>
                      <a:pt x="770" y="1463"/>
                    </a:moveTo>
                    <a:cubicBezTo>
                      <a:pt x="789" y="1450"/>
                      <a:pt x="811" y="1435"/>
                      <a:pt x="828" y="1418"/>
                    </a:cubicBezTo>
                    <a:cubicBezTo>
                      <a:pt x="830" y="1417"/>
                      <a:pt x="834" y="1414"/>
                      <a:pt x="832" y="1412"/>
                    </a:cubicBezTo>
                    <a:cubicBezTo>
                      <a:pt x="824" y="1414"/>
                      <a:pt x="811" y="1412"/>
                      <a:pt x="801" y="1413"/>
                    </a:cubicBezTo>
                    <a:cubicBezTo>
                      <a:pt x="792" y="1430"/>
                      <a:pt x="781" y="1446"/>
                      <a:pt x="770" y="1463"/>
                    </a:cubicBezTo>
                    <a:moveTo>
                      <a:pt x="735" y="1445"/>
                    </a:moveTo>
                    <a:cubicBezTo>
                      <a:pt x="735" y="1434"/>
                      <a:pt x="734" y="1424"/>
                      <a:pt x="733" y="1414"/>
                    </a:cubicBezTo>
                    <a:cubicBezTo>
                      <a:pt x="724" y="1414"/>
                      <a:pt x="712" y="1411"/>
                      <a:pt x="702" y="1414"/>
                    </a:cubicBezTo>
                    <a:cubicBezTo>
                      <a:pt x="713" y="1424"/>
                      <a:pt x="723" y="1436"/>
                      <a:pt x="735" y="1445"/>
                    </a:cubicBezTo>
                    <a:close/>
                    <a:moveTo>
                      <a:pt x="574" y="1423"/>
                    </a:moveTo>
                    <a:cubicBezTo>
                      <a:pt x="566" y="1420"/>
                      <a:pt x="558" y="1416"/>
                      <a:pt x="549" y="1414"/>
                    </a:cubicBezTo>
                    <a:cubicBezTo>
                      <a:pt x="545" y="1420"/>
                      <a:pt x="540" y="1423"/>
                      <a:pt x="539" y="1433"/>
                    </a:cubicBezTo>
                    <a:cubicBezTo>
                      <a:pt x="554" y="1436"/>
                      <a:pt x="571" y="1443"/>
                      <a:pt x="584" y="1444"/>
                    </a:cubicBezTo>
                    <a:cubicBezTo>
                      <a:pt x="580" y="1438"/>
                      <a:pt x="578" y="1430"/>
                      <a:pt x="574" y="1423"/>
                    </a:cubicBezTo>
                    <a:close/>
                    <a:moveTo>
                      <a:pt x="761" y="1463"/>
                    </a:moveTo>
                    <a:cubicBezTo>
                      <a:pt x="763" y="1448"/>
                      <a:pt x="764" y="1430"/>
                      <a:pt x="766" y="1414"/>
                    </a:cubicBezTo>
                    <a:cubicBezTo>
                      <a:pt x="757" y="1414"/>
                      <a:pt x="745" y="1412"/>
                      <a:pt x="737" y="1415"/>
                    </a:cubicBezTo>
                    <a:cubicBezTo>
                      <a:pt x="745" y="1431"/>
                      <a:pt x="752" y="1449"/>
                      <a:pt x="761" y="1463"/>
                    </a:cubicBezTo>
                    <a:close/>
                    <a:moveTo>
                      <a:pt x="765" y="1464"/>
                    </a:moveTo>
                    <a:cubicBezTo>
                      <a:pt x="776" y="1448"/>
                      <a:pt x="788" y="1432"/>
                      <a:pt x="798" y="1414"/>
                    </a:cubicBezTo>
                    <a:cubicBezTo>
                      <a:pt x="788" y="1414"/>
                      <a:pt x="778" y="1414"/>
                      <a:pt x="768" y="1414"/>
                    </a:cubicBezTo>
                    <a:cubicBezTo>
                      <a:pt x="768" y="1431"/>
                      <a:pt x="764" y="1449"/>
                      <a:pt x="765" y="1464"/>
                    </a:cubicBezTo>
                    <a:close/>
                    <a:moveTo>
                      <a:pt x="366" y="1415"/>
                    </a:moveTo>
                    <a:cubicBezTo>
                      <a:pt x="366" y="1416"/>
                      <a:pt x="367" y="1416"/>
                      <a:pt x="367" y="1416"/>
                    </a:cubicBezTo>
                    <a:moveTo>
                      <a:pt x="367" y="1416"/>
                    </a:moveTo>
                    <a:cubicBezTo>
                      <a:pt x="382" y="1430"/>
                      <a:pt x="403" y="1442"/>
                      <a:pt x="422" y="1448"/>
                    </a:cubicBezTo>
                    <a:cubicBezTo>
                      <a:pt x="403" y="1438"/>
                      <a:pt x="388" y="1425"/>
                      <a:pt x="367" y="1416"/>
                    </a:cubicBezTo>
                    <a:moveTo>
                      <a:pt x="367" y="1416"/>
                    </a:moveTo>
                    <a:cubicBezTo>
                      <a:pt x="367" y="1416"/>
                      <a:pt x="366" y="1416"/>
                      <a:pt x="366" y="1415"/>
                    </a:cubicBezTo>
                    <a:moveTo>
                      <a:pt x="366" y="1415"/>
                    </a:moveTo>
                    <a:cubicBezTo>
                      <a:pt x="365" y="1414"/>
                      <a:pt x="364" y="1416"/>
                      <a:pt x="366" y="1415"/>
                    </a:cubicBezTo>
                    <a:moveTo>
                      <a:pt x="1132" y="1415"/>
                    </a:moveTo>
                    <a:cubicBezTo>
                      <a:pt x="1094" y="1431"/>
                      <a:pt x="1057" y="1446"/>
                      <a:pt x="1014" y="1456"/>
                    </a:cubicBezTo>
                    <a:cubicBezTo>
                      <a:pt x="1007" y="1463"/>
                      <a:pt x="999" y="1470"/>
                      <a:pt x="991" y="1477"/>
                    </a:cubicBezTo>
                    <a:cubicBezTo>
                      <a:pt x="1048" y="1467"/>
                      <a:pt x="1099" y="1450"/>
                      <a:pt x="1132" y="1415"/>
                    </a:cubicBezTo>
                    <a:moveTo>
                      <a:pt x="1132" y="1415"/>
                    </a:moveTo>
                    <a:cubicBezTo>
                      <a:pt x="1133" y="1415"/>
                      <a:pt x="1132" y="1414"/>
                      <a:pt x="1132" y="1415"/>
                    </a:cubicBezTo>
                    <a:moveTo>
                      <a:pt x="979" y="1419"/>
                    </a:moveTo>
                    <a:cubicBezTo>
                      <a:pt x="953" y="1430"/>
                      <a:pt x="925" y="1440"/>
                      <a:pt x="894" y="1447"/>
                    </a:cubicBezTo>
                    <a:cubicBezTo>
                      <a:pt x="893" y="1451"/>
                      <a:pt x="891" y="1455"/>
                      <a:pt x="890" y="1460"/>
                    </a:cubicBezTo>
                    <a:cubicBezTo>
                      <a:pt x="924" y="1455"/>
                      <a:pt x="955" y="1447"/>
                      <a:pt x="987" y="1439"/>
                    </a:cubicBezTo>
                    <a:cubicBezTo>
                      <a:pt x="986" y="1431"/>
                      <a:pt x="983" y="1424"/>
                      <a:pt x="979" y="1419"/>
                    </a:cubicBezTo>
                    <a:close/>
                    <a:moveTo>
                      <a:pt x="755" y="1463"/>
                    </a:moveTo>
                    <a:cubicBezTo>
                      <a:pt x="756" y="1464"/>
                      <a:pt x="756" y="1462"/>
                      <a:pt x="755" y="1463"/>
                    </a:cubicBezTo>
                    <a:moveTo>
                      <a:pt x="755" y="1463"/>
                    </a:moveTo>
                    <a:cubicBezTo>
                      <a:pt x="749" y="1449"/>
                      <a:pt x="743" y="1437"/>
                      <a:pt x="737" y="1424"/>
                    </a:cubicBezTo>
                    <a:cubicBezTo>
                      <a:pt x="736" y="1433"/>
                      <a:pt x="739" y="1439"/>
                      <a:pt x="738" y="1448"/>
                    </a:cubicBezTo>
                    <a:cubicBezTo>
                      <a:pt x="743" y="1453"/>
                      <a:pt x="749" y="1458"/>
                      <a:pt x="755" y="1463"/>
                    </a:cubicBezTo>
                    <a:moveTo>
                      <a:pt x="587" y="1446"/>
                    </a:moveTo>
                    <a:cubicBezTo>
                      <a:pt x="632" y="1456"/>
                      <a:pt x="682" y="1466"/>
                      <a:pt x="733" y="1466"/>
                    </a:cubicBezTo>
                    <a:cubicBezTo>
                      <a:pt x="676" y="1459"/>
                      <a:pt x="625" y="1440"/>
                      <a:pt x="578" y="1426"/>
                    </a:cubicBezTo>
                    <a:cubicBezTo>
                      <a:pt x="582" y="1432"/>
                      <a:pt x="584" y="1439"/>
                      <a:pt x="587" y="1446"/>
                    </a:cubicBezTo>
                    <a:close/>
                    <a:moveTo>
                      <a:pt x="1034" y="1427"/>
                    </a:moveTo>
                    <a:cubicBezTo>
                      <a:pt x="1019" y="1432"/>
                      <a:pt x="1004" y="1437"/>
                      <a:pt x="989" y="1441"/>
                    </a:cubicBezTo>
                    <a:cubicBezTo>
                      <a:pt x="989" y="1450"/>
                      <a:pt x="986" y="1454"/>
                      <a:pt x="984" y="1460"/>
                    </a:cubicBezTo>
                    <a:moveTo>
                      <a:pt x="984" y="1460"/>
                    </a:moveTo>
                    <a:cubicBezTo>
                      <a:pt x="982" y="1460"/>
                      <a:pt x="984" y="1461"/>
                      <a:pt x="984" y="1460"/>
                    </a:cubicBezTo>
                    <a:moveTo>
                      <a:pt x="984" y="1460"/>
                    </a:moveTo>
                    <a:cubicBezTo>
                      <a:pt x="994" y="1459"/>
                      <a:pt x="1001" y="1456"/>
                      <a:pt x="1011" y="1455"/>
                    </a:cubicBezTo>
                    <a:cubicBezTo>
                      <a:pt x="1019" y="1446"/>
                      <a:pt x="1027" y="1437"/>
                      <a:pt x="1034" y="1427"/>
                    </a:cubicBezTo>
                    <a:moveTo>
                      <a:pt x="1034" y="1427"/>
                    </a:moveTo>
                    <a:cubicBezTo>
                      <a:pt x="1035" y="1426"/>
                      <a:pt x="1034" y="1426"/>
                      <a:pt x="1034" y="1427"/>
                    </a:cubicBezTo>
                    <a:moveTo>
                      <a:pt x="1141" y="1428"/>
                    </a:moveTo>
                    <a:cubicBezTo>
                      <a:pt x="1141" y="1428"/>
                      <a:pt x="1142" y="1429"/>
                      <a:pt x="1141" y="1428"/>
                    </a:cubicBezTo>
                    <a:close/>
                    <a:moveTo>
                      <a:pt x="1139" y="1429"/>
                    </a:moveTo>
                    <a:cubicBezTo>
                      <a:pt x="1138" y="1429"/>
                      <a:pt x="1138" y="1429"/>
                      <a:pt x="1137" y="1430"/>
                    </a:cubicBezTo>
                    <a:moveTo>
                      <a:pt x="1137" y="1430"/>
                    </a:moveTo>
                    <a:cubicBezTo>
                      <a:pt x="1136" y="1430"/>
                      <a:pt x="1136" y="1430"/>
                      <a:pt x="1135" y="1431"/>
                    </a:cubicBezTo>
                    <a:moveTo>
                      <a:pt x="1135" y="1431"/>
                    </a:moveTo>
                    <a:cubicBezTo>
                      <a:pt x="1116" y="1441"/>
                      <a:pt x="1092" y="1448"/>
                      <a:pt x="1074" y="1461"/>
                    </a:cubicBezTo>
                    <a:cubicBezTo>
                      <a:pt x="1096" y="1452"/>
                      <a:pt x="1118" y="1443"/>
                      <a:pt x="1135" y="1431"/>
                    </a:cubicBezTo>
                    <a:moveTo>
                      <a:pt x="1135" y="1431"/>
                    </a:moveTo>
                    <a:cubicBezTo>
                      <a:pt x="1137" y="1431"/>
                      <a:pt x="1137" y="1431"/>
                      <a:pt x="1137" y="1430"/>
                    </a:cubicBezTo>
                    <a:moveTo>
                      <a:pt x="1137" y="1430"/>
                    </a:moveTo>
                    <a:cubicBezTo>
                      <a:pt x="1138" y="1430"/>
                      <a:pt x="1139" y="1430"/>
                      <a:pt x="1139" y="1429"/>
                    </a:cubicBezTo>
                    <a:moveTo>
                      <a:pt x="1139" y="1429"/>
                    </a:moveTo>
                    <a:cubicBezTo>
                      <a:pt x="1141" y="1428"/>
                      <a:pt x="1139" y="1428"/>
                      <a:pt x="1139" y="1429"/>
                    </a:cubicBezTo>
                    <a:moveTo>
                      <a:pt x="789" y="1465"/>
                    </a:moveTo>
                    <a:cubicBezTo>
                      <a:pt x="825" y="1461"/>
                      <a:pt x="858" y="1454"/>
                      <a:pt x="891" y="1446"/>
                    </a:cubicBezTo>
                    <a:cubicBezTo>
                      <a:pt x="892" y="1440"/>
                      <a:pt x="897" y="1434"/>
                      <a:pt x="895" y="1429"/>
                    </a:cubicBezTo>
                    <a:cubicBezTo>
                      <a:pt x="863" y="1444"/>
                      <a:pt x="826" y="1455"/>
                      <a:pt x="789" y="1465"/>
                    </a:cubicBezTo>
                    <a:close/>
                    <a:moveTo>
                      <a:pt x="404" y="1435"/>
                    </a:moveTo>
                    <a:cubicBezTo>
                      <a:pt x="404" y="1434"/>
                      <a:pt x="405" y="1435"/>
                      <a:pt x="404" y="1435"/>
                    </a:cubicBezTo>
                    <a:close/>
                    <a:moveTo>
                      <a:pt x="407" y="1436"/>
                    </a:moveTo>
                    <a:cubicBezTo>
                      <a:pt x="407" y="1437"/>
                      <a:pt x="408" y="1436"/>
                      <a:pt x="409" y="1437"/>
                    </a:cubicBezTo>
                    <a:moveTo>
                      <a:pt x="409" y="1437"/>
                    </a:moveTo>
                    <a:cubicBezTo>
                      <a:pt x="409" y="1437"/>
                      <a:pt x="409" y="1437"/>
                      <a:pt x="409" y="1438"/>
                    </a:cubicBezTo>
                    <a:cubicBezTo>
                      <a:pt x="439" y="1456"/>
                      <a:pt x="472" y="1472"/>
                      <a:pt x="513" y="1480"/>
                    </a:cubicBezTo>
                    <a:moveTo>
                      <a:pt x="513" y="1480"/>
                    </a:moveTo>
                    <a:cubicBezTo>
                      <a:pt x="514" y="1483"/>
                      <a:pt x="517" y="1479"/>
                      <a:pt x="513" y="1480"/>
                    </a:cubicBezTo>
                    <a:moveTo>
                      <a:pt x="513" y="1480"/>
                    </a:moveTo>
                    <a:cubicBezTo>
                      <a:pt x="487" y="1457"/>
                      <a:pt x="441" y="1454"/>
                      <a:pt x="409" y="1437"/>
                    </a:cubicBezTo>
                    <a:moveTo>
                      <a:pt x="409" y="1437"/>
                    </a:moveTo>
                    <a:cubicBezTo>
                      <a:pt x="409" y="1436"/>
                      <a:pt x="408" y="1436"/>
                      <a:pt x="407" y="1436"/>
                    </a:cubicBezTo>
                    <a:moveTo>
                      <a:pt x="407" y="1436"/>
                    </a:moveTo>
                    <a:cubicBezTo>
                      <a:pt x="406" y="1434"/>
                      <a:pt x="406" y="1436"/>
                      <a:pt x="407" y="1436"/>
                    </a:cubicBezTo>
                    <a:moveTo>
                      <a:pt x="541" y="1455"/>
                    </a:moveTo>
                    <a:cubicBezTo>
                      <a:pt x="559" y="1457"/>
                      <a:pt x="575" y="1462"/>
                      <a:pt x="594" y="1463"/>
                    </a:cubicBezTo>
                    <a:cubicBezTo>
                      <a:pt x="592" y="1458"/>
                      <a:pt x="588" y="1454"/>
                      <a:pt x="586" y="1448"/>
                    </a:cubicBezTo>
                    <a:cubicBezTo>
                      <a:pt x="570" y="1444"/>
                      <a:pt x="554" y="1440"/>
                      <a:pt x="538" y="1435"/>
                    </a:cubicBezTo>
                    <a:cubicBezTo>
                      <a:pt x="536" y="1441"/>
                      <a:pt x="539" y="1450"/>
                      <a:pt x="541" y="1455"/>
                    </a:cubicBezTo>
                    <a:close/>
                    <a:moveTo>
                      <a:pt x="466" y="1437"/>
                    </a:moveTo>
                    <a:cubicBezTo>
                      <a:pt x="466" y="1437"/>
                      <a:pt x="466" y="1437"/>
                      <a:pt x="466" y="1438"/>
                    </a:cubicBezTo>
                    <a:cubicBezTo>
                      <a:pt x="476" y="1446"/>
                      <a:pt x="485" y="1455"/>
                      <a:pt x="495" y="1463"/>
                    </a:cubicBezTo>
                    <a:cubicBezTo>
                      <a:pt x="514" y="1467"/>
                      <a:pt x="531" y="1473"/>
                      <a:pt x="552" y="1474"/>
                    </a:cubicBezTo>
                    <a:moveTo>
                      <a:pt x="552" y="1474"/>
                    </a:moveTo>
                    <a:cubicBezTo>
                      <a:pt x="552" y="1475"/>
                      <a:pt x="553" y="1474"/>
                      <a:pt x="552" y="1474"/>
                    </a:cubicBezTo>
                    <a:moveTo>
                      <a:pt x="552" y="1474"/>
                    </a:moveTo>
                    <a:cubicBezTo>
                      <a:pt x="547" y="1468"/>
                      <a:pt x="542" y="1463"/>
                      <a:pt x="538" y="1456"/>
                    </a:cubicBezTo>
                    <a:cubicBezTo>
                      <a:pt x="512" y="1451"/>
                      <a:pt x="490" y="1443"/>
                      <a:pt x="466" y="1437"/>
                    </a:cubicBezTo>
                    <a:moveTo>
                      <a:pt x="466" y="1437"/>
                    </a:moveTo>
                    <a:cubicBezTo>
                      <a:pt x="466" y="1435"/>
                      <a:pt x="465" y="1437"/>
                      <a:pt x="466" y="1437"/>
                    </a:cubicBezTo>
                    <a:moveTo>
                      <a:pt x="888" y="1463"/>
                    </a:moveTo>
                    <a:cubicBezTo>
                      <a:pt x="888" y="1467"/>
                      <a:pt x="885" y="1469"/>
                      <a:pt x="884" y="1472"/>
                    </a:cubicBezTo>
                    <a:cubicBezTo>
                      <a:pt x="919" y="1472"/>
                      <a:pt x="949" y="1466"/>
                      <a:pt x="980" y="1462"/>
                    </a:cubicBezTo>
                    <a:cubicBezTo>
                      <a:pt x="982" y="1456"/>
                      <a:pt x="988" y="1448"/>
                      <a:pt x="986" y="1441"/>
                    </a:cubicBezTo>
                    <a:cubicBezTo>
                      <a:pt x="956" y="1451"/>
                      <a:pt x="922" y="1458"/>
                      <a:pt x="888" y="1463"/>
                    </a:cubicBezTo>
                    <a:close/>
                    <a:moveTo>
                      <a:pt x="1098" y="1445"/>
                    </a:moveTo>
                    <a:cubicBezTo>
                      <a:pt x="1098" y="1445"/>
                      <a:pt x="1099" y="1446"/>
                      <a:pt x="1098" y="1445"/>
                    </a:cubicBezTo>
                    <a:close/>
                    <a:moveTo>
                      <a:pt x="423" y="1450"/>
                    </a:moveTo>
                    <a:cubicBezTo>
                      <a:pt x="423" y="1450"/>
                      <a:pt x="424" y="1451"/>
                      <a:pt x="423" y="1450"/>
                    </a:cubicBezTo>
                    <a:close/>
                    <a:moveTo>
                      <a:pt x="600" y="1464"/>
                    </a:moveTo>
                    <a:cubicBezTo>
                      <a:pt x="639" y="1469"/>
                      <a:pt x="688" y="1474"/>
                      <a:pt x="730" y="1469"/>
                    </a:cubicBezTo>
                    <a:cubicBezTo>
                      <a:pt x="679" y="1467"/>
                      <a:pt x="633" y="1459"/>
                      <a:pt x="590" y="1449"/>
                    </a:cubicBezTo>
                    <a:cubicBezTo>
                      <a:pt x="593" y="1455"/>
                      <a:pt x="595" y="1461"/>
                      <a:pt x="600" y="1464"/>
                    </a:cubicBezTo>
                    <a:close/>
                    <a:moveTo>
                      <a:pt x="888" y="1449"/>
                    </a:moveTo>
                    <a:cubicBezTo>
                      <a:pt x="859" y="1457"/>
                      <a:pt x="828" y="1462"/>
                      <a:pt x="797" y="1467"/>
                    </a:cubicBezTo>
                    <a:cubicBezTo>
                      <a:pt x="795" y="1467"/>
                      <a:pt x="793" y="1467"/>
                      <a:pt x="792" y="1467"/>
                    </a:cubicBezTo>
                    <a:cubicBezTo>
                      <a:pt x="790" y="1468"/>
                      <a:pt x="792" y="1469"/>
                      <a:pt x="794" y="1468"/>
                    </a:cubicBezTo>
                    <a:cubicBezTo>
                      <a:pt x="826" y="1467"/>
                      <a:pt x="856" y="1465"/>
                      <a:pt x="885" y="1461"/>
                    </a:cubicBezTo>
                    <a:cubicBezTo>
                      <a:pt x="887" y="1457"/>
                      <a:pt x="888" y="1453"/>
                      <a:pt x="890" y="1449"/>
                    </a:cubicBezTo>
                    <a:cubicBezTo>
                      <a:pt x="889" y="1449"/>
                      <a:pt x="888" y="1449"/>
                      <a:pt x="888" y="1449"/>
                    </a:cubicBezTo>
                    <a:close/>
                    <a:moveTo>
                      <a:pt x="425" y="1451"/>
                    </a:moveTo>
                    <a:cubicBezTo>
                      <a:pt x="425" y="1451"/>
                      <a:pt x="426" y="1452"/>
                      <a:pt x="425" y="1451"/>
                    </a:cubicBezTo>
                    <a:close/>
                    <a:moveTo>
                      <a:pt x="427" y="1452"/>
                    </a:moveTo>
                    <a:cubicBezTo>
                      <a:pt x="427" y="1452"/>
                      <a:pt x="428" y="1453"/>
                      <a:pt x="427" y="1452"/>
                    </a:cubicBezTo>
                    <a:close/>
                    <a:moveTo>
                      <a:pt x="429" y="1453"/>
                    </a:moveTo>
                    <a:cubicBezTo>
                      <a:pt x="428" y="1453"/>
                      <a:pt x="430" y="1454"/>
                      <a:pt x="429" y="1453"/>
                    </a:cubicBezTo>
                    <a:close/>
                    <a:moveTo>
                      <a:pt x="749" y="1462"/>
                    </a:moveTo>
                    <a:cubicBezTo>
                      <a:pt x="749" y="1462"/>
                      <a:pt x="750" y="1462"/>
                      <a:pt x="750" y="1463"/>
                    </a:cubicBezTo>
                    <a:moveTo>
                      <a:pt x="750" y="1463"/>
                    </a:moveTo>
                    <a:cubicBezTo>
                      <a:pt x="751" y="1464"/>
                      <a:pt x="752" y="1462"/>
                      <a:pt x="750" y="1463"/>
                    </a:cubicBezTo>
                    <a:moveTo>
                      <a:pt x="750" y="1463"/>
                    </a:moveTo>
                    <a:cubicBezTo>
                      <a:pt x="750" y="1462"/>
                      <a:pt x="749" y="1462"/>
                      <a:pt x="749" y="1462"/>
                    </a:cubicBezTo>
                    <a:moveTo>
                      <a:pt x="749" y="1462"/>
                    </a:moveTo>
                    <a:cubicBezTo>
                      <a:pt x="746" y="1458"/>
                      <a:pt x="742" y="1456"/>
                      <a:pt x="739" y="1453"/>
                    </a:cubicBezTo>
                    <a:cubicBezTo>
                      <a:pt x="738" y="1460"/>
                      <a:pt x="744" y="1460"/>
                      <a:pt x="749" y="1462"/>
                    </a:cubicBezTo>
                    <a:moveTo>
                      <a:pt x="559" y="1476"/>
                    </a:moveTo>
                    <a:cubicBezTo>
                      <a:pt x="572" y="1480"/>
                      <a:pt x="590" y="1477"/>
                      <a:pt x="605" y="1480"/>
                    </a:cubicBezTo>
                    <a:cubicBezTo>
                      <a:pt x="605" y="1476"/>
                      <a:pt x="598" y="1472"/>
                      <a:pt x="597" y="1466"/>
                    </a:cubicBezTo>
                    <a:cubicBezTo>
                      <a:pt x="577" y="1465"/>
                      <a:pt x="561" y="1460"/>
                      <a:pt x="543" y="1458"/>
                    </a:cubicBezTo>
                    <a:cubicBezTo>
                      <a:pt x="547" y="1464"/>
                      <a:pt x="551" y="1473"/>
                      <a:pt x="559" y="1476"/>
                    </a:cubicBezTo>
                    <a:close/>
                    <a:moveTo>
                      <a:pt x="981" y="1463"/>
                    </a:moveTo>
                    <a:cubicBezTo>
                      <a:pt x="976" y="1471"/>
                      <a:pt x="970" y="1476"/>
                      <a:pt x="964" y="1481"/>
                    </a:cubicBezTo>
                    <a:cubicBezTo>
                      <a:pt x="972" y="1480"/>
                      <a:pt x="978" y="1479"/>
                      <a:pt x="986" y="1478"/>
                    </a:cubicBezTo>
                    <a:cubicBezTo>
                      <a:pt x="993" y="1472"/>
                      <a:pt x="1000" y="1466"/>
                      <a:pt x="1007" y="1460"/>
                    </a:cubicBezTo>
                    <a:cubicBezTo>
                      <a:pt x="1007" y="1458"/>
                      <a:pt x="1008" y="1458"/>
                      <a:pt x="1006" y="1458"/>
                    </a:cubicBezTo>
                    <a:cubicBezTo>
                      <a:pt x="998" y="1460"/>
                      <a:pt x="989" y="1461"/>
                      <a:pt x="981" y="1463"/>
                    </a:cubicBezTo>
                    <a:close/>
                    <a:moveTo>
                      <a:pt x="1069" y="1460"/>
                    </a:moveTo>
                    <a:cubicBezTo>
                      <a:pt x="1069" y="1459"/>
                      <a:pt x="1070" y="1460"/>
                      <a:pt x="1069" y="1460"/>
                    </a:cubicBezTo>
                    <a:close/>
                    <a:moveTo>
                      <a:pt x="1066" y="1461"/>
                    </a:moveTo>
                    <a:cubicBezTo>
                      <a:pt x="1041" y="1468"/>
                      <a:pt x="1016" y="1476"/>
                      <a:pt x="987" y="1480"/>
                    </a:cubicBezTo>
                    <a:cubicBezTo>
                      <a:pt x="984" y="1484"/>
                      <a:pt x="979" y="1485"/>
                      <a:pt x="976" y="1488"/>
                    </a:cubicBezTo>
                    <a:cubicBezTo>
                      <a:pt x="1008" y="1481"/>
                      <a:pt x="1042" y="1475"/>
                      <a:pt x="1066" y="1461"/>
                    </a:cubicBezTo>
                    <a:moveTo>
                      <a:pt x="1066" y="1461"/>
                    </a:moveTo>
                    <a:cubicBezTo>
                      <a:pt x="1070" y="1462"/>
                      <a:pt x="1067" y="1458"/>
                      <a:pt x="1066" y="1461"/>
                    </a:cubicBezTo>
                    <a:moveTo>
                      <a:pt x="742" y="1463"/>
                    </a:moveTo>
                    <a:cubicBezTo>
                      <a:pt x="742" y="1465"/>
                      <a:pt x="746" y="1462"/>
                      <a:pt x="742" y="1463"/>
                    </a:cubicBezTo>
                    <a:moveTo>
                      <a:pt x="742" y="1463"/>
                    </a:moveTo>
                    <a:cubicBezTo>
                      <a:pt x="741" y="1462"/>
                      <a:pt x="740" y="1461"/>
                      <a:pt x="739" y="1461"/>
                    </a:cubicBezTo>
                    <a:cubicBezTo>
                      <a:pt x="739" y="1463"/>
                      <a:pt x="740" y="1462"/>
                      <a:pt x="742" y="1463"/>
                    </a:cubicBezTo>
                    <a:moveTo>
                      <a:pt x="1072" y="1462"/>
                    </a:moveTo>
                    <a:cubicBezTo>
                      <a:pt x="1072" y="1461"/>
                      <a:pt x="1073" y="1462"/>
                      <a:pt x="1072" y="1462"/>
                    </a:cubicBezTo>
                    <a:close/>
                    <a:moveTo>
                      <a:pt x="774" y="1463"/>
                    </a:moveTo>
                    <a:cubicBezTo>
                      <a:pt x="774" y="1463"/>
                      <a:pt x="775" y="1464"/>
                      <a:pt x="774" y="1463"/>
                    </a:cubicBezTo>
                    <a:close/>
                    <a:moveTo>
                      <a:pt x="746" y="1464"/>
                    </a:moveTo>
                    <a:cubicBezTo>
                      <a:pt x="745" y="1464"/>
                      <a:pt x="746" y="1465"/>
                      <a:pt x="746" y="1464"/>
                    </a:cubicBezTo>
                    <a:close/>
                    <a:moveTo>
                      <a:pt x="780" y="1464"/>
                    </a:moveTo>
                    <a:cubicBezTo>
                      <a:pt x="780" y="1464"/>
                      <a:pt x="781" y="1465"/>
                      <a:pt x="780" y="1464"/>
                    </a:cubicBezTo>
                    <a:close/>
                    <a:moveTo>
                      <a:pt x="796" y="1472"/>
                    </a:moveTo>
                    <a:cubicBezTo>
                      <a:pt x="823" y="1473"/>
                      <a:pt x="851" y="1473"/>
                      <a:pt x="879" y="1473"/>
                    </a:cubicBezTo>
                    <a:cubicBezTo>
                      <a:pt x="879" y="1470"/>
                      <a:pt x="886" y="1464"/>
                      <a:pt x="882" y="1463"/>
                    </a:cubicBezTo>
                    <a:cubicBezTo>
                      <a:pt x="855" y="1469"/>
                      <a:pt x="823" y="1468"/>
                      <a:pt x="796" y="1472"/>
                    </a:cubicBezTo>
                    <a:close/>
                    <a:moveTo>
                      <a:pt x="882" y="1475"/>
                    </a:moveTo>
                    <a:cubicBezTo>
                      <a:pt x="882" y="1479"/>
                      <a:pt x="879" y="1481"/>
                      <a:pt x="878" y="1485"/>
                    </a:cubicBezTo>
                    <a:cubicBezTo>
                      <a:pt x="901" y="1482"/>
                      <a:pt x="937" y="1489"/>
                      <a:pt x="958" y="1482"/>
                    </a:cubicBezTo>
                    <a:cubicBezTo>
                      <a:pt x="961" y="1480"/>
                      <a:pt x="965" y="1476"/>
                      <a:pt x="968" y="1473"/>
                    </a:cubicBezTo>
                    <a:cubicBezTo>
                      <a:pt x="971" y="1470"/>
                      <a:pt x="977" y="1467"/>
                      <a:pt x="975" y="1464"/>
                    </a:cubicBezTo>
                    <a:cubicBezTo>
                      <a:pt x="946" y="1470"/>
                      <a:pt x="916" y="1474"/>
                      <a:pt x="882" y="1475"/>
                    </a:cubicBezTo>
                    <a:close/>
                    <a:moveTo>
                      <a:pt x="784" y="1466"/>
                    </a:moveTo>
                    <a:cubicBezTo>
                      <a:pt x="784" y="1466"/>
                      <a:pt x="785" y="1467"/>
                      <a:pt x="784" y="1466"/>
                    </a:cubicBezTo>
                    <a:close/>
                    <a:moveTo>
                      <a:pt x="503" y="1468"/>
                    </a:moveTo>
                    <a:cubicBezTo>
                      <a:pt x="520" y="1486"/>
                      <a:pt x="554" y="1491"/>
                      <a:pt x="582" y="1493"/>
                    </a:cubicBezTo>
                    <a:cubicBezTo>
                      <a:pt x="572" y="1490"/>
                      <a:pt x="565" y="1483"/>
                      <a:pt x="556" y="1478"/>
                    </a:cubicBezTo>
                    <a:cubicBezTo>
                      <a:pt x="537" y="1475"/>
                      <a:pt x="521" y="1471"/>
                      <a:pt x="503" y="1468"/>
                    </a:cubicBezTo>
                    <a:moveTo>
                      <a:pt x="503" y="1468"/>
                    </a:moveTo>
                    <a:cubicBezTo>
                      <a:pt x="502" y="1467"/>
                      <a:pt x="502" y="1468"/>
                      <a:pt x="503" y="1468"/>
                    </a:cubicBezTo>
                    <a:moveTo>
                      <a:pt x="611" y="1480"/>
                    </a:moveTo>
                    <a:cubicBezTo>
                      <a:pt x="653" y="1483"/>
                      <a:pt x="697" y="1480"/>
                      <a:pt x="732" y="1473"/>
                    </a:cubicBezTo>
                    <a:cubicBezTo>
                      <a:pt x="687" y="1475"/>
                      <a:pt x="642" y="1473"/>
                      <a:pt x="601" y="1467"/>
                    </a:cubicBezTo>
                    <a:cubicBezTo>
                      <a:pt x="604" y="1472"/>
                      <a:pt x="605" y="1478"/>
                      <a:pt x="611" y="1480"/>
                    </a:cubicBezTo>
                    <a:close/>
                    <a:moveTo>
                      <a:pt x="738" y="1472"/>
                    </a:moveTo>
                    <a:cubicBezTo>
                      <a:pt x="737" y="1472"/>
                      <a:pt x="736" y="1472"/>
                      <a:pt x="736" y="1473"/>
                    </a:cubicBezTo>
                    <a:cubicBezTo>
                      <a:pt x="737" y="1473"/>
                      <a:pt x="738" y="1473"/>
                      <a:pt x="738" y="1472"/>
                    </a:cubicBezTo>
                    <a:close/>
                    <a:moveTo>
                      <a:pt x="789" y="1473"/>
                    </a:moveTo>
                    <a:cubicBezTo>
                      <a:pt x="788" y="1473"/>
                      <a:pt x="786" y="1473"/>
                      <a:pt x="786" y="1474"/>
                    </a:cubicBezTo>
                    <a:cubicBezTo>
                      <a:pt x="787" y="1474"/>
                      <a:pt x="789" y="1474"/>
                      <a:pt x="789" y="1473"/>
                    </a:cubicBezTo>
                    <a:close/>
                    <a:moveTo>
                      <a:pt x="742" y="1475"/>
                    </a:moveTo>
                    <a:cubicBezTo>
                      <a:pt x="741" y="1475"/>
                      <a:pt x="742" y="1476"/>
                      <a:pt x="742" y="1475"/>
                    </a:cubicBezTo>
                    <a:close/>
                    <a:moveTo>
                      <a:pt x="745" y="1509"/>
                    </a:moveTo>
                    <a:cubicBezTo>
                      <a:pt x="748" y="1509"/>
                      <a:pt x="752" y="1509"/>
                      <a:pt x="755" y="1509"/>
                    </a:cubicBezTo>
                    <a:cubicBezTo>
                      <a:pt x="757" y="1498"/>
                      <a:pt x="761" y="1484"/>
                      <a:pt x="759" y="1474"/>
                    </a:cubicBezTo>
                    <a:cubicBezTo>
                      <a:pt x="754" y="1485"/>
                      <a:pt x="737" y="1490"/>
                      <a:pt x="745" y="1509"/>
                    </a:cubicBezTo>
                    <a:close/>
                    <a:moveTo>
                      <a:pt x="877" y="1476"/>
                    </a:moveTo>
                    <a:cubicBezTo>
                      <a:pt x="879" y="1475"/>
                      <a:pt x="877" y="1475"/>
                      <a:pt x="877" y="1476"/>
                    </a:cubicBezTo>
                    <a:moveTo>
                      <a:pt x="877" y="1476"/>
                    </a:moveTo>
                    <a:cubicBezTo>
                      <a:pt x="848" y="1477"/>
                      <a:pt x="817" y="1475"/>
                      <a:pt x="791" y="1475"/>
                    </a:cubicBezTo>
                    <a:cubicBezTo>
                      <a:pt x="817" y="1479"/>
                      <a:pt x="844" y="1483"/>
                      <a:pt x="873" y="1485"/>
                    </a:cubicBezTo>
                    <a:cubicBezTo>
                      <a:pt x="875" y="1482"/>
                      <a:pt x="877" y="1480"/>
                      <a:pt x="877" y="1476"/>
                    </a:cubicBezTo>
                    <a:moveTo>
                      <a:pt x="655" y="1493"/>
                    </a:moveTo>
                    <a:cubicBezTo>
                      <a:pt x="685" y="1490"/>
                      <a:pt x="715" y="1482"/>
                      <a:pt x="737" y="1477"/>
                    </a:cubicBezTo>
                    <a:cubicBezTo>
                      <a:pt x="737" y="1476"/>
                      <a:pt x="739" y="1475"/>
                      <a:pt x="736" y="1475"/>
                    </a:cubicBezTo>
                    <a:cubicBezTo>
                      <a:pt x="700" y="1482"/>
                      <a:pt x="655" y="1485"/>
                      <a:pt x="612" y="1483"/>
                    </a:cubicBezTo>
                    <a:cubicBezTo>
                      <a:pt x="615" y="1498"/>
                      <a:pt x="635" y="1496"/>
                      <a:pt x="655" y="1493"/>
                    </a:cubicBezTo>
                    <a:close/>
                    <a:moveTo>
                      <a:pt x="749" y="1476"/>
                    </a:moveTo>
                    <a:cubicBezTo>
                      <a:pt x="748" y="1476"/>
                      <a:pt x="749" y="1477"/>
                      <a:pt x="749" y="1476"/>
                    </a:cubicBezTo>
                    <a:close/>
                    <a:moveTo>
                      <a:pt x="754" y="1476"/>
                    </a:moveTo>
                    <a:cubicBezTo>
                      <a:pt x="749" y="1477"/>
                      <a:pt x="746" y="1481"/>
                      <a:pt x="741" y="1483"/>
                    </a:cubicBezTo>
                    <a:cubicBezTo>
                      <a:pt x="742" y="1484"/>
                      <a:pt x="741" y="1488"/>
                      <a:pt x="743" y="1489"/>
                    </a:cubicBezTo>
                    <a:cubicBezTo>
                      <a:pt x="746" y="1485"/>
                      <a:pt x="752" y="1481"/>
                      <a:pt x="754" y="1476"/>
                    </a:cubicBezTo>
                    <a:moveTo>
                      <a:pt x="754" y="1476"/>
                    </a:moveTo>
                    <a:cubicBezTo>
                      <a:pt x="756" y="1475"/>
                      <a:pt x="754" y="1475"/>
                      <a:pt x="754" y="1476"/>
                    </a:cubicBezTo>
                    <a:moveTo>
                      <a:pt x="773" y="1476"/>
                    </a:moveTo>
                    <a:cubicBezTo>
                      <a:pt x="772" y="1476"/>
                      <a:pt x="773" y="1477"/>
                      <a:pt x="773" y="1476"/>
                    </a:cubicBezTo>
                    <a:close/>
                    <a:moveTo>
                      <a:pt x="782" y="1475"/>
                    </a:moveTo>
                    <a:cubicBezTo>
                      <a:pt x="781" y="1475"/>
                      <a:pt x="780" y="1475"/>
                      <a:pt x="780" y="1476"/>
                    </a:cubicBezTo>
                    <a:cubicBezTo>
                      <a:pt x="781" y="1476"/>
                      <a:pt x="782" y="1476"/>
                      <a:pt x="782" y="1475"/>
                    </a:cubicBezTo>
                    <a:close/>
                    <a:moveTo>
                      <a:pt x="746" y="1477"/>
                    </a:moveTo>
                    <a:cubicBezTo>
                      <a:pt x="743" y="1476"/>
                      <a:pt x="739" y="1478"/>
                      <a:pt x="742" y="1480"/>
                    </a:cubicBezTo>
                    <a:cubicBezTo>
                      <a:pt x="742" y="1478"/>
                      <a:pt x="745" y="1479"/>
                      <a:pt x="746" y="1477"/>
                    </a:cubicBezTo>
                    <a:moveTo>
                      <a:pt x="746" y="1477"/>
                    </a:moveTo>
                    <a:cubicBezTo>
                      <a:pt x="750" y="1478"/>
                      <a:pt x="746" y="1474"/>
                      <a:pt x="746" y="1477"/>
                    </a:cubicBezTo>
                    <a:moveTo>
                      <a:pt x="758" y="1509"/>
                    </a:moveTo>
                    <a:cubicBezTo>
                      <a:pt x="768" y="1509"/>
                      <a:pt x="777" y="1509"/>
                      <a:pt x="787" y="1509"/>
                    </a:cubicBezTo>
                    <a:cubicBezTo>
                      <a:pt x="781" y="1500"/>
                      <a:pt x="770" y="1487"/>
                      <a:pt x="763" y="1476"/>
                    </a:cubicBezTo>
                    <a:cubicBezTo>
                      <a:pt x="761" y="1486"/>
                      <a:pt x="760" y="1498"/>
                      <a:pt x="758" y="1509"/>
                    </a:cubicBezTo>
                    <a:close/>
                    <a:moveTo>
                      <a:pt x="796" y="1509"/>
                    </a:moveTo>
                    <a:cubicBezTo>
                      <a:pt x="804" y="1511"/>
                      <a:pt x="813" y="1505"/>
                      <a:pt x="826" y="1508"/>
                    </a:cubicBezTo>
                    <a:cubicBezTo>
                      <a:pt x="807" y="1497"/>
                      <a:pt x="786" y="1489"/>
                      <a:pt x="769" y="1476"/>
                    </a:cubicBezTo>
                    <a:cubicBezTo>
                      <a:pt x="777" y="1485"/>
                      <a:pt x="782" y="1505"/>
                      <a:pt x="796" y="1509"/>
                    </a:cubicBezTo>
                    <a:close/>
                    <a:moveTo>
                      <a:pt x="837" y="1507"/>
                    </a:moveTo>
                    <a:cubicBezTo>
                      <a:pt x="844" y="1507"/>
                      <a:pt x="860" y="1507"/>
                      <a:pt x="864" y="1499"/>
                    </a:cubicBezTo>
                    <a:cubicBezTo>
                      <a:pt x="831" y="1496"/>
                      <a:pt x="800" y="1484"/>
                      <a:pt x="774" y="1477"/>
                    </a:cubicBezTo>
                    <a:cubicBezTo>
                      <a:pt x="791" y="1485"/>
                      <a:pt x="814" y="1505"/>
                      <a:pt x="837" y="1507"/>
                    </a:cubicBezTo>
                    <a:close/>
                    <a:moveTo>
                      <a:pt x="865" y="1497"/>
                    </a:moveTo>
                    <a:cubicBezTo>
                      <a:pt x="867" y="1494"/>
                      <a:pt x="870" y="1491"/>
                      <a:pt x="871" y="1487"/>
                    </a:cubicBezTo>
                    <a:cubicBezTo>
                      <a:pt x="839" y="1487"/>
                      <a:pt x="810" y="1479"/>
                      <a:pt x="783" y="1477"/>
                    </a:cubicBezTo>
                    <a:cubicBezTo>
                      <a:pt x="809" y="1485"/>
                      <a:pt x="835" y="1493"/>
                      <a:pt x="865" y="1497"/>
                    </a:cubicBezTo>
                    <a:close/>
                    <a:moveTo>
                      <a:pt x="617" y="1495"/>
                    </a:moveTo>
                    <a:cubicBezTo>
                      <a:pt x="616" y="1492"/>
                      <a:pt x="610" y="1486"/>
                      <a:pt x="606" y="1483"/>
                    </a:cubicBezTo>
                    <a:cubicBezTo>
                      <a:pt x="592" y="1483"/>
                      <a:pt x="576" y="1479"/>
                      <a:pt x="563" y="1480"/>
                    </a:cubicBezTo>
                    <a:cubicBezTo>
                      <a:pt x="577" y="1489"/>
                      <a:pt x="591" y="1498"/>
                      <a:pt x="617" y="1495"/>
                    </a:cubicBezTo>
                    <a:close/>
                    <a:moveTo>
                      <a:pt x="626" y="1499"/>
                    </a:moveTo>
                    <a:cubicBezTo>
                      <a:pt x="667" y="1513"/>
                      <a:pt x="710" y="1498"/>
                      <a:pt x="738" y="1480"/>
                    </a:cubicBezTo>
                    <a:cubicBezTo>
                      <a:pt x="706" y="1488"/>
                      <a:pt x="665" y="1495"/>
                      <a:pt x="626" y="1499"/>
                    </a:cubicBezTo>
                    <a:close/>
                    <a:moveTo>
                      <a:pt x="1025" y="1480"/>
                    </a:moveTo>
                    <a:cubicBezTo>
                      <a:pt x="1025" y="1479"/>
                      <a:pt x="1026" y="1480"/>
                      <a:pt x="1025" y="1480"/>
                    </a:cubicBezTo>
                    <a:close/>
                    <a:moveTo>
                      <a:pt x="1022" y="1481"/>
                    </a:moveTo>
                    <a:cubicBezTo>
                      <a:pt x="1023" y="1481"/>
                      <a:pt x="1022" y="1480"/>
                      <a:pt x="1022" y="1481"/>
                    </a:cubicBezTo>
                    <a:close/>
                    <a:moveTo>
                      <a:pt x="516" y="1482"/>
                    </a:moveTo>
                    <a:cubicBezTo>
                      <a:pt x="516" y="1481"/>
                      <a:pt x="517" y="1482"/>
                      <a:pt x="516" y="1482"/>
                    </a:cubicBezTo>
                    <a:close/>
                    <a:moveTo>
                      <a:pt x="1018" y="1482"/>
                    </a:moveTo>
                    <a:cubicBezTo>
                      <a:pt x="1001" y="1486"/>
                      <a:pt x="981" y="1488"/>
                      <a:pt x="966" y="1495"/>
                    </a:cubicBezTo>
                    <a:moveTo>
                      <a:pt x="966" y="1495"/>
                    </a:moveTo>
                    <a:cubicBezTo>
                      <a:pt x="962" y="1494"/>
                      <a:pt x="965" y="1498"/>
                      <a:pt x="966" y="1495"/>
                    </a:cubicBezTo>
                    <a:moveTo>
                      <a:pt x="966" y="1495"/>
                    </a:moveTo>
                    <a:cubicBezTo>
                      <a:pt x="985" y="1493"/>
                      <a:pt x="1002" y="1488"/>
                      <a:pt x="1018" y="1482"/>
                    </a:cubicBezTo>
                    <a:moveTo>
                      <a:pt x="1018" y="1482"/>
                    </a:moveTo>
                    <a:cubicBezTo>
                      <a:pt x="1022" y="1483"/>
                      <a:pt x="1019" y="1479"/>
                      <a:pt x="1018" y="1482"/>
                    </a:cubicBezTo>
                    <a:moveTo>
                      <a:pt x="940" y="1495"/>
                    </a:moveTo>
                    <a:cubicBezTo>
                      <a:pt x="955" y="1492"/>
                      <a:pt x="972" y="1491"/>
                      <a:pt x="980" y="1482"/>
                    </a:cubicBezTo>
                    <a:cubicBezTo>
                      <a:pt x="962" y="1482"/>
                      <a:pt x="950" y="1488"/>
                      <a:pt x="940" y="1495"/>
                    </a:cubicBezTo>
                    <a:close/>
                    <a:moveTo>
                      <a:pt x="681" y="1507"/>
                    </a:moveTo>
                    <a:cubicBezTo>
                      <a:pt x="694" y="1507"/>
                      <a:pt x="707" y="1507"/>
                      <a:pt x="719" y="1509"/>
                    </a:cubicBezTo>
                    <a:cubicBezTo>
                      <a:pt x="726" y="1503"/>
                      <a:pt x="734" y="1498"/>
                      <a:pt x="740" y="1491"/>
                    </a:cubicBezTo>
                    <a:cubicBezTo>
                      <a:pt x="737" y="1491"/>
                      <a:pt x="741" y="1484"/>
                      <a:pt x="738" y="1484"/>
                    </a:cubicBezTo>
                    <a:cubicBezTo>
                      <a:pt x="722" y="1494"/>
                      <a:pt x="700" y="1499"/>
                      <a:pt x="681" y="1507"/>
                    </a:cubicBezTo>
                    <a:close/>
                    <a:moveTo>
                      <a:pt x="876" y="1487"/>
                    </a:moveTo>
                    <a:cubicBezTo>
                      <a:pt x="874" y="1491"/>
                      <a:pt x="871" y="1493"/>
                      <a:pt x="870" y="1498"/>
                    </a:cubicBezTo>
                    <a:cubicBezTo>
                      <a:pt x="900" y="1502"/>
                      <a:pt x="934" y="1501"/>
                      <a:pt x="950" y="1486"/>
                    </a:cubicBezTo>
                    <a:cubicBezTo>
                      <a:pt x="927" y="1487"/>
                      <a:pt x="902" y="1488"/>
                      <a:pt x="876" y="1487"/>
                    </a:cubicBezTo>
                    <a:close/>
                    <a:moveTo>
                      <a:pt x="542" y="1492"/>
                    </a:moveTo>
                    <a:cubicBezTo>
                      <a:pt x="542" y="1492"/>
                      <a:pt x="543" y="1493"/>
                      <a:pt x="542" y="1492"/>
                    </a:cubicBezTo>
                    <a:close/>
                    <a:moveTo>
                      <a:pt x="570" y="1495"/>
                    </a:moveTo>
                    <a:cubicBezTo>
                      <a:pt x="565" y="1495"/>
                      <a:pt x="538" y="1491"/>
                      <a:pt x="548" y="1494"/>
                    </a:cubicBezTo>
                    <a:cubicBezTo>
                      <a:pt x="571" y="1502"/>
                      <a:pt x="600" y="1512"/>
                      <a:pt x="625" y="1510"/>
                    </a:cubicBezTo>
                    <a:cubicBezTo>
                      <a:pt x="606" y="1504"/>
                      <a:pt x="592" y="1498"/>
                      <a:pt x="570" y="1495"/>
                    </a:cubicBezTo>
                    <a:close/>
                    <a:moveTo>
                      <a:pt x="958" y="1495"/>
                    </a:moveTo>
                    <a:cubicBezTo>
                      <a:pt x="949" y="1496"/>
                      <a:pt x="942" y="1497"/>
                      <a:pt x="935" y="1499"/>
                    </a:cubicBezTo>
                    <a:cubicBezTo>
                      <a:pt x="943" y="1498"/>
                      <a:pt x="953" y="1499"/>
                      <a:pt x="958" y="1495"/>
                    </a:cubicBezTo>
                    <a:moveTo>
                      <a:pt x="958" y="1495"/>
                    </a:moveTo>
                    <a:cubicBezTo>
                      <a:pt x="962" y="1496"/>
                      <a:pt x="958" y="1492"/>
                      <a:pt x="958" y="1495"/>
                    </a:cubicBezTo>
                    <a:moveTo>
                      <a:pt x="724" y="1509"/>
                    </a:moveTo>
                    <a:cubicBezTo>
                      <a:pt x="730" y="1509"/>
                      <a:pt x="736" y="1509"/>
                      <a:pt x="742" y="1509"/>
                    </a:cubicBezTo>
                    <a:cubicBezTo>
                      <a:pt x="740" y="1505"/>
                      <a:pt x="741" y="1498"/>
                      <a:pt x="739" y="1495"/>
                    </a:cubicBezTo>
                    <a:cubicBezTo>
                      <a:pt x="735" y="1501"/>
                      <a:pt x="728" y="1504"/>
                      <a:pt x="724" y="1509"/>
                    </a:cubicBezTo>
                    <a:close/>
                    <a:moveTo>
                      <a:pt x="613" y="1499"/>
                    </a:moveTo>
                    <a:cubicBezTo>
                      <a:pt x="615" y="1500"/>
                      <a:pt x="623" y="1501"/>
                      <a:pt x="624" y="1500"/>
                    </a:cubicBezTo>
                    <a:cubicBezTo>
                      <a:pt x="622" y="1496"/>
                      <a:pt x="599" y="1499"/>
                      <a:pt x="613" y="1499"/>
                    </a:cubicBezTo>
                    <a:close/>
                    <a:moveTo>
                      <a:pt x="929" y="1500"/>
                    </a:moveTo>
                    <a:cubicBezTo>
                      <a:pt x="929" y="1500"/>
                      <a:pt x="930" y="1501"/>
                      <a:pt x="929" y="1500"/>
                    </a:cubicBezTo>
                    <a:close/>
                    <a:moveTo>
                      <a:pt x="865" y="1505"/>
                    </a:moveTo>
                    <a:cubicBezTo>
                      <a:pt x="871" y="1503"/>
                      <a:pt x="880" y="1504"/>
                      <a:pt x="886" y="1502"/>
                    </a:cubicBezTo>
                    <a:cubicBezTo>
                      <a:pt x="879" y="1502"/>
                      <a:pt x="867" y="1497"/>
                      <a:pt x="865" y="1505"/>
                    </a:cubicBezTo>
                    <a:close/>
                    <a:moveTo>
                      <a:pt x="608" y="1501"/>
                    </a:moveTo>
                    <a:cubicBezTo>
                      <a:pt x="608" y="1501"/>
                      <a:pt x="607" y="1501"/>
                      <a:pt x="606" y="1502"/>
                    </a:cubicBezTo>
                    <a:cubicBezTo>
                      <a:pt x="607" y="1502"/>
                      <a:pt x="608" y="1502"/>
                      <a:pt x="608" y="1501"/>
                    </a:cubicBezTo>
                    <a:close/>
                    <a:moveTo>
                      <a:pt x="885" y="1514"/>
                    </a:moveTo>
                    <a:cubicBezTo>
                      <a:pt x="909" y="1514"/>
                      <a:pt x="929" y="1509"/>
                      <a:pt x="946" y="1501"/>
                    </a:cubicBezTo>
                    <a:cubicBezTo>
                      <a:pt x="921" y="1500"/>
                      <a:pt x="904" y="1509"/>
                      <a:pt x="885" y="1514"/>
                    </a:cubicBezTo>
                    <a:close/>
                    <a:moveTo>
                      <a:pt x="633" y="1509"/>
                    </a:moveTo>
                    <a:cubicBezTo>
                      <a:pt x="629" y="1504"/>
                      <a:pt x="618" y="1501"/>
                      <a:pt x="609" y="1503"/>
                    </a:cubicBezTo>
                    <a:cubicBezTo>
                      <a:pt x="618" y="1504"/>
                      <a:pt x="626" y="1509"/>
                      <a:pt x="633" y="1509"/>
                    </a:cubicBezTo>
                    <a:close/>
                    <a:moveTo>
                      <a:pt x="858" y="1512"/>
                    </a:moveTo>
                    <a:cubicBezTo>
                      <a:pt x="879" y="1516"/>
                      <a:pt x="896" y="1508"/>
                      <a:pt x="912" y="1503"/>
                    </a:cubicBezTo>
                    <a:cubicBezTo>
                      <a:pt x="893" y="1506"/>
                      <a:pt x="869" y="1502"/>
                      <a:pt x="858" y="1512"/>
                    </a:cubicBezTo>
                    <a:close/>
                    <a:moveTo>
                      <a:pt x="659" y="1507"/>
                    </a:moveTo>
                    <a:cubicBezTo>
                      <a:pt x="650" y="1508"/>
                      <a:pt x="641" y="1503"/>
                      <a:pt x="633" y="1506"/>
                    </a:cubicBezTo>
                    <a:cubicBezTo>
                      <a:pt x="638" y="1512"/>
                      <a:pt x="652" y="1509"/>
                      <a:pt x="659" y="1507"/>
                    </a:cubicBezTo>
                    <a:close/>
                    <a:moveTo>
                      <a:pt x="645" y="1512"/>
                    </a:moveTo>
                    <a:cubicBezTo>
                      <a:pt x="667" y="1518"/>
                      <a:pt x="698" y="1526"/>
                      <a:pt x="714" y="1511"/>
                    </a:cubicBezTo>
                    <a:cubicBezTo>
                      <a:pt x="688" y="1510"/>
                      <a:pt x="666" y="1506"/>
                      <a:pt x="645" y="1512"/>
                    </a:cubicBezTo>
                    <a:close/>
                    <a:moveTo>
                      <a:pt x="845" y="1510"/>
                    </a:moveTo>
                    <a:cubicBezTo>
                      <a:pt x="849" y="1510"/>
                      <a:pt x="855" y="1512"/>
                      <a:pt x="856" y="1508"/>
                    </a:cubicBezTo>
                    <a:cubicBezTo>
                      <a:pt x="852" y="1509"/>
                      <a:pt x="847" y="1508"/>
                      <a:pt x="845" y="1510"/>
                    </a:cubicBezTo>
                    <a:close/>
                    <a:moveTo>
                      <a:pt x="798" y="1512"/>
                    </a:moveTo>
                    <a:cubicBezTo>
                      <a:pt x="808" y="1524"/>
                      <a:pt x="839" y="1525"/>
                      <a:pt x="850" y="1513"/>
                    </a:cubicBezTo>
                    <a:cubicBezTo>
                      <a:pt x="837" y="1508"/>
                      <a:pt x="813" y="1509"/>
                      <a:pt x="798" y="1512"/>
                    </a:cubicBezTo>
                    <a:close/>
                    <a:moveTo>
                      <a:pt x="699" y="1522"/>
                    </a:moveTo>
                    <a:cubicBezTo>
                      <a:pt x="714" y="1522"/>
                      <a:pt x="731" y="1526"/>
                      <a:pt x="746" y="1524"/>
                    </a:cubicBezTo>
                    <a:cubicBezTo>
                      <a:pt x="743" y="1521"/>
                      <a:pt x="744" y="1515"/>
                      <a:pt x="742" y="1511"/>
                    </a:cubicBezTo>
                    <a:cubicBezTo>
                      <a:pt x="721" y="1509"/>
                      <a:pt x="710" y="1514"/>
                      <a:pt x="699" y="1522"/>
                    </a:cubicBezTo>
                    <a:close/>
                    <a:moveTo>
                      <a:pt x="750" y="1525"/>
                    </a:moveTo>
                    <a:cubicBezTo>
                      <a:pt x="753" y="1522"/>
                      <a:pt x="754" y="1517"/>
                      <a:pt x="754" y="1511"/>
                    </a:cubicBezTo>
                    <a:cubicBezTo>
                      <a:pt x="751" y="1511"/>
                      <a:pt x="748" y="1511"/>
                      <a:pt x="745" y="1511"/>
                    </a:cubicBezTo>
                    <a:cubicBezTo>
                      <a:pt x="747" y="1516"/>
                      <a:pt x="745" y="1524"/>
                      <a:pt x="750" y="1525"/>
                    </a:cubicBezTo>
                    <a:close/>
                    <a:moveTo>
                      <a:pt x="790" y="1511"/>
                    </a:moveTo>
                    <a:cubicBezTo>
                      <a:pt x="779" y="1511"/>
                      <a:pt x="768" y="1511"/>
                      <a:pt x="757" y="1511"/>
                    </a:cubicBezTo>
                    <a:cubicBezTo>
                      <a:pt x="757" y="1517"/>
                      <a:pt x="755" y="1520"/>
                      <a:pt x="754" y="1525"/>
                    </a:cubicBezTo>
                    <a:cubicBezTo>
                      <a:pt x="773" y="1525"/>
                      <a:pt x="792" y="1526"/>
                      <a:pt x="807" y="1522"/>
                    </a:cubicBezTo>
                    <a:cubicBezTo>
                      <a:pt x="800" y="1520"/>
                      <a:pt x="797" y="1514"/>
                      <a:pt x="790" y="1511"/>
                    </a:cubicBezTo>
                    <a:close/>
                    <a:moveTo>
                      <a:pt x="852" y="1517"/>
                    </a:moveTo>
                    <a:cubicBezTo>
                      <a:pt x="851" y="1518"/>
                      <a:pt x="852" y="1518"/>
                      <a:pt x="852" y="1517"/>
                    </a:cubicBezTo>
                    <a:moveTo>
                      <a:pt x="852" y="1517"/>
                    </a:moveTo>
                    <a:cubicBezTo>
                      <a:pt x="857" y="1517"/>
                      <a:pt x="861" y="1517"/>
                      <a:pt x="864" y="1515"/>
                    </a:cubicBezTo>
                    <a:cubicBezTo>
                      <a:pt x="859" y="1515"/>
                      <a:pt x="854" y="1513"/>
                      <a:pt x="852" y="1517"/>
                    </a:cubicBezTo>
                    <a:moveTo>
                      <a:pt x="655" y="1518"/>
                    </a:moveTo>
                    <a:cubicBezTo>
                      <a:pt x="655" y="1518"/>
                      <a:pt x="656" y="1519"/>
                      <a:pt x="655" y="1518"/>
                    </a:cubicBezTo>
                    <a:close/>
                    <a:moveTo>
                      <a:pt x="674" y="1522"/>
                    </a:moveTo>
                    <a:cubicBezTo>
                      <a:pt x="679" y="1522"/>
                      <a:pt x="678" y="1522"/>
                      <a:pt x="674" y="1521"/>
                    </a:cubicBezTo>
                    <a:cubicBezTo>
                      <a:pt x="672" y="1521"/>
                      <a:pt x="662" y="1518"/>
                      <a:pt x="658" y="1519"/>
                    </a:cubicBezTo>
                    <a:cubicBezTo>
                      <a:pt x="665" y="1520"/>
                      <a:pt x="671" y="1522"/>
                      <a:pt x="674" y="1522"/>
                    </a:cubicBezTo>
                    <a:close/>
                  </a:path>
                </a:pathLst>
              </a:custGeom>
              <a:solidFill>
                <a:srgbClr val="B2B2B2"/>
              </a:solidFill>
              <a:ln w="9525" cap="flat" cmpd="sng">
                <a:noFill/>
                <a:prstDash val="solid"/>
                <a:round/>
                <a:headEnd type="none" w="med" len="med"/>
                <a:tailEnd type="none" w="med" len="med"/>
              </a:ln>
            </p:spPr>
            <p:txBody>
              <a:bodyPr/>
              <a:lstStyle/>
              <a:p>
                <a:endParaRPr lang="en-GB" dirty="0"/>
              </a:p>
            </p:txBody>
          </p:sp>
          <p:sp>
            <p:nvSpPr>
              <p:cNvPr id="44" name="Freeform 71"/>
              <p:cNvSpPr>
                <a:spLocks noChangeAspect="1" noEditPoints="1"/>
              </p:cNvSpPr>
              <p:nvPr/>
            </p:nvSpPr>
            <p:spPr bwMode="auto">
              <a:xfrm>
                <a:off x="3655" y="1567"/>
                <a:ext cx="325" cy="330"/>
              </a:xfrm>
              <a:custGeom>
                <a:avLst/>
                <a:gdLst>
                  <a:gd name="T0" fmla="*/ 469 w 1656"/>
                  <a:gd name="T1" fmla="*/ 114 h 1688"/>
                  <a:gd name="T2" fmla="*/ 463 w 1656"/>
                  <a:gd name="T3" fmla="*/ 127 h 1688"/>
                  <a:gd name="T4" fmla="*/ 511 w 1656"/>
                  <a:gd name="T5" fmla="*/ 143 h 1688"/>
                  <a:gd name="T6" fmla="*/ 448 w 1656"/>
                  <a:gd name="T7" fmla="*/ 149 h 1688"/>
                  <a:gd name="T8" fmla="*/ 406 w 1656"/>
                  <a:gd name="T9" fmla="*/ 197 h 1688"/>
                  <a:gd name="T10" fmla="*/ 996 w 1656"/>
                  <a:gd name="T11" fmla="*/ 220 h 1688"/>
                  <a:gd name="T12" fmla="*/ 933 w 1656"/>
                  <a:gd name="T13" fmla="*/ 295 h 1688"/>
                  <a:gd name="T14" fmla="*/ 995 w 1656"/>
                  <a:gd name="T15" fmla="*/ 348 h 1688"/>
                  <a:gd name="T16" fmla="*/ 496 w 1656"/>
                  <a:gd name="T17" fmla="*/ 393 h 1688"/>
                  <a:gd name="T18" fmla="*/ 579 w 1656"/>
                  <a:gd name="T19" fmla="*/ 498 h 1688"/>
                  <a:gd name="T20" fmla="*/ 472 w 1656"/>
                  <a:gd name="T21" fmla="*/ 587 h 1688"/>
                  <a:gd name="T22" fmla="*/ 549 w 1656"/>
                  <a:gd name="T23" fmla="*/ 840 h 1688"/>
                  <a:gd name="T24" fmla="*/ 882 w 1656"/>
                  <a:gd name="T25" fmla="*/ 904 h 1688"/>
                  <a:gd name="T26" fmla="*/ 867 w 1656"/>
                  <a:gd name="T27" fmla="*/ 924 h 1688"/>
                  <a:gd name="T28" fmla="*/ 972 w 1656"/>
                  <a:gd name="T29" fmla="*/ 947 h 1688"/>
                  <a:gd name="T30" fmla="*/ 1271 w 1656"/>
                  <a:gd name="T31" fmla="*/ 1522 h 1688"/>
                  <a:gd name="T32" fmla="*/ 198 w 1656"/>
                  <a:gd name="T33" fmla="*/ 378 h 1688"/>
                  <a:gd name="T34" fmla="*/ 305 w 1656"/>
                  <a:gd name="T35" fmla="*/ 230 h 1688"/>
                  <a:gd name="T36" fmla="*/ 373 w 1656"/>
                  <a:gd name="T37" fmla="*/ 171 h 1688"/>
                  <a:gd name="T38" fmla="*/ 377 w 1656"/>
                  <a:gd name="T39" fmla="*/ 240 h 1688"/>
                  <a:gd name="T40" fmla="*/ 464 w 1656"/>
                  <a:gd name="T41" fmla="*/ 169 h 1688"/>
                  <a:gd name="T42" fmla="*/ 407 w 1656"/>
                  <a:gd name="T43" fmla="*/ 146 h 1688"/>
                  <a:gd name="T44" fmla="*/ 99 w 1656"/>
                  <a:gd name="T45" fmla="*/ 372 h 1688"/>
                  <a:gd name="T46" fmla="*/ 457 w 1656"/>
                  <a:gd name="T47" fmla="*/ 181 h 1688"/>
                  <a:gd name="T48" fmla="*/ 1352 w 1656"/>
                  <a:gd name="T49" fmla="*/ 201 h 1688"/>
                  <a:gd name="T50" fmla="*/ 1150 w 1656"/>
                  <a:gd name="T51" fmla="*/ 85 h 1688"/>
                  <a:gd name="T52" fmla="*/ 1139 w 1656"/>
                  <a:gd name="T53" fmla="*/ 191 h 1688"/>
                  <a:gd name="T54" fmla="*/ 1050 w 1656"/>
                  <a:gd name="T55" fmla="*/ 268 h 1688"/>
                  <a:gd name="T56" fmla="*/ 1010 w 1656"/>
                  <a:gd name="T57" fmla="*/ 322 h 1688"/>
                  <a:gd name="T58" fmla="*/ 907 w 1656"/>
                  <a:gd name="T59" fmla="*/ 423 h 1688"/>
                  <a:gd name="T60" fmla="*/ 826 w 1656"/>
                  <a:gd name="T61" fmla="*/ 355 h 1688"/>
                  <a:gd name="T62" fmla="*/ 700 w 1656"/>
                  <a:gd name="T63" fmla="*/ 448 h 1688"/>
                  <a:gd name="T64" fmla="*/ 779 w 1656"/>
                  <a:gd name="T65" fmla="*/ 456 h 1688"/>
                  <a:gd name="T66" fmla="*/ 773 w 1656"/>
                  <a:gd name="T67" fmla="*/ 594 h 1688"/>
                  <a:gd name="T68" fmla="*/ 627 w 1656"/>
                  <a:gd name="T69" fmla="*/ 606 h 1688"/>
                  <a:gd name="T70" fmla="*/ 531 w 1656"/>
                  <a:gd name="T71" fmla="*/ 552 h 1688"/>
                  <a:gd name="T72" fmla="*/ 524 w 1656"/>
                  <a:gd name="T73" fmla="*/ 633 h 1688"/>
                  <a:gd name="T74" fmla="*/ 378 w 1656"/>
                  <a:gd name="T75" fmla="*/ 819 h 1688"/>
                  <a:gd name="T76" fmla="*/ 706 w 1656"/>
                  <a:gd name="T77" fmla="*/ 853 h 1688"/>
                  <a:gd name="T78" fmla="*/ 675 w 1656"/>
                  <a:gd name="T79" fmla="*/ 773 h 1688"/>
                  <a:gd name="T80" fmla="*/ 810 w 1656"/>
                  <a:gd name="T81" fmla="*/ 898 h 1688"/>
                  <a:gd name="T82" fmla="*/ 883 w 1656"/>
                  <a:gd name="T83" fmla="*/ 899 h 1688"/>
                  <a:gd name="T84" fmla="*/ 780 w 1656"/>
                  <a:gd name="T85" fmla="*/ 1016 h 1688"/>
                  <a:gd name="T86" fmla="*/ 463 w 1656"/>
                  <a:gd name="T87" fmla="*/ 901 h 1688"/>
                  <a:gd name="T88" fmla="*/ 185 w 1656"/>
                  <a:gd name="T89" fmla="*/ 1125 h 1688"/>
                  <a:gd name="T90" fmla="*/ 513 w 1656"/>
                  <a:gd name="T91" fmla="*/ 1404 h 1688"/>
                  <a:gd name="T92" fmla="*/ 659 w 1656"/>
                  <a:gd name="T93" fmla="*/ 1606 h 1688"/>
                  <a:gd name="T94" fmla="*/ 1192 w 1656"/>
                  <a:gd name="T95" fmla="*/ 1444 h 1688"/>
                  <a:gd name="T96" fmla="*/ 1176 w 1656"/>
                  <a:gd name="T97" fmla="*/ 1258 h 1688"/>
                  <a:gd name="T98" fmla="*/ 1202 w 1656"/>
                  <a:gd name="T99" fmla="*/ 1240 h 1688"/>
                  <a:gd name="T100" fmla="*/ 1244 w 1656"/>
                  <a:gd name="T101" fmla="*/ 989 h 1688"/>
                  <a:gd name="T102" fmla="*/ 1506 w 1656"/>
                  <a:gd name="T103" fmla="*/ 934 h 1688"/>
                  <a:gd name="T104" fmla="*/ 1629 w 1656"/>
                  <a:gd name="T105" fmla="*/ 773 h 1688"/>
                  <a:gd name="T106" fmla="*/ 984 w 1656"/>
                  <a:gd name="T107" fmla="*/ 814 h 1688"/>
                  <a:gd name="T108" fmla="*/ 1009 w 1656"/>
                  <a:gd name="T109" fmla="*/ 714 h 1688"/>
                  <a:gd name="T110" fmla="*/ 506 w 1656"/>
                  <a:gd name="T111" fmla="*/ 117 h 1688"/>
                  <a:gd name="T112" fmla="*/ 498 w 1656"/>
                  <a:gd name="T113" fmla="*/ 156 h 1688"/>
                  <a:gd name="T114" fmla="*/ 472 w 1656"/>
                  <a:gd name="T115" fmla="*/ 245 h 1688"/>
                  <a:gd name="T116" fmla="*/ 427 w 1656"/>
                  <a:gd name="T117" fmla="*/ 331 h 1688"/>
                  <a:gd name="T118" fmla="*/ 615 w 1656"/>
                  <a:gd name="T119" fmla="*/ 278 h 1688"/>
                  <a:gd name="T120" fmla="*/ 522 w 1656"/>
                  <a:gd name="T121" fmla="*/ 156 h 1688"/>
                  <a:gd name="T122" fmla="*/ 152 w 1656"/>
                  <a:gd name="T123" fmla="*/ 431 h 16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6"/>
                  <a:gd name="T187" fmla="*/ 0 h 1688"/>
                  <a:gd name="T188" fmla="*/ 1656 w 1656"/>
                  <a:gd name="T189" fmla="*/ 1688 h 16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6" h="1688">
                    <a:moveTo>
                      <a:pt x="1132" y="74"/>
                    </a:moveTo>
                    <a:cubicBezTo>
                      <a:pt x="1127" y="73"/>
                      <a:pt x="1125" y="68"/>
                      <a:pt x="1120" y="67"/>
                    </a:cubicBezTo>
                    <a:cubicBezTo>
                      <a:pt x="1119" y="73"/>
                      <a:pt x="1128" y="75"/>
                      <a:pt x="1132" y="74"/>
                    </a:cubicBezTo>
                    <a:close/>
                    <a:moveTo>
                      <a:pt x="493" y="82"/>
                    </a:moveTo>
                    <a:cubicBezTo>
                      <a:pt x="486" y="82"/>
                      <a:pt x="473" y="80"/>
                      <a:pt x="471" y="91"/>
                    </a:cubicBezTo>
                    <a:cubicBezTo>
                      <a:pt x="476" y="92"/>
                      <a:pt x="475" y="100"/>
                      <a:pt x="478" y="103"/>
                    </a:cubicBezTo>
                    <a:cubicBezTo>
                      <a:pt x="489" y="100"/>
                      <a:pt x="496" y="93"/>
                      <a:pt x="501" y="84"/>
                    </a:cubicBezTo>
                    <a:cubicBezTo>
                      <a:pt x="496" y="83"/>
                      <a:pt x="496" y="88"/>
                      <a:pt x="491" y="87"/>
                    </a:cubicBezTo>
                    <a:cubicBezTo>
                      <a:pt x="491" y="85"/>
                      <a:pt x="493" y="85"/>
                      <a:pt x="493" y="82"/>
                    </a:cubicBezTo>
                    <a:close/>
                    <a:moveTo>
                      <a:pt x="506" y="103"/>
                    </a:moveTo>
                    <a:cubicBezTo>
                      <a:pt x="514" y="107"/>
                      <a:pt x="524" y="104"/>
                      <a:pt x="524" y="95"/>
                    </a:cubicBezTo>
                    <a:cubicBezTo>
                      <a:pt x="523" y="95"/>
                      <a:pt x="521" y="96"/>
                      <a:pt x="521" y="94"/>
                    </a:cubicBezTo>
                    <a:cubicBezTo>
                      <a:pt x="519" y="90"/>
                      <a:pt x="524" y="92"/>
                      <a:pt x="523" y="89"/>
                    </a:cubicBezTo>
                    <a:cubicBezTo>
                      <a:pt x="514" y="89"/>
                      <a:pt x="509" y="92"/>
                      <a:pt x="506" y="98"/>
                    </a:cubicBezTo>
                    <a:cubicBezTo>
                      <a:pt x="508" y="98"/>
                      <a:pt x="511" y="96"/>
                      <a:pt x="512" y="99"/>
                    </a:cubicBezTo>
                    <a:cubicBezTo>
                      <a:pt x="510" y="100"/>
                      <a:pt x="506" y="99"/>
                      <a:pt x="506" y="103"/>
                    </a:cubicBezTo>
                    <a:close/>
                    <a:moveTo>
                      <a:pt x="420" y="139"/>
                    </a:moveTo>
                    <a:cubicBezTo>
                      <a:pt x="428" y="140"/>
                      <a:pt x="431" y="131"/>
                      <a:pt x="438" y="128"/>
                    </a:cubicBezTo>
                    <a:cubicBezTo>
                      <a:pt x="448" y="124"/>
                      <a:pt x="462" y="126"/>
                      <a:pt x="469" y="117"/>
                    </a:cubicBezTo>
                    <a:cubicBezTo>
                      <a:pt x="466" y="115"/>
                      <a:pt x="459" y="120"/>
                      <a:pt x="455" y="116"/>
                    </a:cubicBezTo>
                    <a:cubicBezTo>
                      <a:pt x="460" y="116"/>
                      <a:pt x="465" y="115"/>
                      <a:pt x="469" y="114"/>
                    </a:cubicBezTo>
                    <a:cubicBezTo>
                      <a:pt x="469" y="110"/>
                      <a:pt x="463" y="113"/>
                      <a:pt x="463" y="110"/>
                    </a:cubicBezTo>
                    <a:cubicBezTo>
                      <a:pt x="465" y="110"/>
                      <a:pt x="467" y="111"/>
                      <a:pt x="470" y="111"/>
                    </a:cubicBezTo>
                    <a:cubicBezTo>
                      <a:pt x="470" y="106"/>
                      <a:pt x="471" y="106"/>
                      <a:pt x="476" y="105"/>
                    </a:cubicBezTo>
                    <a:cubicBezTo>
                      <a:pt x="474" y="101"/>
                      <a:pt x="471" y="97"/>
                      <a:pt x="466" y="95"/>
                    </a:cubicBezTo>
                    <a:cubicBezTo>
                      <a:pt x="464" y="96"/>
                      <a:pt x="461" y="97"/>
                      <a:pt x="460" y="99"/>
                    </a:cubicBezTo>
                    <a:cubicBezTo>
                      <a:pt x="458" y="94"/>
                      <a:pt x="454" y="100"/>
                      <a:pt x="451" y="100"/>
                    </a:cubicBezTo>
                    <a:cubicBezTo>
                      <a:pt x="441" y="98"/>
                      <a:pt x="424" y="105"/>
                      <a:pt x="425" y="121"/>
                    </a:cubicBezTo>
                    <a:cubicBezTo>
                      <a:pt x="421" y="126"/>
                      <a:pt x="413" y="127"/>
                      <a:pt x="411" y="134"/>
                    </a:cubicBezTo>
                    <a:cubicBezTo>
                      <a:pt x="415" y="135"/>
                      <a:pt x="417" y="130"/>
                      <a:pt x="419" y="132"/>
                    </a:cubicBezTo>
                    <a:cubicBezTo>
                      <a:pt x="419" y="135"/>
                      <a:pt x="418" y="138"/>
                      <a:pt x="420" y="139"/>
                    </a:cubicBezTo>
                    <a:close/>
                    <a:moveTo>
                      <a:pt x="498" y="97"/>
                    </a:moveTo>
                    <a:cubicBezTo>
                      <a:pt x="497" y="101"/>
                      <a:pt x="504" y="99"/>
                      <a:pt x="503" y="97"/>
                    </a:cubicBezTo>
                    <a:cubicBezTo>
                      <a:pt x="501" y="97"/>
                      <a:pt x="500" y="95"/>
                      <a:pt x="498" y="97"/>
                    </a:cubicBezTo>
                    <a:close/>
                    <a:moveTo>
                      <a:pt x="521" y="113"/>
                    </a:moveTo>
                    <a:cubicBezTo>
                      <a:pt x="521" y="111"/>
                      <a:pt x="522" y="111"/>
                      <a:pt x="521" y="110"/>
                    </a:cubicBezTo>
                    <a:cubicBezTo>
                      <a:pt x="516" y="110"/>
                      <a:pt x="511" y="110"/>
                      <a:pt x="511" y="115"/>
                    </a:cubicBezTo>
                    <a:cubicBezTo>
                      <a:pt x="518" y="114"/>
                      <a:pt x="527" y="120"/>
                      <a:pt x="528" y="113"/>
                    </a:cubicBezTo>
                    <a:cubicBezTo>
                      <a:pt x="526" y="110"/>
                      <a:pt x="524" y="114"/>
                      <a:pt x="521" y="113"/>
                    </a:cubicBezTo>
                    <a:close/>
                    <a:moveTo>
                      <a:pt x="463" y="127"/>
                    </a:moveTo>
                    <a:cubicBezTo>
                      <a:pt x="468" y="127"/>
                      <a:pt x="471" y="124"/>
                      <a:pt x="473" y="120"/>
                    </a:cubicBezTo>
                    <a:cubicBezTo>
                      <a:pt x="468" y="121"/>
                      <a:pt x="463" y="122"/>
                      <a:pt x="463" y="127"/>
                    </a:cubicBezTo>
                    <a:close/>
                    <a:moveTo>
                      <a:pt x="515" y="122"/>
                    </a:moveTo>
                    <a:cubicBezTo>
                      <a:pt x="512" y="123"/>
                      <a:pt x="508" y="123"/>
                      <a:pt x="506" y="125"/>
                    </a:cubicBezTo>
                    <a:cubicBezTo>
                      <a:pt x="509" y="124"/>
                      <a:pt x="513" y="124"/>
                      <a:pt x="515" y="122"/>
                    </a:cubicBezTo>
                    <a:close/>
                    <a:moveTo>
                      <a:pt x="532" y="123"/>
                    </a:moveTo>
                    <a:cubicBezTo>
                      <a:pt x="523" y="124"/>
                      <a:pt x="519" y="130"/>
                      <a:pt x="514" y="134"/>
                    </a:cubicBezTo>
                    <a:cubicBezTo>
                      <a:pt x="523" y="133"/>
                      <a:pt x="531" y="132"/>
                      <a:pt x="532" y="123"/>
                    </a:cubicBezTo>
                    <a:close/>
                    <a:moveTo>
                      <a:pt x="500" y="125"/>
                    </a:moveTo>
                    <a:cubicBezTo>
                      <a:pt x="490" y="125"/>
                      <a:pt x="489" y="133"/>
                      <a:pt x="480" y="135"/>
                    </a:cubicBezTo>
                    <a:cubicBezTo>
                      <a:pt x="480" y="137"/>
                      <a:pt x="480" y="138"/>
                      <a:pt x="481" y="139"/>
                    </a:cubicBezTo>
                    <a:cubicBezTo>
                      <a:pt x="489" y="138"/>
                      <a:pt x="502" y="140"/>
                      <a:pt x="502" y="131"/>
                    </a:cubicBezTo>
                    <a:cubicBezTo>
                      <a:pt x="497" y="132"/>
                      <a:pt x="498" y="130"/>
                      <a:pt x="493" y="130"/>
                    </a:cubicBezTo>
                    <a:cubicBezTo>
                      <a:pt x="496" y="129"/>
                      <a:pt x="500" y="128"/>
                      <a:pt x="500" y="125"/>
                    </a:cubicBezTo>
                    <a:close/>
                    <a:moveTo>
                      <a:pt x="467" y="140"/>
                    </a:moveTo>
                    <a:cubicBezTo>
                      <a:pt x="471" y="139"/>
                      <a:pt x="476" y="134"/>
                      <a:pt x="472" y="130"/>
                    </a:cubicBezTo>
                    <a:cubicBezTo>
                      <a:pt x="467" y="129"/>
                      <a:pt x="466" y="133"/>
                      <a:pt x="462" y="133"/>
                    </a:cubicBezTo>
                    <a:cubicBezTo>
                      <a:pt x="462" y="130"/>
                      <a:pt x="466" y="132"/>
                      <a:pt x="465" y="129"/>
                    </a:cubicBezTo>
                    <a:cubicBezTo>
                      <a:pt x="455" y="131"/>
                      <a:pt x="449" y="136"/>
                      <a:pt x="441" y="139"/>
                    </a:cubicBezTo>
                    <a:cubicBezTo>
                      <a:pt x="440" y="142"/>
                      <a:pt x="443" y="141"/>
                      <a:pt x="443" y="144"/>
                    </a:cubicBezTo>
                    <a:cubicBezTo>
                      <a:pt x="454" y="146"/>
                      <a:pt x="458" y="136"/>
                      <a:pt x="467" y="140"/>
                    </a:cubicBezTo>
                    <a:close/>
                    <a:moveTo>
                      <a:pt x="525" y="135"/>
                    </a:moveTo>
                    <a:cubicBezTo>
                      <a:pt x="519" y="136"/>
                      <a:pt x="512" y="137"/>
                      <a:pt x="511" y="143"/>
                    </a:cubicBezTo>
                    <a:cubicBezTo>
                      <a:pt x="517" y="142"/>
                      <a:pt x="527" y="140"/>
                      <a:pt x="525" y="135"/>
                    </a:cubicBezTo>
                    <a:close/>
                    <a:moveTo>
                      <a:pt x="506" y="139"/>
                    </a:moveTo>
                    <a:cubicBezTo>
                      <a:pt x="502" y="137"/>
                      <a:pt x="499" y="142"/>
                      <a:pt x="496" y="142"/>
                    </a:cubicBezTo>
                    <a:cubicBezTo>
                      <a:pt x="495" y="152"/>
                      <a:pt x="482" y="148"/>
                      <a:pt x="476" y="152"/>
                    </a:cubicBezTo>
                    <a:cubicBezTo>
                      <a:pt x="478" y="161"/>
                      <a:pt x="473" y="168"/>
                      <a:pt x="480" y="176"/>
                    </a:cubicBezTo>
                    <a:cubicBezTo>
                      <a:pt x="487" y="175"/>
                      <a:pt x="496" y="175"/>
                      <a:pt x="497" y="166"/>
                    </a:cubicBezTo>
                    <a:cubicBezTo>
                      <a:pt x="488" y="164"/>
                      <a:pt x="490" y="161"/>
                      <a:pt x="490" y="159"/>
                    </a:cubicBezTo>
                    <a:cubicBezTo>
                      <a:pt x="489" y="151"/>
                      <a:pt x="495" y="156"/>
                      <a:pt x="501" y="149"/>
                    </a:cubicBezTo>
                    <a:cubicBezTo>
                      <a:pt x="502" y="148"/>
                      <a:pt x="501" y="146"/>
                      <a:pt x="501" y="145"/>
                    </a:cubicBezTo>
                    <a:cubicBezTo>
                      <a:pt x="503" y="143"/>
                      <a:pt x="507" y="143"/>
                      <a:pt x="506" y="139"/>
                    </a:cubicBezTo>
                    <a:close/>
                    <a:moveTo>
                      <a:pt x="1122" y="141"/>
                    </a:moveTo>
                    <a:cubicBezTo>
                      <a:pt x="1121" y="150"/>
                      <a:pt x="1134" y="146"/>
                      <a:pt x="1134" y="141"/>
                    </a:cubicBezTo>
                    <a:cubicBezTo>
                      <a:pt x="1132" y="140"/>
                      <a:pt x="1131" y="138"/>
                      <a:pt x="1127" y="139"/>
                    </a:cubicBezTo>
                    <a:cubicBezTo>
                      <a:pt x="1129" y="143"/>
                      <a:pt x="1124" y="143"/>
                      <a:pt x="1122" y="141"/>
                    </a:cubicBezTo>
                    <a:close/>
                    <a:moveTo>
                      <a:pt x="475" y="148"/>
                    </a:moveTo>
                    <a:cubicBezTo>
                      <a:pt x="481" y="147"/>
                      <a:pt x="489" y="149"/>
                      <a:pt x="488" y="141"/>
                    </a:cubicBezTo>
                    <a:cubicBezTo>
                      <a:pt x="482" y="139"/>
                      <a:pt x="477" y="143"/>
                      <a:pt x="475" y="148"/>
                    </a:cubicBezTo>
                    <a:close/>
                    <a:moveTo>
                      <a:pt x="452" y="155"/>
                    </a:moveTo>
                    <a:cubicBezTo>
                      <a:pt x="460" y="154"/>
                      <a:pt x="462" y="158"/>
                      <a:pt x="469" y="156"/>
                    </a:cubicBezTo>
                    <a:cubicBezTo>
                      <a:pt x="471" y="152"/>
                      <a:pt x="473" y="149"/>
                      <a:pt x="473" y="143"/>
                    </a:cubicBezTo>
                    <a:cubicBezTo>
                      <a:pt x="464" y="143"/>
                      <a:pt x="454" y="143"/>
                      <a:pt x="448" y="149"/>
                    </a:cubicBezTo>
                    <a:cubicBezTo>
                      <a:pt x="449" y="151"/>
                      <a:pt x="453" y="150"/>
                      <a:pt x="456" y="150"/>
                    </a:cubicBezTo>
                    <a:cubicBezTo>
                      <a:pt x="456" y="152"/>
                      <a:pt x="453" y="153"/>
                      <a:pt x="452" y="155"/>
                    </a:cubicBezTo>
                    <a:close/>
                    <a:moveTo>
                      <a:pt x="509" y="151"/>
                    </a:moveTo>
                    <a:cubicBezTo>
                      <a:pt x="511" y="150"/>
                      <a:pt x="514" y="150"/>
                      <a:pt x="515" y="148"/>
                    </a:cubicBezTo>
                    <a:cubicBezTo>
                      <a:pt x="512" y="148"/>
                      <a:pt x="508" y="148"/>
                      <a:pt x="509" y="151"/>
                    </a:cubicBezTo>
                    <a:close/>
                    <a:moveTo>
                      <a:pt x="1111" y="158"/>
                    </a:moveTo>
                    <a:cubicBezTo>
                      <a:pt x="1114" y="166"/>
                      <a:pt x="1123" y="164"/>
                      <a:pt x="1132" y="163"/>
                    </a:cubicBezTo>
                    <a:cubicBezTo>
                      <a:pt x="1129" y="158"/>
                      <a:pt x="1125" y="155"/>
                      <a:pt x="1127" y="150"/>
                    </a:cubicBezTo>
                    <a:cubicBezTo>
                      <a:pt x="1125" y="149"/>
                      <a:pt x="1119" y="146"/>
                      <a:pt x="1119" y="151"/>
                    </a:cubicBezTo>
                    <a:cubicBezTo>
                      <a:pt x="1118" y="154"/>
                      <a:pt x="1123" y="152"/>
                      <a:pt x="1123" y="154"/>
                    </a:cubicBezTo>
                    <a:cubicBezTo>
                      <a:pt x="1119" y="155"/>
                      <a:pt x="1117" y="151"/>
                      <a:pt x="1115" y="153"/>
                    </a:cubicBezTo>
                    <a:cubicBezTo>
                      <a:pt x="1113" y="155"/>
                      <a:pt x="1115" y="155"/>
                      <a:pt x="1116" y="157"/>
                    </a:cubicBezTo>
                    <a:cubicBezTo>
                      <a:pt x="1113" y="156"/>
                      <a:pt x="1114" y="159"/>
                      <a:pt x="1111" y="158"/>
                    </a:cubicBezTo>
                    <a:close/>
                    <a:moveTo>
                      <a:pt x="1150" y="154"/>
                    </a:moveTo>
                    <a:cubicBezTo>
                      <a:pt x="1148" y="152"/>
                      <a:pt x="1144" y="153"/>
                      <a:pt x="1141" y="153"/>
                    </a:cubicBezTo>
                    <a:cubicBezTo>
                      <a:pt x="1141" y="158"/>
                      <a:pt x="1144" y="160"/>
                      <a:pt x="1148" y="161"/>
                    </a:cubicBezTo>
                    <a:cubicBezTo>
                      <a:pt x="1148" y="157"/>
                      <a:pt x="1148" y="155"/>
                      <a:pt x="1150" y="154"/>
                    </a:cubicBezTo>
                    <a:close/>
                    <a:moveTo>
                      <a:pt x="1136" y="157"/>
                    </a:moveTo>
                    <a:cubicBezTo>
                      <a:pt x="1135" y="160"/>
                      <a:pt x="1141" y="162"/>
                      <a:pt x="1143" y="160"/>
                    </a:cubicBezTo>
                    <a:cubicBezTo>
                      <a:pt x="1140" y="159"/>
                      <a:pt x="1139" y="156"/>
                      <a:pt x="1136" y="157"/>
                    </a:cubicBezTo>
                    <a:close/>
                    <a:moveTo>
                      <a:pt x="406" y="197"/>
                    </a:moveTo>
                    <a:cubicBezTo>
                      <a:pt x="410" y="197"/>
                      <a:pt x="412" y="199"/>
                      <a:pt x="414" y="196"/>
                    </a:cubicBezTo>
                    <a:cubicBezTo>
                      <a:pt x="412" y="196"/>
                      <a:pt x="407" y="194"/>
                      <a:pt x="406" y="197"/>
                    </a:cubicBezTo>
                    <a:close/>
                    <a:moveTo>
                      <a:pt x="1344" y="196"/>
                    </a:moveTo>
                    <a:cubicBezTo>
                      <a:pt x="1346" y="197"/>
                      <a:pt x="1347" y="199"/>
                      <a:pt x="1350" y="199"/>
                    </a:cubicBezTo>
                    <a:cubicBezTo>
                      <a:pt x="1350" y="197"/>
                      <a:pt x="1345" y="194"/>
                      <a:pt x="1344" y="196"/>
                    </a:cubicBezTo>
                    <a:close/>
                    <a:moveTo>
                      <a:pt x="333" y="204"/>
                    </a:moveTo>
                    <a:cubicBezTo>
                      <a:pt x="328" y="205"/>
                      <a:pt x="321" y="204"/>
                      <a:pt x="320" y="210"/>
                    </a:cubicBezTo>
                    <a:cubicBezTo>
                      <a:pt x="325" y="211"/>
                      <a:pt x="333" y="209"/>
                      <a:pt x="333" y="204"/>
                    </a:cubicBezTo>
                    <a:close/>
                    <a:moveTo>
                      <a:pt x="387" y="212"/>
                    </a:moveTo>
                    <a:cubicBezTo>
                      <a:pt x="392" y="211"/>
                      <a:pt x="399" y="212"/>
                      <a:pt x="400" y="206"/>
                    </a:cubicBezTo>
                    <a:cubicBezTo>
                      <a:pt x="394" y="202"/>
                      <a:pt x="384" y="206"/>
                      <a:pt x="387" y="212"/>
                    </a:cubicBezTo>
                    <a:close/>
                    <a:moveTo>
                      <a:pt x="996" y="220"/>
                    </a:moveTo>
                    <a:cubicBezTo>
                      <a:pt x="999" y="220"/>
                      <a:pt x="999" y="220"/>
                      <a:pt x="999" y="220"/>
                    </a:cubicBezTo>
                    <a:cubicBezTo>
                      <a:pt x="1000" y="218"/>
                      <a:pt x="996" y="217"/>
                      <a:pt x="999" y="216"/>
                    </a:cubicBezTo>
                    <a:cubicBezTo>
                      <a:pt x="1000" y="216"/>
                      <a:pt x="1000" y="216"/>
                      <a:pt x="1001" y="215"/>
                    </a:cubicBezTo>
                    <a:cubicBezTo>
                      <a:pt x="1001" y="217"/>
                      <a:pt x="1002" y="218"/>
                      <a:pt x="1002" y="219"/>
                    </a:cubicBezTo>
                    <a:cubicBezTo>
                      <a:pt x="1010" y="219"/>
                      <a:pt x="1016" y="218"/>
                      <a:pt x="1021" y="215"/>
                    </a:cubicBezTo>
                    <a:cubicBezTo>
                      <a:pt x="1016" y="213"/>
                      <a:pt x="1013" y="209"/>
                      <a:pt x="1006" y="209"/>
                    </a:cubicBezTo>
                    <a:cubicBezTo>
                      <a:pt x="1006" y="210"/>
                      <a:pt x="1008" y="211"/>
                      <a:pt x="1006" y="211"/>
                    </a:cubicBezTo>
                    <a:cubicBezTo>
                      <a:pt x="999" y="211"/>
                      <a:pt x="990" y="204"/>
                      <a:pt x="980" y="206"/>
                    </a:cubicBezTo>
                    <a:cubicBezTo>
                      <a:pt x="982" y="214"/>
                      <a:pt x="992" y="214"/>
                      <a:pt x="996" y="220"/>
                    </a:cubicBezTo>
                    <a:close/>
                    <a:moveTo>
                      <a:pt x="1036" y="221"/>
                    </a:moveTo>
                    <a:cubicBezTo>
                      <a:pt x="1035" y="215"/>
                      <a:pt x="1039" y="214"/>
                      <a:pt x="1040" y="210"/>
                    </a:cubicBezTo>
                    <a:cubicBezTo>
                      <a:pt x="1032" y="207"/>
                      <a:pt x="1024" y="207"/>
                      <a:pt x="1019" y="208"/>
                    </a:cubicBezTo>
                    <a:cubicBezTo>
                      <a:pt x="1025" y="212"/>
                      <a:pt x="1028" y="219"/>
                      <a:pt x="1036" y="221"/>
                    </a:cubicBezTo>
                    <a:close/>
                    <a:moveTo>
                      <a:pt x="394" y="213"/>
                    </a:moveTo>
                    <a:cubicBezTo>
                      <a:pt x="394" y="215"/>
                      <a:pt x="394" y="216"/>
                      <a:pt x="395" y="216"/>
                    </a:cubicBezTo>
                    <a:cubicBezTo>
                      <a:pt x="397" y="216"/>
                      <a:pt x="398" y="215"/>
                      <a:pt x="399" y="213"/>
                    </a:cubicBezTo>
                    <a:cubicBezTo>
                      <a:pt x="397" y="212"/>
                      <a:pt x="395" y="212"/>
                      <a:pt x="394" y="213"/>
                    </a:cubicBezTo>
                    <a:close/>
                    <a:moveTo>
                      <a:pt x="315" y="221"/>
                    </a:moveTo>
                    <a:cubicBezTo>
                      <a:pt x="319" y="221"/>
                      <a:pt x="323" y="221"/>
                      <a:pt x="323" y="217"/>
                    </a:cubicBezTo>
                    <a:cubicBezTo>
                      <a:pt x="320" y="215"/>
                      <a:pt x="316" y="219"/>
                      <a:pt x="315" y="221"/>
                    </a:cubicBezTo>
                    <a:close/>
                    <a:moveTo>
                      <a:pt x="337" y="218"/>
                    </a:moveTo>
                    <a:cubicBezTo>
                      <a:pt x="334" y="219"/>
                      <a:pt x="332" y="220"/>
                      <a:pt x="331" y="223"/>
                    </a:cubicBezTo>
                    <a:cubicBezTo>
                      <a:pt x="334" y="222"/>
                      <a:pt x="338" y="222"/>
                      <a:pt x="337" y="218"/>
                    </a:cubicBezTo>
                    <a:close/>
                    <a:moveTo>
                      <a:pt x="250" y="247"/>
                    </a:moveTo>
                    <a:cubicBezTo>
                      <a:pt x="253" y="246"/>
                      <a:pt x="255" y="245"/>
                      <a:pt x="256" y="242"/>
                    </a:cubicBezTo>
                    <a:cubicBezTo>
                      <a:pt x="252" y="242"/>
                      <a:pt x="250" y="244"/>
                      <a:pt x="250" y="247"/>
                    </a:cubicBezTo>
                    <a:close/>
                    <a:moveTo>
                      <a:pt x="223" y="250"/>
                    </a:moveTo>
                    <a:cubicBezTo>
                      <a:pt x="220" y="250"/>
                      <a:pt x="220" y="253"/>
                      <a:pt x="218" y="255"/>
                    </a:cubicBezTo>
                    <a:cubicBezTo>
                      <a:pt x="221" y="254"/>
                      <a:pt x="222" y="253"/>
                      <a:pt x="223" y="250"/>
                    </a:cubicBezTo>
                    <a:close/>
                    <a:moveTo>
                      <a:pt x="933" y="295"/>
                    </a:moveTo>
                    <a:cubicBezTo>
                      <a:pt x="933" y="308"/>
                      <a:pt x="933" y="322"/>
                      <a:pt x="933" y="331"/>
                    </a:cubicBezTo>
                    <a:cubicBezTo>
                      <a:pt x="936" y="333"/>
                      <a:pt x="941" y="334"/>
                      <a:pt x="947" y="333"/>
                    </a:cubicBezTo>
                    <a:cubicBezTo>
                      <a:pt x="951" y="341"/>
                      <a:pt x="961" y="344"/>
                      <a:pt x="970" y="339"/>
                    </a:cubicBezTo>
                    <a:cubicBezTo>
                      <a:pt x="953" y="332"/>
                      <a:pt x="942" y="316"/>
                      <a:pt x="948" y="294"/>
                    </a:cubicBezTo>
                    <a:cubicBezTo>
                      <a:pt x="948" y="292"/>
                      <a:pt x="953" y="290"/>
                      <a:pt x="951" y="286"/>
                    </a:cubicBezTo>
                    <a:cubicBezTo>
                      <a:pt x="956" y="284"/>
                      <a:pt x="960" y="279"/>
                      <a:pt x="965" y="276"/>
                    </a:cubicBezTo>
                    <a:cubicBezTo>
                      <a:pt x="967" y="258"/>
                      <a:pt x="950" y="265"/>
                      <a:pt x="949" y="275"/>
                    </a:cubicBezTo>
                    <a:cubicBezTo>
                      <a:pt x="937" y="277"/>
                      <a:pt x="934" y="283"/>
                      <a:pt x="929" y="292"/>
                    </a:cubicBezTo>
                    <a:cubicBezTo>
                      <a:pt x="929" y="295"/>
                      <a:pt x="933" y="293"/>
                      <a:pt x="933" y="295"/>
                    </a:cubicBezTo>
                    <a:close/>
                    <a:moveTo>
                      <a:pt x="305" y="269"/>
                    </a:moveTo>
                    <a:cubicBezTo>
                      <a:pt x="301" y="269"/>
                      <a:pt x="301" y="272"/>
                      <a:pt x="300" y="275"/>
                    </a:cubicBezTo>
                    <a:cubicBezTo>
                      <a:pt x="303" y="274"/>
                      <a:pt x="305" y="273"/>
                      <a:pt x="305" y="269"/>
                    </a:cubicBezTo>
                    <a:close/>
                    <a:moveTo>
                      <a:pt x="319" y="275"/>
                    </a:moveTo>
                    <a:cubicBezTo>
                      <a:pt x="318" y="276"/>
                      <a:pt x="317" y="277"/>
                      <a:pt x="317" y="279"/>
                    </a:cubicBezTo>
                    <a:cubicBezTo>
                      <a:pt x="320" y="279"/>
                      <a:pt x="322" y="279"/>
                      <a:pt x="322" y="276"/>
                    </a:cubicBezTo>
                    <a:cubicBezTo>
                      <a:pt x="321" y="276"/>
                      <a:pt x="320" y="275"/>
                      <a:pt x="319" y="275"/>
                    </a:cubicBezTo>
                    <a:close/>
                    <a:moveTo>
                      <a:pt x="1006" y="296"/>
                    </a:moveTo>
                    <a:cubicBezTo>
                      <a:pt x="1006" y="292"/>
                      <a:pt x="1003" y="291"/>
                      <a:pt x="999" y="291"/>
                    </a:cubicBezTo>
                    <a:cubicBezTo>
                      <a:pt x="999" y="296"/>
                      <a:pt x="1003" y="298"/>
                      <a:pt x="1006" y="296"/>
                    </a:cubicBezTo>
                    <a:close/>
                    <a:moveTo>
                      <a:pt x="981" y="340"/>
                    </a:moveTo>
                    <a:cubicBezTo>
                      <a:pt x="983" y="346"/>
                      <a:pt x="989" y="347"/>
                      <a:pt x="995" y="348"/>
                    </a:cubicBezTo>
                    <a:cubicBezTo>
                      <a:pt x="995" y="341"/>
                      <a:pt x="986" y="339"/>
                      <a:pt x="981" y="340"/>
                    </a:cubicBezTo>
                    <a:close/>
                    <a:moveTo>
                      <a:pt x="171" y="378"/>
                    </a:moveTo>
                    <a:cubicBezTo>
                      <a:pt x="174" y="373"/>
                      <a:pt x="176" y="363"/>
                      <a:pt x="175" y="357"/>
                    </a:cubicBezTo>
                    <a:cubicBezTo>
                      <a:pt x="172" y="362"/>
                      <a:pt x="166" y="372"/>
                      <a:pt x="171" y="378"/>
                    </a:cubicBezTo>
                    <a:close/>
                    <a:moveTo>
                      <a:pt x="558" y="387"/>
                    </a:moveTo>
                    <a:cubicBezTo>
                      <a:pt x="558" y="383"/>
                      <a:pt x="560" y="382"/>
                      <a:pt x="561" y="379"/>
                    </a:cubicBezTo>
                    <a:cubicBezTo>
                      <a:pt x="558" y="379"/>
                      <a:pt x="556" y="377"/>
                      <a:pt x="557" y="373"/>
                    </a:cubicBezTo>
                    <a:cubicBezTo>
                      <a:pt x="551" y="378"/>
                      <a:pt x="547" y="374"/>
                      <a:pt x="541" y="375"/>
                    </a:cubicBezTo>
                    <a:cubicBezTo>
                      <a:pt x="539" y="373"/>
                      <a:pt x="542" y="372"/>
                      <a:pt x="539" y="371"/>
                    </a:cubicBezTo>
                    <a:cubicBezTo>
                      <a:pt x="537" y="373"/>
                      <a:pt x="534" y="374"/>
                      <a:pt x="531" y="375"/>
                    </a:cubicBezTo>
                    <a:cubicBezTo>
                      <a:pt x="531" y="372"/>
                      <a:pt x="533" y="371"/>
                      <a:pt x="530" y="370"/>
                    </a:cubicBezTo>
                    <a:cubicBezTo>
                      <a:pt x="528" y="376"/>
                      <a:pt x="524" y="375"/>
                      <a:pt x="521" y="375"/>
                    </a:cubicBezTo>
                    <a:cubicBezTo>
                      <a:pt x="521" y="372"/>
                      <a:pt x="523" y="371"/>
                      <a:pt x="525" y="370"/>
                    </a:cubicBezTo>
                    <a:cubicBezTo>
                      <a:pt x="526" y="366"/>
                      <a:pt x="525" y="364"/>
                      <a:pt x="524" y="361"/>
                    </a:cubicBezTo>
                    <a:cubicBezTo>
                      <a:pt x="518" y="364"/>
                      <a:pt x="509" y="362"/>
                      <a:pt x="505" y="371"/>
                    </a:cubicBezTo>
                    <a:cubicBezTo>
                      <a:pt x="509" y="373"/>
                      <a:pt x="514" y="369"/>
                      <a:pt x="516" y="373"/>
                    </a:cubicBezTo>
                    <a:cubicBezTo>
                      <a:pt x="513" y="374"/>
                      <a:pt x="512" y="376"/>
                      <a:pt x="510" y="378"/>
                    </a:cubicBezTo>
                    <a:cubicBezTo>
                      <a:pt x="507" y="377"/>
                      <a:pt x="502" y="374"/>
                      <a:pt x="499" y="376"/>
                    </a:cubicBezTo>
                    <a:cubicBezTo>
                      <a:pt x="501" y="380"/>
                      <a:pt x="509" y="383"/>
                      <a:pt x="504" y="389"/>
                    </a:cubicBezTo>
                    <a:cubicBezTo>
                      <a:pt x="501" y="392"/>
                      <a:pt x="500" y="387"/>
                      <a:pt x="497" y="389"/>
                    </a:cubicBezTo>
                    <a:cubicBezTo>
                      <a:pt x="497" y="391"/>
                      <a:pt x="495" y="391"/>
                      <a:pt x="496" y="393"/>
                    </a:cubicBezTo>
                    <a:cubicBezTo>
                      <a:pt x="497" y="395"/>
                      <a:pt x="500" y="395"/>
                      <a:pt x="504" y="395"/>
                    </a:cubicBezTo>
                    <a:cubicBezTo>
                      <a:pt x="505" y="400"/>
                      <a:pt x="508" y="402"/>
                      <a:pt x="509" y="406"/>
                    </a:cubicBezTo>
                    <a:cubicBezTo>
                      <a:pt x="528" y="404"/>
                      <a:pt x="551" y="409"/>
                      <a:pt x="562" y="389"/>
                    </a:cubicBezTo>
                    <a:cubicBezTo>
                      <a:pt x="562" y="389"/>
                      <a:pt x="559" y="388"/>
                      <a:pt x="558" y="387"/>
                    </a:cubicBezTo>
                    <a:close/>
                    <a:moveTo>
                      <a:pt x="136" y="406"/>
                    </a:moveTo>
                    <a:cubicBezTo>
                      <a:pt x="135" y="410"/>
                      <a:pt x="136" y="414"/>
                      <a:pt x="139" y="414"/>
                    </a:cubicBezTo>
                    <a:cubicBezTo>
                      <a:pt x="140" y="410"/>
                      <a:pt x="144" y="409"/>
                      <a:pt x="144" y="404"/>
                    </a:cubicBezTo>
                    <a:cubicBezTo>
                      <a:pt x="141" y="402"/>
                      <a:pt x="138" y="406"/>
                      <a:pt x="136" y="406"/>
                    </a:cubicBezTo>
                    <a:close/>
                    <a:moveTo>
                      <a:pt x="576" y="445"/>
                    </a:moveTo>
                    <a:cubicBezTo>
                      <a:pt x="573" y="445"/>
                      <a:pt x="572" y="447"/>
                      <a:pt x="572" y="451"/>
                    </a:cubicBezTo>
                    <a:cubicBezTo>
                      <a:pt x="576" y="450"/>
                      <a:pt x="576" y="448"/>
                      <a:pt x="576" y="445"/>
                    </a:cubicBezTo>
                    <a:close/>
                    <a:moveTo>
                      <a:pt x="607" y="477"/>
                    </a:moveTo>
                    <a:cubicBezTo>
                      <a:pt x="607" y="480"/>
                      <a:pt x="605" y="479"/>
                      <a:pt x="607" y="481"/>
                    </a:cubicBezTo>
                    <a:cubicBezTo>
                      <a:pt x="611" y="482"/>
                      <a:pt x="611" y="477"/>
                      <a:pt x="607" y="477"/>
                    </a:cubicBezTo>
                    <a:close/>
                    <a:moveTo>
                      <a:pt x="602" y="480"/>
                    </a:moveTo>
                    <a:cubicBezTo>
                      <a:pt x="600" y="482"/>
                      <a:pt x="598" y="485"/>
                      <a:pt x="599" y="490"/>
                    </a:cubicBezTo>
                    <a:cubicBezTo>
                      <a:pt x="603" y="490"/>
                      <a:pt x="607" y="482"/>
                      <a:pt x="602" y="480"/>
                    </a:cubicBezTo>
                    <a:close/>
                    <a:moveTo>
                      <a:pt x="486" y="492"/>
                    </a:moveTo>
                    <a:cubicBezTo>
                      <a:pt x="485" y="493"/>
                      <a:pt x="483" y="496"/>
                      <a:pt x="486" y="497"/>
                    </a:cubicBezTo>
                    <a:cubicBezTo>
                      <a:pt x="487" y="495"/>
                      <a:pt x="489" y="492"/>
                      <a:pt x="486" y="492"/>
                    </a:cubicBezTo>
                    <a:close/>
                    <a:moveTo>
                      <a:pt x="579" y="498"/>
                    </a:moveTo>
                    <a:cubicBezTo>
                      <a:pt x="579" y="498"/>
                      <a:pt x="579" y="499"/>
                      <a:pt x="578" y="499"/>
                    </a:cubicBezTo>
                    <a:cubicBezTo>
                      <a:pt x="579" y="502"/>
                      <a:pt x="579" y="504"/>
                      <a:pt x="582" y="504"/>
                    </a:cubicBezTo>
                    <a:cubicBezTo>
                      <a:pt x="580" y="501"/>
                      <a:pt x="584" y="498"/>
                      <a:pt x="579" y="498"/>
                    </a:cubicBezTo>
                    <a:close/>
                    <a:moveTo>
                      <a:pt x="551" y="502"/>
                    </a:moveTo>
                    <a:cubicBezTo>
                      <a:pt x="549" y="501"/>
                      <a:pt x="544" y="504"/>
                      <a:pt x="542" y="505"/>
                    </a:cubicBezTo>
                    <a:cubicBezTo>
                      <a:pt x="542" y="508"/>
                      <a:pt x="540" y="509"/>
                      <a:pt x="542" y="511"/>
                    </a:cubicBezTo>
                    <a:cubicBezTo>
                      <a:pt x="547" y="511"/>
                      <a:pt x="550" y="507"/>
                      <a:pt x="551" y="502"/>
                    </a:cubicBezTo>
                    <a:close/>
                    <a:moveTo>
                      <a:pt x="543" y="523"/>
                    </a:moveTo>
                    <a:cubicBezTo>
                      <a:pt x="544" y="521"/>
                      <a:pt x="546" y="519"/>
                      <a:pt x="545" y="515"/>
                    </a:cubicBezTo>
                    <a:cubicBezTo>
                      <a:pt x="539" y="514"/>
                      <a:pt x="538" y="522"/>
                      <a:pt x="543" y="523"/>
                    </a:cubicBezTo>
                    <a:close/>
                    <a:moveTo>
                      <a:pt x="466" y="602"/>
                    </a:moveTo>
                    <a:cubicBezTo>
                      <a:pt x="480" y="605"/>
                      <a:pt x="490" y="596"/>
                      <a:pt x="504" y="598"/>
                    </a:cubicBezTo>
                    <a:cubicBezTo>
                      <a:pt x="511" y="592"/>
                      <a:pt x="516" y="584"/>
                      <a:pt x="517" y="571"/>
                    </a:cubicBezTo>
                    <a:cubicBezTo>
                      <a:pt x="529" y="572"/>
                      <a:pt x="531" y="562"/>
                      <a:pt x="527" y="551"/>
                    </a:cubicBezTo>
                    <a:cubicBezTo>
                      <a:pt x="517" y="545"/>
                      <a:pt x="510" y="545"/>
                      <a:pt x="500" y="553"/>
                    </a:cubicBezTo>
                    <a:cubicBezTo>
                      <a:pt x="500" y="556"/>
                      <a:pt x="504" y="556"/>
                      <a:pt x="501" y="558"/>
                    </a:cubicBezTo>
                    <a:cubicBezTo>
                      <a:pt x="498" y="557"/>
                      <a:pt x="499" y="561"/>
                      <a:pt x="497" y="560"/>
                    </a:cubicBezTo>
                    <a:cubicBezTo>
                      <a:pt x="494" y="559"/>
                      <a:pt x="495" y="555"/>
                      <a:pt x="491" y="555"/>
                    </a:cubicBezTo>
                    <a:cubicBezTo>
                      <a:pt x="483" y="557"/>
                      <a:pt x="486" y="564"/>
                      <a:pt x="480" y="569"/>
                    </a:cubicBezTo>
                    <a:cubicBezTo>
                      <a:pt x="479" y="574"/>
                      <a:pt x="484" y="572"/>
                      <a:pt x="484" y="576"/>
                    </a:cubicBezTo>
                    <a:cubicBezTo>
                      <a:pt x="479" y="579"/>
                      <a:pt x="475" y="583"/>
                      <a:pt x="472" y="587"/>
                    </a:cubicBezTo>
                    <a:cubicBezTo>
                      <a:pt x="462" y="584"/>
                      <a:pt x="464" y="594"/>
                      <a:pt x="466" y="602"/>
                    </a:cubicBezTo>
                    <a:close/>
                    <a:moveTo>
                      <a:pt x="537" y="569"/>
                    </a:moveTo>
                    <a:cubicBezTo>
                      <a:pt x="533" y="568"/>
                      <a:pt x="532" y="572"/>
                      <a:pt x="531" y="574"/>
                    </a:cubicBezTo>
                    <a:cubicBezTo>
                      <a:pt x="535" y="575"/>
                      <a:pt x="537" y="573"/>
                      <a:pt x="537" y="569"/>
                    </a:cubicBezTo>
                    <a:close/>
                    <a:moveTo>
                      <a:pt x="609" y="872"/>
                    </a:moveTo>
                    <a:cubicBezTo>
                      <a:pt x="617" y="874"/>
                      <a:pt x="620" y="868"/>
                      <a:pt x="628" y="870"/>
                    </a:cubicBezTo>
                    <a:cubicBezTo>
                      <a:pt x="629" y="855"/>
                      <a:pt x="640" y="840"/>
                      <a:pt x="629" y="829"/>
                    </a:cubicBezTo>
                    <a:cubicBezTo>
                      <a:pt x="633" y="821"/>
                      <a:pt x="638" y="811"/>
                      <a:pt x="635" y="799"/>
                    </a:cubicBezTo>
                    <a:cubicBezTo>
                      <a:pt x="623" y="803"/>
                      <a:pt x="619" y="811"/>
                      <a:pt x="621" y="825"/>
                    </a:cubicBezTo>
                    <a:cubicBezTo>
                      <a:pt x="623" y="827"/>
                      <a:pt x="625" y="829"/>
                      <a:pt x="628" y="830"/>
                    </a:cubicBezTo>
                    <a:cubicBezTo>
                      <a:pt x="625" y="832"/>
                      <a:pt x="622" y="834"/>
                      <a:pt x="618" y="835"/>
                    </a:cubicBezTo>
                    <a:cubicBezTo>
                      <a:pt x="616" y="835"/>
                      <a:pt x="614" y="832"/>
                      <a:pt x="611" y="833"/>
                    </a:cubicBezTo>
                    <a:cubicBezTo>
                      <a:pt x="609" y="837"/>
                      <a:pt x="614" y="839"/>
                      <a:pt x="614" y="844"/>
                    </a:cubicBezTo>
                    <a:cubicBezTo>
                      <a:pt x="614" y="852"/>
                      <a:pt x="607" y="862"/>
                      <a:pt x="609" y="872"/>
                    </a:cubicBezTo>
                    <a:close/>
                    <a:moveTo>
                      <a:pt x="1654" y="815"/>
                    </a:moveTo>
                    <a:cubicBezTo>
                      <a:pt x="1655" y="818"/>
                      <a:pt x="1653" y="828"/>
                      <a:pt x="1655" y="826"/>
                    </a:cubicBezTo>
                    <a:cubicBezTo>
                      <a:pt x="1655" y="823"/>
                      <a:pt x="1656" y="813"/>
                      <a:pt x="1654" y="815"/>
                    </a:cubicBezTo>
                    <a:close/>
                    <a:moveTo>
                      <a:pt x="544" y="845"/>
                    </a:moveTo>
                    <a:cubicBezTo>
                      <a:pt x="543" y="839"/>
                      <a:pt x="531" y="837"/>
                      <a:pt x="528" y="845"/>
                    </a:cubicBezTo>
                    <a:cubicBezTo>
                      <a:pt x="531" y="852"/>
                      <a:pt x="544" y="854"/>
                      <a:pt x="544" y="845"/>
                    </a:cubicBezTo>
                    <a:close/>
                    <a:moveTo>
                      <a:pt x="549" y="840"/>
                    </a:moveTo>
                    <a:cubicBezTo>
                      <a:pt x="548" y="842"/>
                      <a:pt x="551" y="847"/>
                      <a:pt x="555" y="847"/>
                    </a:cubicBezTo>
                    <a:cubicBezTo>
                      <a:pt x="559" y="843"/>
                      <a:pt x="552" y="838"/>
                      <a:pt x="549" y="840"/>
                    </a:cubicBezTo>
                    <a:close/>
                    <a:moveTo>
                      <a:pt x="517" y="851"/>
                    </a:moveTo>
                    <a:cubicBezTo>
                      <a:pt x="515" y="851"/>
                      <a:pt x="515" y="848"/>
                      <a:pt x="513" y="849"/>
                    </a:cubicBezTo>
                    <a:cubicBezTo>
                      <a:pt x="511" y="850"/>
                      <a:pt x="509" y="854"/>
                      <a:pt x="511" y="856"/>
                    </a:cubicBezTo>
                    <a:cubicBezTo>
                      <a:pt x="514" y="855"/>
                      <a:pt x="516" y="854"/>
                      <a:pt x="517" y="851"/>
                    </a:cubicBezTo>
                    <a:close/>
                    <a:moveTo>
                      <a:pt x="838" y="859"/>
                    </a:moveTo>
                    <a:cubicBezTo>
                      <a:pt x="838" y="862"/>
                      <a:pt x="843" y="863"/>
                      <a:pt x="844" y="861"/>
                    </a:cubicBezTo>
                    <a:cubicBezTo>
                      <a:pt x="844" y="858"/>
                      <a:pt x="840" y="858"/>
                      <a:pt x="838" y="859"/>
                    </a:cubicBezTo>
                    <a:close/>
                    <a:moveTo>
                      <a:pt x="858" y="869"/>
                    </a:moveTo>
                    <a:cubicBezTo>
                      <a:pt x="858" y="868"/>
                      <a:pt x="859" y="867"/>
                      <a:pt x="859" y="866"/>
                    </a:cubicBezTo>
                    <a:cubicBezTo>
                      <a:pt x="858" y="863"/>
                      <a:pt x="852" y="864"/>
                      <a:pt x="852" y="868"/>
                    </a:cubicBezTo>
                    <a:cubicBezTo>
                      <a:pt x="853" y="869"/>
                      <a:pt x="856" y="869"/>
                      <a:pt x="858" y="869"/>
                    </a:cubicBezTo>
                    <a:close/>
                    <a:moveTo>
                      <a:pt x="786" y="895"/>
                    </a:moveTo>
                    <a:cubicBezTo>
                      <a:pt x="786" y="897"/>
                      <a:pt x="784" y="897"/>
                      <a:pt x="785" y="901"/>
                    </a:cubicBezTo>
                    <a:cubicBezTo>
                      <a:pt x="787" y="901"/>
                      <a:pt x="790" y="903"/>
                      <a:pt x="792" y="901"/>
                    </a:cubicBezTo>
                    <a:cubicBezTo>
                      <a:pt x="792" y="897"/>
                      <a:pt x="790" y="896"/>
                      <a:pt x="786" y="895"/>
                    </a:cubicBezTo>
                    <a:close/>
                    <a:moveTo>
                      <a:pt x="855" y="911"/>
                    </a:moveTo>
                    <a:cubicBezTo>
                      <a:pt x="861" y="911"/>
                      <a:pt x="857" y="903"/>
                      <a:pt x="852" y="904"/>
                    </a:cubicBezTo>
                    <a:cubicBezTo>
                      <a:pt x="851" y="908"/>
                      <a:pt x="855" y="908"/>
                      <a:pt x="855" y="911"/>
                    </a:cubicBezTo>
                    <a:close/>
                    <a:moveTo>
                      <a:pt x="882" y="904"/>
                    </a:moveTo>
                    <a:cubicBezTo>
                      <a:pt x="882" y="905"/>
                      <a:pt x="880" y="906"/>
                      <a:pt x="881" y="908"/>
                    </a:cubicBezTo>
                    <a:cubicBezTo>
                      <a:pt x="883" y="911"/>
                      <a:pt x="884" y="910"/>
                      <a:pt x="886" y="908"/>
                    </a:cubicBezTo>
                    <a:cubicBezTo>
                      <a:pt x="886" y="906"/>
                      <a:pt x="884" y="905"/>
                      <a:pt x="882" y="904"/>
                    </a:cubicBezTo>
                    <a:close/>
                    <a:moveTo>
                      <a:pt x="792" y="911"/>
                    </a:moveTo>
                    <a:cubicBezTo>
                      <a:pt x="792" y="909"/>
                      <a:pt x="793" y="906"/>
                      <a:pt x="791" y="905"/>
                    </a:cubicBezTo>
                    <a:cubicBezTo>
                      <a:pt x="788" y="905"/>
                      <a:pt x="788" y="905"/>
                      <a:pt x="788" y="905"/>
                    </a:cubicBezTo>
                    <a:cubicBezTo>
                      <a:pt x="787" y="908"/>
                      <a:pt x="787" y="912"/>
                      <a:pt x="792" y="911"/>
                    </a:cubicBezTo>
                    <a:close/>
                    <a:moveTo>
                      <a:pt x="872" y="908"/>
                    </a:moveTo>
                    <a:cubicBezTo>
                      <a:pt x="871" y="910"/>
                      <a:pt x="871" y="911"/>
                      <a:pt x="871" y="913"/>
                    </a:cubicBezTo>
                    <a:cubicBezTo>
                      <a:pt x="875" y="913"/>
                      <a:pt x="875" y="913"/>
                      <a:pt x="875" y="913"/>
                    </a:cubicBezTo>
                    <a:cubicBezTo>
                      <a:pt x="875" y="910"/>
                      <a:pt x="875" y="908"/>
                      <a:pt x="872" y="908"/>
                    </a:cubicBezTo>
                    <a:close/>
                    <a:moveTo>
                      <a:pt x="849" y="912"/>
                    </a:moveTo>
                    <a:cubicBezTo>
                      <a:pt x="849" y="910"/>
                      <a:pt x="845" y="912"/>
                      <a:pt x="844" y="911"/>
                    </a:cubicBezTo>
                    <a:cubicBezTo>
                      <a:pt x="842" y="915"/>
                      <a:pt x="850" y="916"/>
                      <a:pt x="849" y="912"/>
                    </a:cubicBezTo>
                    <a:close/>
                    <a:moveTo>
                      <a:pt x="887" y="914"/>
                    </a:moveTo>
                    <a:cubicBezTo>
                      <a:pt x="882" y="914"/>
                      <a:pt x="882" y="914"/>
                      <a:pt x="882" y="914"/>
                    </a:cubicBezTo>
                    <a:cubicBezTo>
                      <a:pt x="881" y="919"/>
                      <a:pt x="887" y="916"/>
                      <a:pt x="887" y="914"/>
                    </a:cubicBezTo>
                    <a:close/>
                    <a:moveTo>
                      <a:pt x="867" y="924"/>
                    </a:moveTo>
                    <a:cubicBezTo>
                      <a:pt x="867" y="922"/>
                      <a:pt x="868" y="922"/>
                      <a:pt x="868" y="920"/>
                    </a:cubicBezTo>
                    <a:cubicBezTo>
                      <a:pt x="867" y="917"/>
                      <a:pt x="863" y="916"/>
                      <a:pt x="860" y="918"/>
                    </a:cubicBezTo>
                    <a:cubicBezTo>
                      <a:pt x="860" y="922"/>
                      <a:pt x="862" y="925"/>
                      <a:pt x="867" y="924"/>
                    </a:cubicBezTo>
                    <a:close/>
                    <a:moveTo>
                      <a:pt x="889" y="927"/>
                    </a:moveTo>
                    <a:cubicBezTo>
                      <a:pt x="893" y="925"/>
                      <a:pt x="896" y="923"/>
                      <a:pt x="896" y="919"/>
                    </a:cubicBezTo>
                    <a:cubicBezTo>
                      <a:pt x="890" y="918"/>
                      <a:pt x="886" y="922"/>
                      <a:pt x="889" y="927"/>
                    </a:cubicBezTo>
                    <a:close/>
                    <a:moveTo>
                      <a:pt x="876" y="931"/>
                    </a:moveTo>
                    <a:cubicBezTo>
                      <a:pt x="886" y="935"/>
                      <a:pt x="879" y="921"/>
                      <a:pt x="876" y="931"/>
                    </a:cubicBezTo>
                    <a:close/>
                    <a:moveTo>
                      <a:pt x="856" y="928"/>
                    </a:moveTo>
                    <a:cubicBezTo>
                      <a:pt x="855" y="929"/>
                      <a:pt x="853" y="930"/>
                      <a:pt x="855" y="932"/>
                    </a:cubicBezTo>
                    <a:cubicBezTo>
                      <a:pt x="858" y="933"/>
                      <a:pt x="858" y="928"/>
                      <a:pt x="856" y="928"/>
                    </a:cubicBezTo>
                    <a:close/>
                    <a:moveTo>
                      <a:pt x="907" y="930"/>
                    </a:moveTo>
                    <a:cubicBezTo>
                      <a:pt x="902" y="926"/>
                      <a:pt x="898" y="935"/>
                      <a:pt x="901" y="940"/>
                    </a:cubicBezTo>
                    <a:cubicBezTo>
                      <a:pt x="906" y="940"/>
                      <a:pt x="906" y="934"/>
                      <a:pt x="907" y="930"/>
                    </a:cubicBezTo>
                    <a:close/>
                    <a:moveTo>
                      <a:pt x="695" y="941"/>
                    </a:moveTo>
                    <a:cubicBezTo>
                      <a:pt x="698" y="937"/>
                      <a:pt x="695" y="932"/>
                      <a:pt x="690" y="931"/>
                    </a:cubicBezTo>
                    <a:cubicBezTo>
                      <a:pt x="687" y="935"/>
                      <a:pt x="689" y="942"/>
                      <a:pt x="695" y="941"/>
                    </a:cubicBezTo>
                    <a:close/>
                    <a:moveTo>
                      <a:pt x="830" y="939"/>
                    </a:moveTo>
                    <a:cubicBezTo>
                      <a:pt x="829" y="935"/>
                      <a:pt x="827" y="935"/>
                      <a:pt x="824" y="936"/>
                    </a:cubicBezTo>
                    <a:cubicBezTo>
                      <a:pt x="823" y="941"/>
                      <a:pt x="827" y="940"/>
                      <a:pt x="830" y="939"/>
                    </a:cubicBezTo>
                    <a:close/>
                    <a:moveTo>
                      <a:pt x="972" y="947"/>
                    </a:moveTo>
                    <a:cubicBezTo>
                      <a:pt x="976" y="965"/>
                      <a:pt x="990" y="952"/>
                      <a:pt x="1001" y="949"/>
                    </a:cubicBezTo>
                    <a:cubicBezTo>
                      <a:pt x="999" y="942"/>
                      <a:pt x="1002" y="940"/>
                      <a:pt x="1003" y="935"/>
                    </a:cubicBezTo>
                    <a:cubicBezTo>
                      <a:pt x="993" y="940"/>
                      <a:pt x="982" y="943"/>
                      <a:pt x="972" y="947"/>
                    </a:cubicBezTo>
                    <a:close/>
                    <a:moveTo>
                      <a:pt x="895" y="951"/>
                    </a:moveTo>
                    <a:cubicBezTo>
                      <a:pt x="895" y="946"/>
                      <a:pt x="894" y="944"/>
                      <a:pt x="891" y="942"/>
                    </a:cubicBezTo>
                    <a:cubicBezTo>
                      <a:pt x="889" y="944"/>
                      <a:pt x="890" y="948"/>
                      <a:pt x="890" y="951"/>
                    </a:cubicBezTo>
                    <a:lnTo>
                      <a:pt x="895" y="951"/>
                    </a:lnTo>
                    <a:close/>
                    <a:moveTo>
                      <a:pt x="836" y="953"/>
                    </a:moveTo>
                    <a:cubicBezTo>
                      <a:pt x="837" y="958"/>
                      <a:pt x="845" y="954"/>
                      <a:pt x="851" y="956"/>
                    </a:cubicBezTo>
                    <a:cubicBezTo>
                      <a:pt x="854" y="958"/>
                      <a:pt x="855" y="962"/>
                      <a:pt x="858" y="962"/>
                    </a:cubicBezTo>
                    <a:cubicBezTo>
                      <a:pt x="865" y="963"/>
                      <a:pt x="884" y="961"/>
                      <a:pt x="880" y="953"/>
                    </a:cubicBezTo>
                    <a:cubicBezTo>
                      <a:pt x="866" y="954"/>
                      <a:pt x="851" y="950"/>
                      <a:pt x="838" y="947"/>
                    </a:cubicBezTo>
                    <a:cubicBezTo>
                      <a:pt x="838" y="949"/>
                      <a:pt x="837" y="950"/>
                      <a:pt x="836" y="953"/>
                    </a:cubicBezTo>
                    <a:close/>
                    <a:moveTo>
                      <a:pt x="1618" y="1038"/>
                    </a:moveTo>
                    <a:cubicBezTo>
                      <a:pt x="1625" y="1028"/>
                      <a:pt x="1635" y="1002"/>
                      <a:pt x="1623" y="990"/>
                    </a:cubicBezTo>
                    <a:cubicBezTo>
                      <a:pt x="1617" y="1003"/>
                      <a:pt x="1619" y="1020"/>
                      <a:pt x="1618" y="1038"/>
                    </a:cubicBezTo>
                    <a:close/>
                    <a:moveTo>
                      <a:pt x="1272" y="1507"/>
                    </a:moveTo>
                    <a:cubicBezTo>
                      <a:pt x="1255" y="1507"/>
                      <a:pt x="1255" y="1525"/>
                      <a:pt x="1240" y="1528"/>
                    </a:cubicBezTo>
                    <a:cubicBezTo>
                      <a:pt x="1238" y="1531"/>
                      <a:pt x="1238" y="1532"/>
                      <a:pt x="1235" y="1535"/>
                    </a:cubicBezTo>
                    <a:cubicBezTo>
                      <a:pt x="1232" y="1535"/>
                      <a:pt x="1231" y="1536"/>
                      <a:pt x="1229" y="1536"/>
                    </a:cubicBezTo>
                    <a:cubicBezTo>
                      <a:pt x="1213" y="1556"/>
                      <a:pt x="1182" y="1560"/>
                      <a:pt x="1164" y="1578"/>
                    </a:cubicBezTo>
                    <a:cubicBezTo>
                      <a:pt x="1162" y="1600"/>
                      <a:pt x="1128" y="1597"/>
                      <a:pt x="1128" y="1615"/>
                    </a:cubicBezTo>
                    <a:cubicBezTo>
                      <a:pt x="1178" y="1602"/>
                      <a:pt x="1209" y="1571"/>
                      <a:pt x="1245" y="1545"/>
                    </a:cubicBezTo>
                    <a:cubicBezTo>
                      <a:pt x="1250" y="1533"/>
                      <a:pt x="1261" y="1528"/>
                      <a:pt x="1271" y="1522"/>
                    </a:cubicBezTo>
                    <a:cubicBezTo>
                      <a:pt x="1270" y="1518"/>
                      <a:pt x="1273" y="1516"/>
                      <a:pt x="1275" y="1511"/>
                    </a:cubicBezTo>
                    <a:cubicBezTo>
                      <a:pt x="1270" y="1511"/>
                      <a:pt x="1274" y="1508"/>
                      <a:pt x="1272" y="1507"/>
                    </a:cubicBezTo>
                    <a:close/>
                    <a:moveTo>
                      <a:pt x="597" y="4"/>
                    </a:moveTo>
                    <a:cubicBezTo>
                      <a:pt x="601" y="2"/>
                      <a:pt x="608" y="3"/>
                      <a:pt x="611" y="0"/>
                    </a:cubicBezTo>
                    <a:cubicBezTo>
                      <a:pt x="606" y="0"/>
                      <a:pt x="598" y="2"/>
                      <a:pt x="597" y="4"/>
                    </a:cubicBezTo>
                    <a:close/>
                    <a:moveTo>
                      <a:pt x="138" y="388"/>
                    </a:moveTo>
                    <a:cubicBezTo>
                      <a:pt x="139" y="391"/>
                      <a:pt x="136" y="395"/>
                      <a:pt x="138" y="397"/>
                    </a:cubicBezTo>
                    <a:cubicBezTo>
                      <a:pt x="140" y="394"/>
                      <a:pt x="142" y="385"/>
                      <a:pt x="141" y="382"/>
                    </a:cubicBezTo>
                    <a:cubicBezTo>
                      <a:pt x="141" y="383"/>
                      <a:pt x="140" y="385"/>
                      <a:pt x="139" y="385"/>
                    </a:cubicBezTo>
                    <a:cubicBezTo>
                      <a:pt x="140" y="374"/>
                      <a:pt x="151" y="374"/>
                      <a:pt x="157" y="368"/>
                    </a:cubicBezTo>
                    <a:cubicBezTo>
                      <a:pt x="154" y="368"/>
                      <a:pt x="154" y="366"/>
                      <a:pt x="154" y="364"/>
                    </a:cubicBezTo>
                    <a:cubicBezTo>
                      <a:pt x="155" y="363"/>
                      <a:pt x="156" y="360"/>
                      <a:pt x="158" y="359"/>
                    </a:cubicBezTo>
                    <a:cubicBezTo>
                      <a:pt x="158" y="362"/>
                      <a:pt x="155" y="361"/>
                      <a:pt x="156" y="365"/>
                    </a:cubicBezTo>
                    <a:cubicBezTo>
                      <a:pt x="160" y="363"/>
                      <a:pt x="158" y="368"/>
                      <a:pt x="161" y="368"/>
                    </a:cubicBezTo>
                    <a:cubicBezTo>
                      <a:pt x="177" y="362"/>
                      <a:pt x="168" y="334"/>
                      <a:pt x="151" y="340"/>
                    </a:cubicBezTo>
                    <a:cubicBezTo>
                      <a:pt x="156" y="337"/>
                      <a:pt x="163" y="339"/>
                      <a:pt x="169" y="339"/>
                    </a:cubicBezTo>
                    <a:cubicBezTo>
                      <a:pt x="170" y="340"/>
                      <a:pt x="170" y="344"/>
                      <a:pt x="172" y="344"/>
                    </a:cubicBezTo>
                    <a:cubicBezTo>
                      <a:pt x="173" y="343"/>
                      <a:pt x="175" y="342"/>
                      <a:pt x="178" y="342"/>
                    </a:cubicBezTo>
                    <a:cubicBezTo>
                      <a:pt x="183" y="351"/>
                      <a:pt x="181" y="361"/>
                      <a:pt x="180" y="373"/>
                    </a:cubicBezTo>
                    <a:cubicBezTo>
                      <a:pt x="184" y="373"/>
                      <a:pt x="184" y="377"/>
                      <a:pt x="186" y="379"/>
                    </a:cubicBezTo>
                    <a:cubicBezTo>
                      <a:pt x="191" y="379"/>
                      <a:pt x="193" y="377"/>
                      <a:pt x="198" y="378"/>
                    </a:cubicBezTo>
                    <a:cubicBezTo>
                      <a:pt x="201" y="382"/>
                      <a:pt x="205" y="386"/>
                      <a:pt x="211" y="387"/>
                    </a:cubicBezTo>
                    <a:cubicBezTo>
                      <a:pt x="215" y="377"/>
                      <a:pt x="231" y="380"/>
                      <a:pt x="232" y="366"/>
                    </a:cubicBezTo>
                    <a:cubicBezTo>
                      <a:pt x="231" y="364"/>
                      <a:pt x="229" y="368"/>
                      <a:pt x="227" y="367"/>
                    </a:cubicBezTo>
                    <a:cubicBezTo>
                      <a:pt x="231" y="364"/>
                      <a:pt x="235" y="360"/>
                      <a:pt x="236" y="355"/>
                    </a:cubicBezTo>
                    <a:cubicBezTo>
                      <a:pt x="238" y="355"/>
                      <a:pt x="236" y="360"/>
                      <a:pt x="240" y="359"/>
                    </a:cubicBezTo>
                    <a:cubicBezTo>
                      <a:pt x="247" y="349"/>
                      <a:pt x="238" y="336"/>
                      <a:pt x="253" y="331"/>
                    </a:cubicBezTo>
                    <a:cubicBezTo>
                      <a:pt x="251" y="326"/>
                      <a:pt x="257" y="322"/>
                      <a:pt x="260" y="319"/>
                    </a:cubicBezTo>
                    <a:cubicBezTo>
                      <a:pt x="260" y="321"/>
                      <a:pt x="264" y="321"/>
                      <a:pt x="266" y="321"/>
                    </a:cubicBezTo>
                    <a:cubicBezTo>
                      <a:pt x="267" y="317"/>
                      <a:pt x="269" y="313"/>
                      <a:pt x="275" y="314"/>
                    </a:cubicBezTo>
                    <a:cubicBezTo>
                      <a:pt x="277" y="309"/>
                      <a:pt x="278" y="303"/>
                      <a:pt x="285" y="303"/>
                    </a:cubicBezTo>
                    <a:cubicBezTo>
                      <a:pt x="288" y="295"/>
                      <a:pt x="303" y="291"/>
                      <a:pt x="301" y="284"/>
                    </a:cubicBezTo>
                    <a:cubicBezTo>
                      <a:pt x="295" y="286"/>
                      <a:pt x="289" y="288"/>
                      <a:pt x="283" y="289"/>
                    </a:cubicBezTo>
                    <a:cubicBezTo>
                      <a:pt x="282" y="287"/>
                      <a:pt x="288" y="286"/>
                      <a:pt x="283" y="285"/>
                    </a:cubicBezTo>
                    <a:cubicBezTo>
                      <a:pt x="281" y="285"/>
                      <a:pt x="277" y="288"/>
                      <a:pt x="276" y="285"/>
                    </a:cubicBezTo>
                    <a:cubicBezTo>
                      <a:pt x="280" y="276"/>
                      <a:pt x="290" y="265"/>
                      <a:pt x="307" y="264"/>
                    </a:cubicBezTo>
                    <a:cubicBezTo>
                      <a:pt x="309" y="251"/>
                      <a:pt x="321" y="248"/>
                      <a:pt x="326" y="238"/>
                    </a:cubicBezTo>
                    <a:cubicBezTo>
                      <a:pt x="325" y="237"/>
                      <a:pt x="322" y="238"/>
                      <a:pt x="322" y="236"/>
                    </a:cubicBezTo>
                    <a:cubicBezTo>
                      <a:pt x="325" y="236"/>
                      <a:pt x="323" y="234"/>
                      <a:pt x="322" y="233"/>
                    </a:cubicBezTo>
                    <a:cubicBezTo>
                      <a:pt x="324" y="230"/>
                      <a:pt x="325" y="227"/>
                      <a:pt x="327" y="224"/>
                    </a:cubicBezTo>
                    <a:cubicBezTo>
                      <a:pt x="320" y="223"/>
                      <a:pt x="316" y="229"/>
                      <a:pt x="310" y="231"/>
                    </a:cubicBezTo>
                    <a:cubicBezTo>
                      <a:pt x="309" y="231"/>
                      <a:pt x="307" y="229"/>
                      <a:pt x="305" y="230"/>
                    </a:cubicBezTo>
                    <a:cubicBezTo>
                      <a:pt x="298" y="231"/>
                      <a:pt x="291" y="241"/>
                      <a:pt x="281" y="236"/>
                    </a:cubicBezTo>
                    <a:cubicBezTo>
                      <a:pt x="271" y="246"/>
                      <a:pt x="258" y="263"/>
                      <a:pt x="239" y="255"/>
                    </a:cubicBezTo>
                    <a:cubicBezTo>
                      <a:pt x="239" y="249"/>
                      <a:pt x="239" y="249"/>
                      <a:pt x="239" y="249"/>
                    </a:cubicBezTo>
                    <a:cubicBezTo>
                      <a:pt x="228" y="255"/>
                      <a:pt x="218" y="267"/>
                      <a:pt x="205" y="267"/>
                    </a:cubicBezTo>
                    <a:cubicBezTo>
                      <a:pt x="207" y="265"/>
                      <a:pt x="203" y="266"/>
                      <a:pt x="204" y="263"/>
                    </a:cubicBezTo>
                    <a:cubicBezTo>
                      <a:pt x="215" y="246"/>
                      <a:pt x="245" y="246"/>
                      <a:pt x="251" y="223"/>
                    </a:cubicBezTo>
                    <a:cubicBezTo>
                      <a:pt x="261" y="211"/>
                      <a:pt x="276" y="204"/>
                      <a:pt x="282" y="188"/>
                    </a:cubicBezTo>
                    <a:cubicBezTo>
                      <a:pt x="292" y="187"/>
                      <a:pt x="299" y="176"/>
                      <a:pt x="305" y="173"/>
                    </a:cubicBezTo>
                    <a:cubicBezTo>
                      <a:pt x="316" y="168"/>
                      <a:pt x="324" y="173"/>
                      <a:pt x="338" y="174"/>
                    </a:cubicBezTo>
                    <a:cubicBezTo>
                      <a:pt x="339" y="176"/>
                      <a:pt x="336" y="176"/>
                      <a:pt x="337" y="179"/>
                    </a:cubicBezTo>
                    <a:cubicBezTo>
                      <a:pt x="340" y="179"/>
                      <a:pt x="341" y="177"/>
                      <a:pt x="344" y="176"/>
                    </a:cubicBezTo>
                    <a:cubicBezTo>
                      <a:pt x="340" y="180"/>
                      <a:pt x="349" y="176"/>
                      <a:pt x="350" y="179"/>
                    </a:cubicBezTo>
                    <a:cubicBezTo>
                      <a:pt x="349" y="181"/>
                      <a:pt x="347" y="181"/>
                      <a:pt x="347" y="183"/>
                    </a:cubicBezTo>
                    <a:cubicBezTo>
                      <a:pt x="350" y="183"/>
                      <a:pt x="352" y="184"/>
                      <a:pt x="353" y="187"/>
                    </a:cubicBezTo>
                    <a:cubicBezTo>
                      <a:pt x="350" y="188"/>
                      <a:pt x="349" y="188"/>
                      <a:pt x="344" y="187"/>
                    </a:cubicBezTo>
                    <a:cubicBezTo>
                      <a:pt x="344" y="194"/>
                      <a:pt x="334" y="192"/>
                      <a:pt x="334" y="199"/>
                    </a:cubicBezTo>
                    <a:cubicBezTo>
                      <a:pt x="336" y="202"/>
                      <a:pt x="341" y="198"/>
                      <a:pt x="342" y="200"/>
                    </a:cubicBezTo>
                    <a:cubicBezTo>
                      <a:pt x="341" y="206"/>
                      <a:pt x="333" y="207"/>
                      <a:pt x="334" y="215"/>
                    </a:cubicBezTo>
                    <a:cubicBezTo>
                      <a:pt x="347" y="207"/>
                      <a:pt x="357" y="194"/>
                      <a:pt x="369" y="188"/>
                    </a:cubicBezTo>
                    <a:cubicBezTo>
                      <a:pt x="367" y="184"/>
                      <a:pt x="357" y="189"/>
                      <a:pt x="355" y="187"/>
                    </a:cubicBezTo>
                    <a:cubicBezTo>
                      <a:pt x="363" y="183"/>
                      <a:pt x="364" y="174"/>
                      <a:pt x="373" y="171"/>
                    </a:cubicBezTo>
                    <a:cubicBezTo>
                      <a:pt x="372" y="178"/>
                      <a:pt x="364" y="178"/>
                      <a:pt x="362" y="184"/>
                    </a:cubicBezTo>
                    <a:cubicBezTo>
                      <a:pt x="368" y="187"/>
                      <a:pt x="372" y="185"/>
                      <a:pt x="376" y="185"/>
                    </a:cubicBezTo>
                    <a:cubicBezTo>
                      <a:pt x="375" y="187"/>
                      <a:pt x="372" y="187"/>
                      <a:pt x="372" y="190"/>
                    </a:cubicBezTo>
                    <a:cubicBezTo>
                      <a:pt x="374" y="192"/>
                      <a:pt x="373" y="192"/>
                      <a:pt x="372" y="194"/>
                    </a:cubicBezTo>
                    <a:cubicBezTo>
                      <a:pt x="381" y="201"/>
                      <a:pt x="389" y="192"/>
                      <a:pt x="397" y="189"/>
                    </a:cubicBezTo>
                    <a:cubicBezTo>
                      <a:pt x="407" y="196"/>
                      <a:pt x="414" y="179"/>
                      <a:pt x="422" y="186"/>
                    </a:cubicBezTo>
                    <a:cubicBezTo>
                      <a:pt x="421" y="189"/>
                      <a:pt x="420" y="191"/>
                      <a:pt x="419" y="193"/>
                    </a:cubicBezTo>
                    <a:cubicBezTo>
                      <a:pt x="423" y="195"/>
                      <a:pt x="425" y="188"/>
                      <a:pt x="428" y="191"/>
                    </a:cubicBezTo>
                    <a:cubicBezTo>
                      <a:pt x="411" y="202"/>
                      <a:pt x="402" y="227"/>
                      <a:pt x="373" y="220"/>
                    </a:cubicBezTo>
                    <a:cubicBezTo>
                      <a:pt x="371" y="222"/>
                      <a:pt x="369" y="224"/>
                      <a:pt x="366" y="225"/>
                    </a:cubicBezTo>
                    <a:cubicBezTo>
                      <a:pt x="363" y="224"/>
                      <a:pt x="363" y="221"/>
                      <a:pt x="360" y="219"/>
                    </a:cubicBezTo>
                    <a:cubicBezTo>
                      <a:pt x="362" y="219"/>
                      <a:pt x="362" y="217"/>
                      <a:pt x="362" y="214"/>
                    </a:cubicBezTo>
                    <a:cubicBezTo>
                      <a:pt x="354" y="214"/>
                      <a:pt x="346" y="214"/>
                      <a:pt x="346" y="221"/>
                    </a:cubicBezTo>
                    <a:cubicBezTo>
                      <a:pt x="349" y="224"/>
                      <a:pt x="352" y="224"/>
                      <a:pt x="349" y="228"/>
                    </a:cubicBezTo>
                    <a:cubicBezTo>
                      <a:pt x="351" y="229"/>
                      <a:pt x="353" y="225"/>
                      <a:pt x="353" y="228"/>
                    </a:cubicBezTo>
                    <a:cubicBezTo>
                      <a:pt x="345" y="238"/>
                      <a:pt x="334" y="243"/>
                      <a:pt x="327" y="252"/>
                    </a:cubicBezTo>
                    <a:cubicBezTo>
                      <a:pt x="327" y="255"/>
                      <a:pt x="331" y="248"/>
                      <a:pt x="331" y="251"/>
                    </a:cubicBezTo>
                    <a:cubicBezTo>
                      <a:pt x="325" y="257"/>
                      <a:pt x="327" y="264"/>
                      <a:pt x="322" y="271"/>
                    </a:cubicBezTo>
                    <a:cubicBezTo>
                      <a:pt x="333" y="269"/>
                      <a:pt x="334" y="256"/>
                      <a:pt x="344" y="252"/>
                    </a:cubicBezTo>
                    <a:cubicBezTo>
                      <a:pt x="342" y="258"/>
                      <a:pt x="337" y="262"/>
                      <a:pt x="337" y="268"/>
                    </a:cubicBezTo>
                    <a:cubicBezTo>
                      <a:pt x="353" y="268"/>
                      <a:pt x="365" y="250"/>
                      <a:pt x="377" y="240"/>
                    </a:cubicBezTo>
                    <a:cubicBezTo>
                      <a:pt x="377" y="243"/>
                      <a:pt x="375" y="242"/>
                      <a:pt x="375" y="244"/>
                    </a:cubicBezTo>
                    <a:cubicBezTo>
                      <a:pt x="378" y="244"/>
                      <a:pt x="381" y="239"/>
                      <a:pt x="384" y="242"/>
                    </a:cubicBezTo>
                    <a:cubicBezTo>
                      <a:pt x="380" y="250"/>
                      <a:pt x="371" y="253"/>
                      <a:pt x="366" y="261"/>
                    </a:cubicBezTo>
                    <a:cubicBezTo>
                      <a:pt x="373" y="262"/>
                      <a:pt x="374" y="258"/>
                      <a:pt x="379" y="258"/>
                    </a:cubicBezTo>
                    <a:cubicBezTo>
                      <a:pt x="379" y="259"/>
                      <a:pt x="378" y="259"/>
                      <a:pt x="378" y="260"/>
                    </a:cubicBezTo>
                    <a:cubicBezTo>
                      <a:pt x="386" y="256"/>
                      <a:pt x="392" y="262"/>
                      <a:pt x="398" y="255"/>
                    </a:cubicBezTo>
                    <a:cubicBezTo>
                      <a:pt x="396" y="251"/>
                      <a:pt x="398" y="251"/>
                      <a:pt x="396" y="249"/>
                    </a:cubicBezTo>
                    <a:cubicBezTo>
                      <a:pt x="398" y="246"/>
                      <a:pt x="401" y="244"/>
                      <a:pt x="404" y="242"/>
                    </a:cubicBezTo>
                    <a:cubicBezTo>
                      <a:pt x="405" y="231"/>
                      <a:pt x="410" y="226"/>
                      <a:pt x="419" y="225"/>
                    </a:cubicBezTo>
                    <a:cubicBezTo>
                      <a:pt x="419" y="227"/>
                      <a:pt x="419" y="228"/>
                      <a:pt x="420" y="229"/>
                    </a:cubicBezTo>
                    <a:cubicBezTo>
                      <a:pt x="424" y="227"/>
                      <a:pt x="426" y="223"/>
                      <a:pt x="431" y="223"/>
                    </a:cubicBezTo>
                    <a:cubicBezTo>
                      <a:pt x="432" y="221"/>
                      <a:pt x="427" y="219"/>
                      <a:pt x="430" y="217"/>
                    </a:cubicBezTo>
                    <a:cubicBezTo>
                      <a:pt x="433" y="214"/>
                      <a:pt x="431" y="220"/>
                      <a:pt x="435" y="219"/>
                    </a:cubicBezTo>
                    <a:cubicBezTo>
                      <a:pt x="437" y="218"/>
                      <a:pt x="439" y="216"/>
                      <a:pt x="440" y="212"/>
                    </a:cubicBezTo>
                    <a:cubicBezTo>
                      <a:pt x="438" y="212"/>
                      <a:pt x="436" y="213"/>
                      <a:pt x="436" y="211"/>
                    </a:cubicBezTo>
                    <a:cubicBezTo>
                      <a:pt x="440" y="209"/>
                      <a:pt x="446" y="208"/>
                      <a:pt x="448" y="203"/>
                    </a:cubicBezTo>
                    <a:cubicBezTo>
                      <a:pt x="447" y="202"/>
                      <a:pt x="444" y="203"/>
                      <a:pt x="444" y="201"/>
                    </a:cubicBezTo>
                    <a:cubicBezTo>
                      <a:pt x="447" y="200"/>
                      <a:pt x="445" y="199"/>
                      <a:pt x="445" y="197"/>
                    </a:cubicBezTo>
                    <a:cubicBezTo>
                      <a:pt x="456" y="195"/>
                      <a:pt x="460" y="188"/>
                      <a:pt x="470" y="185"/>
                    </a:cubicBezTo>
                    <a:cubicBezTo>
                      <a:pt x="470" y="178"/>
                      <a:pt x="468" y="178"/>
                      <a:pt x="469" y="172"/>
                    </a:cubicBezTo>
                    <a:cubicBezTo>
                      <a:pt x="468" y="170"/>
                      <a:pt x="463" y="173"/>
                      <a:pt x="464" y="169"/>
                    </a:cubicBezTo>
                    <a:cubicBezTo>
                      <a:pt x="464" y="167"/>
                      <a:pt x="468" y="169"/>
                      <a:pt x="468" y="165"/>
                    </a:cubicBezTo>
                    <a:cubicBezTo>
                      <a:pt x="463" y="157"/>
                      <a:pt x="446" y="160"/>
                      <a:pt x="437" y="161"/>
                    </a:cubicBezTo>
                    <a:cubicBezTo>
                      <a:pt x="435" y="162"/>
                      <a:pt x="436" y="165"/>
                      <a:pt x="434" y="166"/>
                    </a:cubicBezTo>
                    <a:cubicBezTo>
                      <a:pt x="431" y="166"/>
                      <a:pt x="430" y="164"/>
                      <a:pt x="428" y="163"/>
                    </a:cubicBezTo>
                    <a:cubicBezTo>
                      <a:pt x="426" y="165"/>
                      <a:pt x="424" y="168"/>
                      <a:pt x="422" y="169"/>
                    </a:cubicBezTo>
                    <a:cubicBezTo>
                      <a:pt x="425" y="172"/>
                      <a:pt x="421" y="174"/>
                      <a:pt x="419" y="177"/>
                    </a:cubicBezTo>
                    <a:cubicBezTo>
                      <a:pt x="408" y="179"/>
                      <a:pt x="397" y="180"/>
                      <a:pt x="386" y="179"/>
                    </a:cubicBezTo>
                    <a:cubicBezTo>
                      <a:pt x="386" y="178"/>
                      <a:pt x="385" y="178"/>
                      <a:pt x="385" y="177"/>
                    </a:cubicBezTo>
                    <a:cubicBezTo>
                      <a:pt x="392" y="171"/>
                      <a:pt x="405" y="176"/>
                      <a:pt x="410" y="168"/>
                    </a:cubicBezTo>
                    <a:cubicBezTo>
                      <a:pt x="409" y="166"/>
                      <a:pt x="404" y="169"/>
                      <a:pt x="405" y="165"/>
                    </a:cubicBezTo>
                    <a:cubicBezTo>
                      <a:pt x="408" y="165"/>
                      <a:pt x="410" y="164"/>
                      <a:pt x="413" y="164"/>
                    </a:cubicBezTo>
                    <a:cubicBezTo>
                      <a:pt x="416" y="162"/>
                      <a:pt x="414" y="160"/>
                      <a:pt x="417" y="159"/>
                    </a:cubicBezTo>
                    <a:cubicBezTo>
                      <a:pt x="419" y="160"/>
                      <a:pt x="419" y="159"/>
                      <a:pt x="422" y="161"/>
                    </a:cubicBezTo>
                    <a:cubicBezTo>
                      <a:pt x="427" y="154"/>
                      <a:pt x="440" y="156"/>
                      <a:pt x="445" y="148"/>
                    </a:cubicBezTo>
                    <a:cubicBezTo>
                      <a:pt x="429" y="138"/>
                      <a:pt x="415" y="159"/>
                      <a:pt x="399" y="156"/>
                    </a:cubicBezTo>
                    <a:cubicBezTo>
                      <a:pt x="399" y="155"/>
                      <a:pt x="400" y="154"/>
                      <a:pt x="400" y="153"/>
                    </a:cubicBezTo>
                    <a:cubicBezTo>
                      <a:pt x="396" y="152"/>
                      <a:pt x="393" y="155"/>
                      <a:pt x="392" y="153"/>
                    </a:cubicBezTo>
                    <a:cubicBezTo>
                      <a:pt x="396" y="151"/>
                      <a:pt x="402" y="153"/>
                      <a:pt x="404" y="149"/>
                    </a:cubicBezTo>
                    <a:cubicBezTo>
                      <a:pt x="404" y="153"/>
                      <a:pt x="404" y="153"/>
                      <a:pt x="404" y="153"/>
                    </a:cubicBezTo>
                    <a:cubicBezTo>
                      <a:pt x="412" y="151"/>
                      <a:pt x="420" y="149"/>
                      <a:pt x="423" y="141"/>
                    </a:cubicBezTo>
                    <a:cubicBezTo>
                      <a:pt x="415" y="140"/>
                      <a:pt x="413" y="142"/>
                      <a:pt x="407" y="146"/>
                    </a:cubicBezTo>
                    <a:cubicBezTo>
                      <a:pt x="406" y="142"/>
                      <a:pt x="399" y="146"/>
                      <a:pt x="398" y="144"/>
                    </a:cubicBezTo>
                    <a:cubicBezTo>
                      <a:pt x="403" y="138"/>
                      <a:pt x="407" y="130"/>
                      <a:pt x="415" y="127"/>
                    </a:cubicBezTo>
                    <a:cubicBezTo>
                      <a:pt x="416" y="124"/>
                      <a:pt x="414" y="123"/>
                      <a:pt x="416" y="119"/>
                    </a:cubicBezTo>
                    <a:cubicBezTo>
                      <a:pt x="413" y="119"/>
                      <a:pt x="410" y="122"/>
                      <a:pt x="408" y="119"/>
                    </a:cubicBezTo>
                    <a:cubicBezTo>
                      <a:pt x="420" y="119"/>
                      <a:pt x="419" y="105"/>
                      <a:pt x="427" y="102"/>
                    </a:cubicBezTo>
                    <a:cubicBezTo>
                      <a:pt x="427" y="103"/>
                      <a:pt x="426" y="103"/>
                      <a:pt x="426" y="105"/>
                    </a:cubicBezTo>
                    <a:cubicBezTo>
                      <a:pt x="441" y="102"/>
                      <a:pt x="446" y="90"/>
                      <a:pt x="460" y="86"/>
                    </a:cubicBezTo>
                    <a:cubicBezTo>
                      <a:pt x="461" y="83"/>
                      <a:pt x="456" y="83"/>
                      <a:pt x="459" y="82"/>
                    </a:cubicBezTo>
                    <a:cubicBezTo>
                      <a:pt x="463" y="81"/>
                      <a:pt x="464" y="83"/>
                      <a:pt x="466" y="80"/>
                    </a:cubicBezTo>
                    <a:cubicBezTo>
                      <a:pt x="465" y="79"/>
                      <a:pt x="462" y="80"/>
                      <a:pt x="462" y="78"/>
                    </a:cubicBezTo>
                    <a:cubicBezTo>
                      <a:pt x="468" y="77"/>
                      <a:pt x="474" y="77"/>
                      <a:pt x="478" y="73"/>
                    </a:cubicBezTo>
                    <a:cubicBezTo>
                      <a:pt x="476" y="74"/>
                      <a:pt x="475" y="73"/>
                      <a:pt x="474" y="71"/>
                    </a:cubicBezTo>
                    <a:cubicBezTo>
                      <a:pt x="484" y="72"/>
                      <a:pt x="482" y="60"/>
                      <a:pt x="491" y="59"/>
                    </a:cubicBezTo>
                    <a:cubicBezTo>
                      <a:pt x="492" y="57"/>
                      <a:pt x="488" y="55"/>
                      <a:pt x="491" y="55"/>
                    </a:cubicBezTo>
                    <a:cubicBezTo>
                      <a:pt x="529" y="38"/>
                      <a:pt x="568" y="22"/>
                      <a:pt x="605" y="4"/>
                    </a:cubicBezTo>
                    <a:cubicBezTo>
                      <a:pt x="600" y="6"/>
                      <a:pt x="595" y="4"/>
                      <a:pt x="593" y="4"/>
                    </a:cubicBezTo>
                    <a:cubicBezTo>
                      <a:pt x="594" y="4"/>
                      <a:pt x="595" y="6"/>
                      <a:pt x="593" y="6"/>
                    </a:cubicBezTo>
                    <a:cubicBezTo>
                      <a:pt x="592" y="6"/>
                      <a:pt x="592" y="3"/>
                      <a:pt x="590" y="4"/>
                    </a:cubicBezTo>
                    <a:cubicBezTo>
                      <a:pt x="359" y="68"/>
                      <a:pt x="191" y="201"/>
                      <a:pt x="80" y="381"/>
                    </a:cubicBezTo>
                    <a:cubicBezTo>
                      <a:pt x="86" y="374"/>
                      <a:pt x="95" y="369"/>
                      <a:pt x="101" y="366"/>
                    </a:cubicBezTo>
                    <a:cubicBezTo>
                      <a:pt x="100" y="368"/>
                      <a:pt x="99" y="370"/>
                      <a:pt x="99" y="372"/>
                    </a:cubicBezTo>
                    <a:cubicBezTo>
                      <a:pt x="100" y="373"/>
                      <a:pt x="103" y="373"/>
                      <a:pt x="103" y="376"/>
                    </a:cubicBezTo>
                    <a:cubicBezTo>
                      <a:pt x="103" y="379"/>
                      <a:pt x="100" y="379"/>
                      <a:pt x="100" y="382"/>
                    </a:cubicBezTo>
                    <a:cubicBezTo>
                      <a:pt x="107" y="381"/>
                      <a:pt x="108" y="366"/>
                      <a:pt x="119" y="366"/>
                    </a:cubicBezTo>
                    <a:cubicBezTo>
                      <a:pt x="121" y="375"/>
                      <a:pt x="128" y="380"/>
                      <a:pt x="133" y="385"/>
                    </a:cubicBezTo>
                    <a:cubicBezTo>
                      <a:pt x="132" y="387"/>
                      <a:pt x="129" y="388"/>
                      <a:pt x="128" y="389"/>
                    </a:cubicBezTo>
                    <a:cubicBezTo>
                      <a:pt x="126" y="388"/>
                      <a:pt x="124" y="386"/>
                      <a:pt x="121" y="386"/>
                    </a:cubicBezTo>
                    <a:cubicBezTo>
                      <a:pt x="116" y="388"/>
                      <a:pt x="114" y="393"/>
                      <a:pt x="113" y="398"/>
                    </a:cubicBezTo>
                    <a:cubicBezTo>
                      <a:pt x="115" y="399"/>
                      <a:pt x="118" y="401"/>
                      <a:pt x="121" y="399"/>
                    </a:cubicBezTo>
                    <a:cubicBezTo>
                      <a:pt x="118" y="405"/>
                      <a:pt x="126" y="406"/>
                      <a:pt x="127" y="412"/>
                    </a:cubicBezTo>
                    <a:cubicBezTo>
                      <a:pt x="138" y="408"/>
                      <a:pt x="130" y="391"/>
                      <a:pt x="138" y="388"/>
                    </a:cubicBezTo>
                    <a:close/>
                    <a:moveTo>
                      <a:pt x="225" y="351"/>
                    </a:moveTo>
                    <a:cubicBezTo>
                      <a:pt x="228" y="353"/>
                      <a:pt x="235" y="351"/>
                      <a:pt x="233" y="356"/>
                    </a:cubicBezTo>
                    <a:cubicBezTo>
                      <a:pt x="231" y="354"/>
                      <a:pt x="230" y="356"/>
                      <a:pt x="226" y="355"/>
                    </a:cubicBezTo>
                    <a:cubicBezTo>
                      <a:pt x="225" y="354"/>
                      <a:pt x="225" y="353"/>
                      <a:pt x="225" y="351"/>
                    </a:cubicBezTo>
                    <a:close/>
                    <a:moveTo>
                      <a:pt x="457" y="181"/>
                    </a:moveTo>
                    <a:cubicBezTo>
                      <a:pt x="454" y="184"/>
                      <a:pt x="459" y="185"/>
                      <a:pt x="461" y="186"/>
                    </a:cubicBezTo>
                    <a:cubicBezTo>
                      <a:pt x="461" y="188"/>
                      <a:pt x="460" y="189"/>
                      <a:pt x="457" y="188"/>
                    </a:cubicBezTo>
                    <a:cubicBezTo>
                      <a:pt x="457" y="185"/>
                      <a:pt x="457" y="185"/>
                      <a:pt x="457" y="185"/>
                    </a:cubicBezTo>
                    <a:cubicBezTo>
                      <a:pt x="455" y="185"/>
                      <a:pt x="454" y="187"/>
                      <a:pt x="450" y="187"/>
                    </a:cubicBezTo>
                    <a:cubicBezTo>
                      <a:pt x="448" y="185"/>
                      <a:pt x="452" y="182"/>
                      <a:pt x="449" y="182"/>
                    </a:cubicBezTo>
                    <a:cubicBezTo>
                      <a:pt x="452" y="178"/>
                      <a:pt x="453" y="183"/>
                      <a:pt x="457" y="181"/>
                    </a:cubicBezTo>
                    <a:close/>
                    <a:moveTo>
                      <a:pt x="89" y="371"/>
                    </a:moveTo>
                    <a:cubicBezTo>
                      <a:pt x="90" y="369"/>
                      <a:pt x="92" y="367"/>
                      <a:pt x="93" y="364"/>
                    </a:cubicBezTo>
                    <a:cubicBezTo>
                      <a:pt x="95" y="363"/>
                      <a:pt x="91" y="371"/>
                      <a:pt x="89" y="371"/>
                    </a:cubicBezTo>
                    <a:close/>
                    <a:moveTo>
                      <a:pt x="80" y="381"/>
                    </a:moveTo>
                    <a:cubicBezTo>
                      <a:pt x="79" y="383"/>
                      <a:pt x="79" y="384"/>
                      <a:pt x="78" y="385"/>
                    </a:cubicBezTo>
                    <a:cubicBezTo>
                      <a:pt x="79" y="384"/>
                      <a:pt x="80" y="383"/>
                      <a:pt x="80" y="381"/>
                    </a:cubicBezTo>
                    <a:close/>
                    <a:moveTo>
                      <a:pt x="1653" y="739"/>
                    </a:moveTo>
                    <a:cubicBezTo>
                      <a:pt x="1639" y="588"/>
                      <a:pt x="1580" y="452"/>
                      <a:pt x="1512" y="356"/>
                    </a:cubicBezTo>
                    <a:cubicBezTo>
                      <a:pt x="1515" y="363"/>
                      <a:pt x="1520" y="368"/>
                      <a:pt x="1523" y="374"/>
                    </a:cubicBezTo>
                    <a:cubicBezTo>
                      <a:pt x="1519" y="372"/>
                      <a:pt x="1520" y="373"/>
                      <a:pt x="1521" y="377"/>
                    </a:cubicBezTo>
                    <a:cubicBezTo>
                      <a:pt x="1512" y="363"/>
                      <a:pt x="1500" y="348"/>
                      <a:pt x="1495" y="335"/>
                    </a:cubicBezTo>
                    <a:cubicBezTo>
                      <a:pt x="1498" y="338"/>
                      <a:pt x="1501" y="347"/>
                      <a:pt x="1505" y="346"/>
                    </a:cubicBezTo>
                    <a:cubicBezTo>
                      <a:pt x="1498" y="337"/>
                      <a:pt x="1489" y="325"/>
                      <a:pt x="1490" y="321"/>
                    </a:cubicBezTo>
                    <a:cubicBezTo>
                      <a:pt x="1448" y="272"/>
                      <a:pt x="1411" y="218"/>
                      <a:pt x="1353" y="186"/>
                    </a:cubicBezTo>
                    <a:cubicBezTo>
                      <a:pt x="1360" y="183"/>
                      <a:pt x="1367" y="195"/>
                      <a:pt x="1373" y="193"/>
                    </a:cubicBezTo>
                    <a:cubicBezTo>
                      <a:pt x="1367" y="189"/>
                      <a:pt x="1360" y="187"/>
                      <a:pt x="1357" y="180"/>
                    </a:cubicBezTo>
                    <a:cubicBezTo>
                      <a:pt x="1348" y="180"/>
                      <a:pt x="1342" y="175"/>
                      <a:pt x="1335" y="176"/>
                    </a:cubicBezTo>
                    <a:cubicBezTo>
                      <a:pt x="1340" y="179"/>
                      <a:pt x="1346" y="183"/>
                      <a:pt x="1352" y="186"/>
                    </a:cubicBezTo>
                    <a:cubicBezTo>
                      <a:pt x="1349" y="186"/>
                      <a:pt x="1346" y="182"/>
                      <a:pt x="1346" y="187"/>
                    </a:cubicBezTo>
                    <a:cubicBezTo>
                      <a:pt x="1344" y="194"/>
                      <a:pt x="1357" y="195"/>
                      <a:pt x="1356" y="202"/>
                    </a:cubicBezTo>
                    <a:cubicBezTo>
                      <a:pt x="1354" y="202"/>
                      <a:pt x="1354" y="201"/>
                      <a:pt x="1352" y="201"/>
                    </a:cubicBezTo>
                    <a:cubicBezTo>
                      <a:pt x="1351" y="204"/>
                      <a:pt x="1355" y="203"/>
                      <a:pt x="1354" y="207"/>
                    </a:cubicBezTo>
                    <a:cubicBezTo>
                      <a:pt x="1342" y="195"/>
                      <a:pt x="1326" y="188"/>
                      <a:pt x="1313" y="179"/>
                    </a:cubicBezTo>
                    <a:cubicBezTo>
                      <a:pt x="1308" y="176"/>
                      <a:pt x="1300" y="171"/>
                      <a:pt x="1296" y="166"/>
                    </a:cubicBezTo>
                    <a:cubicBezTo>
                      <a:pt x="1294" y="163"/>
                      <a:pt x="1294" y="160"/>
                      <a:pt x="1292" y="157"/>
                    </a:cubicBezTo>
                    <a:cubicBezTo>
                      <a:pt x="1287" y="149"/>
                      <a:pt x="1277" y="145"/>
                      <a:pt x="1274" y="137"/>
                    </a:cubicBezTo>
                    <a:cubicBezTo>
                      <a:pt x="1276" y="137"/>
                      <a:pt x="1277" y="139"/>
                      <a:pt x="1279" y="139"/>
                    </a:cubicBezTo>
                    <a:cubicBezTo>
                      <a:pt x="1275" y="134"/>
                      <a:pt x="1269" y="130"/>
                      <a:pt x="1265" y="125"/>
                    </a:cubicBezTo>
                    <a:cubicBezTo>
                      <a:pt x="1255" y="127"/>
                      <a:pt x="1241" y="119"/>
                      <a:pt x="1236" y="111"/>
                    </a:cubicBezTo>
                    <a:cubicBezTo>
                      <a:pt x="1237" y="111"/>
                      <a:pt x="1238" y="110"/>
                      <a:pt x="1239" y="109"/>
                    </a:cubicBezTo>
                    <a:cubicBezTo>
                      <a:pt x="1231" y="103"/>
                      <a:pt x="1222" y="102"/>
                      <a:pt x="1216" y="97"/>
                    </a:cubicBezTo>
                    <a:cubicBezTo>
                      <a:pt x="1243" y="102"/>
                      <a:pt x="1259" y="122"/>
                      <a:pt x="1285" y="126"/>
                    </a:cubicBezTo>
                    <a:cubicBezTo>
                      <a:pt x="1272" y="115"/>
                      <a:pt x="1254" y="104"/>
                      <a:pt x="1239" y="99"/>
                    </a:cubicBezTo>
                    <a:cubicBezTo>
                      <a:pt x="1236" y="100"/>
                      <a:pt x="1244" y="102"/>
                      <a:pt x="1241" y="103"/>
                    </a:cubicBezTo>
                    <a:cubicBezTo>
                      <a:pt x="1227" y="96"/>
                      <a:pt x="1212" y="90"/>
                      <a:pt x="1202" y="79"/>
                    </a:cubicBezTo>
                    <a:cubicBezTo>
                      <a:pt x="1185" y="74"/>
                      <a:pt x="1169" y="63"/>
                      <a:pt x="1155" y="58"/>
                    </a:cubicBezTo>
                    <a:cubicBezTo>
                      <a:pt x="1158" y="61"/>
                      <a:pt x="1156" y="63"/>
                      <a:pt x="1160" y="65"/>
                    </a:cubicBezTo>
                    <a:cubicBezTo>
                      <a:pt x="1154" y="64"/>
                      <a:pt x="1149" y="57"/>
                      <a:pt x="1144" y="61"/>
                    </a:cubicBezTo>
                    <a:cubicBezTo>
                      <a:pt x="1138" y="53"/>
                      <a:pt x="1123" y="41"/>
                      <a:pt x="1110" y="42"/>
                    </a:cubicBezTo>
                    <a:cubicBezTo>
                      <a:pt x="1115" y="46"/>
                      <a:pt x="1122" y="51"/>
                      <a:pt x="1128" y="52"/>
                    </a:cubicBezTo>
                    <a:cubicBezTo>
                      <a:pt x="1125" y="52"/>
                      <a:pt x="1125" y="52"/>
                      <a:pt x="1125" y="52"/>
                    </a:cubicBezTo>
                    <a:cubicBezTo>
                      <a:pt x="1133" y="63"/>
                      <a:pt x="1140" y="76"/>
                      <a:pt x="1150" y="85"/>
                    </a:cubicBezTo>
                    <a:cubicBezTo>
                      <a:pt x="1148" y="86"/>
                      <a:pt x="1151" y="88"/>
                      <a:pt x="1151" y="90"/>
                    </a:cubicBezTo>
                    <a:cubicBezTo>
                      <a:pt x="1158" y="93"/>
                      <a:pt x="1159" y="85"/>
                      <a:pt x="1164" y="90"/>
                    </a:cubicBezTo>
                    <a:cubicBezTo>
                      <a:pt x="1160" y="91"/>
                      <a:pt x="1165" y="94"/>
                      <a:pt x="1163" y="94"/>
                    </a:cubicBezTo>
                    <a:cubicBezTo>
                      <a:pt x="1160" y="95"/>
                      <a:pt x="1161" y="91"/>
                      <a:pt x="1157" y="92"/>
                    </a:cubicBezTo>
                    <a:cubicBezTo>
                      <a:pt x="1157" y="97"/>
                      <a:pt x="1162" y="96"/>
                      <a:pt x="1165" y="97"/>
                    </a:cubicBezTo>
                    <a:cubicBezTo>
                      <a:pt x="1165" y="106"/>
                      <a:pt x="1174" y="107"/>
                      <a:pt x="1174" y="115"/>
                    </a:cubicBezTo>
                    <a:cubicBezTo>
                      <a:pt x="1172" y="116"/>
                      <a:pt x="1168" y="115"/>
                      <a:pt x="1167" y="116"/>
                    </a:cubicBezTo>
                    <a:cubicBezTo>
                      <a:pt x="1164" y="124"/>
                      <a:pt x="1170" y="129"/>
                      <a:pt x="1173" y="133"/>
                    </a:cubicBezTo>
                    <a:cubicBezTo>
                      <a:pt x="1169" y="135"/>
                      <a:pt x="1168" y="140"/>
                      <a:pt x="1161" y="139"/>
                    </a:cubicBezTo>
                    <a:cubicBezTo>
                      <a:pt x="1157" y="147"/>
                      <a:pt x="1156" y="149"/>
                      <a:pt x="1157" y="158"/>
                    </a:cubicBezTo>
                    <a:cubicBezTo>
                      <a:pt x="1154" y="158"/>
                      <a:pt x="1154" y="158"/>
                      <a:pt x="1154" y="158"/>
                    </a:cubicBezTo>
                    <a:cubicBezTo>
                      <a:pt x="1155" y="161"/>
                      <a:pt x="1160" y="161"/>
                      <a:pt x="1162" y="164"/>
                    </a:cubicBezTo>
                    <a:cubicBezTo>
                      <a:pt x="1165" y="163"/>
                      <a:pt x="1168" y="162"/>
                      <a:pt x="1171" y="163"/>
                    </a:cubicBezTo>
                    <a:cubicBezTo>
                      <a:pt x="1167" y="166"/>
                      <a:pt x="1173" y="167"/>
                      <a:pt x="1174" y="169"/>
                    </a:cubicBezTo>
                    <a:cubicBezTo>
                      <a:pt x="1173" y="170"/>
                      <a:pt x="1171" y="170"/>
                      <a:pt x="1169" y="171"/>
                    </a:cubicBezTo>
                    <a:cubicBezTo>
                      <a:pt x="1169" y="175"/>
                      <a:pt x="1174" y="175"/>
                      <a:pt x="1171" y="178"/>
                    </a:cubicBezTo>
                    <a:cubicBezTo>
                      <a:pt x="1171" y="180"/>
                      <a:pt x="1165" y="178"/>
                      <a:pt x="1165" y="180"/>
                    </a:cubicBezTo>
                    <a:cubicBezTo>
                      <a:pt x="1168" y="183"/>
                      <a:pt x="1176" y="182"/>
                      <a:pt x="1178" y="187"/>
                    </a:cubicBezTo>
                    <a:cubicBezTo>
                      <a:pt x="1172" y="188"/>
                      <a:pt x="1168" y="186"/>
                      <a:pt x="1163" y="189"/>
                    </a:cubicBezTo>
                    <a:cubicBezTo>
                      <a:pt x="1158" y="184"/>
                      <a:pt x="1148" y="186"/>
                      <a:pt x="1139" y="187"/>
                    </a:cubicBezTo>
                    <a:cubicBezTo>
                      <a:pt x="1136" y="189"/>
                      <a:pt x="1141" y="189"/>
                      <a:pt x="1139" y="191"/>
                    </a:cubicBezTo>
                    <a:cubicBezTo>
                      <a:pt x="1136" y="191"/>
                      <a:pt x="1135" y="193"/>
                      <a:pt x="1132" y="192"/>
                    </a:cubicBezTo>
                    <a:cubicBezTo>
                      <a:pt x="1132" y="198"/>
                      <a:pt x="1140" y="196"/>
                      <a:pt x="1143" y="199"/>
                    </a:cubicBezTo>
                    <a:cubicBezTo>
                      <a:pt x="1138" y="202"/>
                      <a:pt x="1138" y="206"/>
                      <a:pt x="1134" y="208"/>
                    </a:cubicBezTo>
                    <a:cubicBezTo>
                      <a:pt x="1131" y="208"/>
                      <a:pt x="1132" y="205"/>
                      <a:pt x="1128" y="206"/>
                    </a:cubicBezTo>
                    <a:cubicBezTo>
                      <a:pt x="1126" y="210"/>
                      <a:pt x="1120" y="210"/>
                      <a:pt x="1121" y="217"/>
                    </a:cubicBezTo>
                    <a:cubicBezTo>
                      <a:pt x="1119" y="217"/>
                      <a:pt x="1115" y="214"/>
                      <a:pt x="1113" y="216"/>
                    </a:cubicBezTo>
                    <a:cubicBezTo>
                      <a:pt x="1114" y="217"/>
                      <a:pt x="1117" y="217"/>
                      <a:pt x="1117" y="220"/>
                    </a:cubicBezTo>
                    <a:cubicBezTo>
                      <a:pt x="1107" y="222"/>
                      <a:pt x="1112" y="211"/>
                      <a:pt x="1104" y="214"/>
                    </a:cubicBezTo>
                    <a:cubicBezTo>
                      <a:pt x="1105" y="219"/>
                      <a:pt x="1110" y="218"/>
                      <a:pt x="1109" y="223"/>
                    </a:cubicBezTo>
                    <a:cubicBezTo>
                      <a:pt x="1111" y="224"/>
                      <a:pt x="1115" y="223"/>
                      <a:pt x="1116" y="226"/>
                    </a:cubicBezTo>
                    <a:cubicBezTo>
                      <a:pt x="1116" y="232"/>
                      <a:pt x="1112" y="232"/>
                      <a:pt x="1114" y="236"/>
                    </a:cubicBezTo>
                    <a:cubicBezTo>
                      <a:pt x="1109" y="229"/>
                      <a:pt x="1104" y="222"/>
                      <a:pt x="1101" y="212"/>
                    </a:cubicBezTo>
                    <a:cubicBezTo>
                      <a:pt x="1092" y="204"/>
                      <a:pt x="1069" y="203"/>
                      <a:pt x="1067" y="215"/>
                    </a:cubicBezTo>
                    <a:cubicBezTo>
                      <a:pt x="1058" y="214"/>
                      <a:pt x="1054" y="213"/>
                      <a:pt x="1046" y="214"/>
                    </a:cubicBezTo>
                    <a:cubicBezTo>
                      <a:pt x="1047" y="217"/>
                      <a:pt x="1046" y="217"/>
                      <a:pt x="1046" y="220"/>
                    </a:cubicBezTo>
                    <a:cubicBezTo>
                      <a:pt x="1048" y="223"/>
                      <a:pt x="1053" y="223"/>
                      <a:pt x="1055" y="226"/>
                    </a:cubicBezTo>
                    <a:cubicBezTo>
                      <a:pt x="1049" y="227"/>
                      <a:pt x="1058" y="234"/>
                      <a:pt x="1052" y="236"/>
                    </a:cubicBezTo>
                    <a:cubicBezTo>
                      <a:pt x="1049" y="236"/>
                      <a:pt x="1049" y="233"/>
                      <a:pt x="1046" y="235"/>
                    </a:cubicBezTo>
                    <a:cubicBezTo>
                      <a:pt x="1044" y="240"/>
                      <a:pt x="1043" y="245"/>
                      <a:pt x="1039" y="249"/>
                    </a:cubicBezTo>
                    <a:cubicBezTo>
                      <a:pt x="1039" y="253"/>
                      <a:pt x="1042" y="255"/>
                      <a:pt x="1041" y="259"/>
                    </a:cubicBezTo>
                    <a:cubicBezTo>
                      <a:pt x="1044" y="263"/>
                      <a:pt x="1051" y="262"/>
                      <a:pt x="1050" y="268"/>
                    </a:cubicBezTo>
                    <a:cubicBezTo>
                      <a:pt x="1045" y="272"/>
                      <a:pt x="1040" y="271"/>
                      <a:pt x="1037" y="278"/>
                    </a:cubicBezTo>
                    <a:cubicBezTo>
                      <a:pt x="1040" y="288"/>
                      <a:pt x="1058" y="283"/>
                      <a:pt x="1065" y="290"/>
                    </a:cubicBezTo>
                    <a:cubicBezTo>
                      <a:pt x="1059" y="293"/>
                      <a:pt x="1050" y="287"/>
                      <a:pt x="1043" y="290"/>
                    </a:cubicBezTo>
                    <a:cubicBezTo>
                      <a:pt x="1040" y="293"/>
                      <a:pt x="1048" y="295"/>
                      <a:pt x="1046" y="297"/>
                    </a:cubicBezTo>
                    <a:cubicBezTo>
                      <a:pt x="1044" y="296"/>
                      <a:pt x="1040" y="295"/>
                      <a:pt x="1039" y="296"/>
                    </a:cubicBezTo>
                    <a:cubicBezTo>
                      <a:pt x="1039" y="301"/>
                      <a:pt x="1048" y="302"/>
                      <a:pt x="1047" y="305"/>
                    </a:cubicBezTo>
                    <a:cubicBezTo>
                      <a:pt x="1035" y="304"/>
                      <a:pt x="1036" y="292"/>
                      <a:pt x="1025" y="291"/>
                    </a:cubicBezTo>
                    <a:cubicBezTo>
                      <a:pt x="1025" y="296"/>
                      <a:pt x="1031" y="294"/>
                      <a:pt x="1031" y="298"/>
                    </a:cubicBezTo>
                    <a:cubicBezTo>
                      <a:pt x="1029" y="307"/>
                      <a:pt x="1036" y="312"/>
                      <a:pt x="1046" y="312"/>
                    </a:cubicBezTo>
                    <a:cubicBezTo>
                      <a:pt x="1050" y="321"/>
                      <a:pt x="1058" y="325"/>
                      <a:pt x="1065" y="330"/>
                    </a:cubicBezTo>
                    <a:cubicBezTo>
                      <a:pt x="1071" y="331"/>
                      <a:pt x="1072" y="322"/>
                      <a:pt x="1075" y="324"/>
                    </a:cubicBezTo>
                    <a:cubicBezTo>
                      <a:pt x="1075" y="327"/>
                      <a:pt x="1072" y="328"/>
                      <a:pt x="1072" y="331"/>
                    </a:cubicBezTo>
                    <a:cubicBezTo>
                      <a:pt x="1074" y="336"/>
                      <a:pt x="1079" y="337"/>
                      <a:pt x="1083" y="340"/>
                    </a:cubicBezTo>
                    <a:cubicBezTo>
                      <a:pt x="1085" y="348"/>
                      <a:pt x="1090" y="352"/>
                      <a:pt x="1090" y="362"/>
                    </a:cubicBezTo>
                    <a:cubicBezTo>
                      <a:pt x="1082" y="361"/>
                      <a:pt x="1076" y="369"/>
                      <a:pt x="1073" y="362"/>
                    </a:cubicBezTo>
                    <a:cubicBezTo>
                      <a:pt x="1077" y="362"/>
                      <a:pt x="1077" y="356"/>
                      <a:pt x="1082" y="356"/>
                    </a:cubicBezTo>
                    <a:cubicBezTo>
                      <a:pt x="1079" y="349"/>
                      <a:pt x="1075" y="342"/>
                      <a:pt x="1071" y="335"/>
                    </a:cubicBezTo>
                    <a:cubicBezTo>
                      <a:pt x="1067" y="335"/>
                      <a:pt x="1065" y="336"/>
                      <a:pt x="1063" y="336"/>
                    </a:cubicBezTo>
                    <a:cubicBezTo>
                      <a:pt x="1052" y="327"/>
                      <a:pt x="1042" y="316"/>
                      <a:pt x="1029" y="309"/>
                    </a:cubicBezTo>
                    <a:cubicBezTo>
                      <a:pt x="1028" y="298"/>
                      <a:pt x="1012" y="293"/>
                      <a:pt x="1002" y="301"/>
                    </a:cubicBezTo>
                    <a:cubicBezTo>
                      <a:pt x="1008" y="306"/>
                      <a:pt x="1011" y="312"/>
                      <a:pt x="1010" y="322"/>
                    </a:cubicBezTo>
                    <a:cubicBezTo>
                      <a:pt x="1017" y="325"/>
                      <a:pt x="1023" y="329"/>
                      <a:pt x="1026" y="336"/>
                    </a:cubicBezTo>
                    <a:cubicBezTo>
                      <a:pt x="1034" y="335"/>
                      <a:pt x="1036" y="340"/>
                      <a:pt x="1045" y="340"/>
                    </a:cubicBezTo>
                    <a:cubicBezTo>
                      <a:pt x="1045" y="343"/>
                      <a:pt x="1048" y="343"/>
                      <a:pt x="1048" y="346"/>
                    </a:cubicBezTo>
                    <a:cubicBezTo>
                      <a:pt x="1029" y="346"/>
                      <a:pt x="1016" y="338"/>
                      <a:pt x="997" y="344"/>
                    </a:cubicBezTo>
                    <a:cubicBezTo>
                      <a:pt x="996" y="350"/>
                      <a:pt x="1002" y="350"/>
                      <a:pt x="1004" y="354"/>
                    </a:cubicBezTo>
                    <a:cubicBezTo>
                      <a:pt x="1004" y="356"/>
                      <a:pt x="1006" y="361"/>
                      <a:pt x="1003" y="361"/>
                    </a:cubicBezTo>
                    <a:cubicBezTo>
                      <a:pt x="999" y="360"/>
                      <a:pt x="1001" y="354"/>
                      <a:pt x="996" y="354"/>
                    </a:cubicBezTo>
                    <a:cubicBezTo>
                      <a:pt x="992" y="355"/>
                      <a:pt x="994" y="361"/>
                      <a:pt x="991" y="362"/>
                    </a:cubicBezTo>
                    <a:cubicBezTo>
                      <a:pt x="988" y="363"/>
                      <a:pt x="988" y="361"/>
                      <a:pt x="985" y="361"/>
                    </a:cubicBezTo>
                    <a:cubicBezTo>
                      <a:pt x="979" y="363"/>
                      <a:pt x="982" y="372"/>
                      <a:pt x="975" y="372"/>
                    </a:cubicBezTo>
                    <a:cubicBezTo>
                      <a:pt x="971" y="369"/>
                      <a:pt x="972" y="362"/>
                      <a:pt x="968" y="361"/>
                    </a:cubicBezTo>
                    <a:cubicBezTo>
                      <a:pt x="965" y="364"/>
                      <a:pt x="964" y="365"/>
                      <a:pt x="965" y="371"/>
                    </a:cubicBezTo>
                    <a:cubicBezTo>
                      <a:pt x="956" y="368"/>
                      <a:pt x="945" y="382"/>
                      <a:pt x="948" y="394"/>
                    </a:cubicBezTo>
                    <a:cubicBezTo>
                      <a:pt x="943" y="398"/>
                      <a:pt x="930" y="396"/>
                      <a:pt x="930" y="386"/>
                    </a:cubicBezTo>
                    <a:cubicBezTo>
                      <a:pt x="932" y="385"/>
                      <a:pt x="935" y="385"/>
                      <a:pt x="937" y="385"/>
                    </a:cubicBezTo>
                    <a:cubicBezTo>
                      <a:pt x="938" y="379"/>
                      <a:pt x="922" y="369"/>
                      <a:pt x="915" y="379"/>
                    </a:cubicBezTo>
                    <a:cubicBezTo>
                      <a:pt x="924" y="378"/>
                      <a:pt x="920" y="391"/>
                      <a:pt x="924" y="397"/>
                    </a:cubicBezTo>
                    <a:cubicBezTo>
                      <a:pt x="925" y="399"/>
                      <a:pt x="929" y="398"/>
                      <a:pt x="931" y="400"/>
                    </a:cubicBezTo>
                    <a:cubicBezTo>
                      <a:pt x="930" y="403"/>
                      <a:pt x="934" y="407"/>
                      <a:pt x="931" y="408"/>
                    </a:cubicBezTo>
                    <a:cubicBezTo>
                      <a:pt x="927" y="410"/>
                      <a:pt x="924" y="403"/>
                      <a:pt x="917" y="403"/>
                    </a:cubicBezTo>
                    <a:cubicBezTo>
                      <a:pt x="917" y="413"/>
                      <a:pt x="909" y="415"/>
                      <a:pt x="907" y="423"/>
                    </a:cubicBezTo>
                    <a:cubicBezTo>
                      <a:pt x="910" y="427"/>
                      <a:pt x="916" y="427"/>
                      <a:pt x="917" y="433"/>
                    </a:cubicBezTo>
                    <a:cubicBezTo>
                      <a:pt x="910" y="438"/>
                      <a:pt x="900" y="431"/>
                      <a:pt x="895" y="427"/>
                    </a:cubicBezTo>
                    <a:cubicBezTo>
                      <a:pt x="892" y="428"/>
                      <a:pt x="891" y="431"/>
                      <a:pt x="889" y="433"/>
                    </a:cubicBezTo>
                    <a:cubicBezTo>
                      <a:pt x="892" y="437"/>
                      <a:pt x="896" y="440"/>
                      <a:pt x="903" y="441"/>
                    </a:cubicBezTo>
                    <a:cubicBezTo>
                      <a:pt x="902" y="442"/>
                      <a:pt x="904" y="446"/>
                      <a:pt x="902" y="446"/>
                    </a:cubicBezTo>
                    <a:cubicBezTo>
                      <a:pt x="892" y="446"/>
                      <a:pt x="891" y="438"/>
                      <a:pt x="881" y="441"/>
                    </a:cubicBezTo>
                    <a:cubicBezTo>
                      <a:pt x="879" y="433"/>
                      <a:pt x="874" y="429"/>
                      <a:pt x="878" y="422"/>
                    </a:cubicBezTo>
                    <a:cubicBezTo>
                      <a:pt x="871" y="414"/>
                      <a:pt x="858" y="414"/>
                      <a:pt x="856" y="403"/>
                    </a:cubicBezTo>
                    <a:cubicBezTo>
                      <a:pt x="858" y="408"/>
                      <a:pt x="864" y="406"/>
                      <a:pt x="868" y="407"/>
                    </a:cubicBezTo>
                    <a:cubicBezTo>
                      <a:pt x="870" y="408"/>
                      <a:pt x="872" y="412"/>
                      <a:pt x="875" y="413"/>
                    </a:cubicBezTo>
                    <a:cubicBezTo>
                      <a:pt x="877" y="414"/>
                      <a:pt x="883" y="412"/>
                      <a:pt x="887" y="413"/>
                    </a:cubicBezTo>
                    <a:cubicBezTo>
                      <a:pt x="890" y="414"/>
                      <a:pt x="892" y="416"/>
                      <a:pt x="894" y="416"/>
                    </a:cubicBezTo>
                    <a:cubicBezTo>
                      <a:pt x="904" y="416"/>
                      <a:pt x="913" y="409"/>
                      <a:pt x="913" y="403"/>
                    </a:cubicBezTo>
                    <a:cubicBezTo>
                      <a:pt x="913" y="396"/>
                      <a:pt x="905" y="394"/>
                      <a:pt x="903" y="388"/>
                    </a:cubicBezTo>
                    <a:cubicBezTo>
                      <a:pt x="891" y="388"/>
                      <a:pt x="884" y="379"/>
                      <a:pt x="874" y="376"/>
                    </a:cubicBezTo>
                    <a:cubicBezTo>
                      <a:pt x="865" y="373"/>
                      <a:pt x="854" y="378"/>
                      <a:pt x="850" y="372"/>
                    </a:cubicBezTo>
                    <a:cubicBezTo>
                      <a:pt x="849" y="369"/>
                      <a:pt x="851" y="369"/>
                      <a:pt x="851" y="366"/>
                    </a:cubicBezTo>
                    <a:cubicBezTo>
                      <a:pt x="847" y="366"/>
                      <a:pt x="846" y="364"/>
                      <a:pt x="842" y="364"/>
                    </a:cubicBezTo>
                    <a:cubicBezTo>
                      <a:pt x="843" y="370"/>
                      <a:pt x="834" y="372"/>
                      <a:pt x="832" y="368"/>
                    </a:cubicBezTo>
                    <a:cubicBezTo>
                      <a:pt x="832" y="364"/>
                      <a:pt x="837" y="365"/>
                      <a:pt x="837" y="361"/>
                    </a:cubicBezTo>
                    <a:cubicBezTo>
                      <a:pt x="834" y="358"/>
                      <a:pt x="831" y="356"/>
                      <a:pt x="826" y="355"/>
                    </a:cubicBezTo>
                    <a:cubicBezTo>
                      <a:pt x="823" y="356"/>
                      <a:pt x="825" y="361"/>
                      <a:pt x="822" y="361"/>
                    </a:cubicBezTo>
                    <a:cubicBezTo>
                      <a:pt x="824" y="356"/>
                      <a:pt x="822" y="351"/>
                      <a:pt x="816" y="352"/>
                    </a:cubicBezTo>
                    <a:cubicBezTo>
                      <a:pt x="816" y="356"/>
                      <a:pt x="816" y="361"/>
                      <a:pt x="813" y="362"/>
                    </a:cubicBezTo>
                    <a:cubicBezTo>
                      <a:pt x="811" y="362"/>
                      <a:pt x="814" y="357"/>
                      <a:pt x="811" y="356"/>
                    </a:cubicBezTo>
                    <a:cubicBezTo>
                      <a:pt x="809" y="358"/>
                      <a:pt x="808" y="365"/>
                      <a:pt x="806" y="363"/>
                    </a:cubicBezTo>
                    <a:cubicBezTo>
                      <a:pt x="806" y="359"/>
                      <a:pt x="810" y="357"/>
                      <a:pt x="809" y="353"/>
                    </a:cubicBezTo>
                    <a:cubicBezTo>
                      <a:pt x="801" y="353"/>
                      <a:pt x="797" y="359"/>
                      <a:pt x="793" y="364"/>
                    </a:cubicBezTo>
                    <a:cubicBezTo>
                      <a:pt x="788" y="358"/>
                      <a:pt x="788" y="369"/>
                      <a:pt x="781" y="367"/>
                    </a:cubicBezTo>
                    <a:cubicBezTo>
                      <a:pt x="781" y="370"/>
                      <a:pt x="781" y="373"/>
                      <a:pt x="778" y="373"/>
                    </a:cubicBezTo>
                    <a:cubicBezTo>
                      <a:pt x="775" y="373"/>
                      <a:pt x="779" y="366"/>
                      <a:pt x="775" y="368"/>
                    </a:cubicBezTo>
                    <a:cubicBezTo>
                      <a:pt x="772" y="369"/>
                      <a:pt x="773" y="373"/>
                      <a:pt x="770" y="374"/>
                    </a:cubicBezTo>
                    <a:cubicBezTo>
                      <a:pt x="770" y="370"/>
                      <a:pt x="773" y="368"/>
                      <a:pt x="770" y="365"/>
                    </a:cubicBezTo>
                    <a:cubicBezTo>
                      <a:pt x="767" y="375"/>
                      <a:pt x="757" y="379"/>
                      <a:pt x="754" y="389"/>
                    </a:cubicBezTo>
                    <a:cubicBezTo>
                      <a:pt x="750" y="386"/>
                      <a:pt x="749" y="392"/>
                      <a:pt x="745" y="391"/>
                    </a:cubicBezTo>
                    <a:cubicBezTo>
                      <a:pt x="744" y="394"/>
                      <a:pt x="746" y="394"/>
                      <a:pt x="746" y="397"/>
                    </a:cubicBezTo>
                    <a:cubicBezTo>
                      <a:pt x="740" y="398"/>
                      <a:pt x="738" y="403"/>
                      <a:pt x="733" y="405"/>
                    </a:cubicBezTo>
                    <a:cubicBezTo>
                      <a:pt x="734" y="414"/>
                      <a:pt x="722" y="414"/>
                      <a:pt x="726" y="422"/>
                    </a:cubicBezTo>
                    <a:cubicBezTo>
                      <a:pt x="725" y="423"/>
                      <a:pt x="722" y="423"/>
                      <a:pt x="721" y="424"/>
                    </a:cubicBezTo>
                    <a:cubicBezTo>
                      <a:pt x="721" y="428"/>
                      <a:pt x="722" y="429"/>
                      <a:pt x="721" y="432"/>
                    </a:cubicBezTo>
                    <a:cubicBezTo>
                      <a:pt x="715" y="431"/>
                      <a:pt x="717" y="437"/>
                      <a:pt x="713" y="438"/>
                    </a:cubicBezTo>
                    <a:cubicBezTo>
                      <a:pt x="708" y="436"/>
                      <a:pt x="703" y="444"/>
                      <a:pt x="700" y="448"/>
                    </a:cubicBezTo>
                    <a:cubicBezTo>
                      <a:pt x="685" y="441"/>
                      <a:pt x="686" y="463"/>
                      <a:pt x="674" y="460"/>
                    </a:cubicBezTo>
                    <a:cubicBezTo>
                      <a:pt x="672" y="463"/>
                      <a:pt x="677" y="464"/>
                      <a:pt x="674" y="466"/>
                    </a:cubicBezTo>
                    <a:cubicBezTo>
                      <a:pt x="667" y="464"/>
                      <a:pt x="658" y="469"/>
                      <a:pt x="659" y="480"/>
                    </a:cubicBezTo>
                    <a:cubicBezTo>
                      <a:pt x="660" y="483"/>
                      <a:pt x="665" y="481"/>
                      <a:pt x="665" y="484"/>
                    </a:cubicBezTo>
                    <a:cubicBezTo>
                      <a:pt x="661" y="484"/>
                      <a:pt x="660" y="482"/>
                      <a:pt x="656" y="483"/>
                    </a:cubicBezTo>
                    <a:cubicBezTo>
                      <a:pt x="657" y="494"/>
                      <a:pt x="657" y="503"/>
                      <a:pt x="649" y="507"/>
                    </a:cubicBezTo>
                    <a:cubicBezTo>
                      <a:pt x="650" y="510"/>
                      <a:pt x="656" y="508"/>
                      <a:pt x="656" y="512"/>
                    </a:cubicBezTo>
                    <a:cubicBezTo>
                      <a:pt x="655" y="516"/>
                      <a:pt x="651" y="515"/>
                      <a:pt x="649" y="516"/>
                    </a:cubicBezTo>
                    <a:cubicBezTo>
                      <a:pt x="648" y="524"/>
                      <a:pt x="655" y="525"/>
                      <a:pt x="656" y="532"/>
                    </a:cubicBezTo>
                    <a:cubicBezTo>
                      <a:pt x="674" y="538"/>
                      <a:pt x="679" y="519"/>
                      <a:pt x="694" y="516"/>
                    </a:cubicBezTo>
                    <a:cubicBezTo>
                      <a:pt x="694" y="518"/>
                      <a:pt x="698" y="517"/>
                      <a:pt x="698" y="520"/>
                    </a:cubicBezTo>
                    <a:cubicBezTo>
                      <a:pt x="698" y="527"/>
                      <a:pt x="696" y="531"/>
                      <a:pt x="701" y="534"/>
                    </a:cubicBezTo>
                    <a:cubicBezTo>
                      <a:pt x="694" y="545"/>
                      <a:pt x="704" y="552"/>
                      <a:pt x="706" y="563"/>
                    </a:cubicBezTo>
                    <a:cubicBezTo>
                      <a:pt x="701" y="569"/>
                      <a:pt x="706" y="575"/>
                      <a:pt x="707" y="583"/>
                    </a:cubicBezTo>
                    <a:cubicBezTo>
                      <a:pt x="712" y="582"/>
                      <a:pt x="714" y="584"/>
                      <a:pt x="718" y="584"/>
                    </a:cubicBezTo>
                    <a:cubicBezTo>
                      <a:pt x="719" y="576"/>
                      <a:pt x="724" y="566"/>
                      <a:pt x="736" y="572"/>
                    </a:cubicBezTo>
                    <a:cubicBezTo>
                      <a:pt x="742" y="561"/>
                      <a:pt x="746" y="546"/>
                      <a:pt x="746" y="533"/>
                    </a:cubicBezTo>
                    <a:cubicBezTo>
                      <a:pt x="753" y="533"/>
                      <a:pt x="752" y="524"/>
                      <a:pt x="759" y="527"/>
                    </a:cubicBezTo>
                    <a:cubicBezTo>
                      <a:pt x="765" y="519"/>
                      <a:pt x="768" y="509"/>
                      <a:pt x="760" y="500"/>
                    </a:cubicBezTo>
                    <a:cubicBezTo>
                      <a:pt x="757" y="500"/>
                      <a:pt x="753" y="501"/>
                      <a:pt x="753" y="499"/>
                    </a:cubicBezTo>
                    <a:cubicBezTo>
                      <a:pt x="752" y="477"/>
                      <a:pt x="758" y="459"/>
                      <a:pt x="779" y="456"/>
                    </a:cubicBezTo>
                    <a:cubicBezTo>
                      <a:pt x="785" y="447"/>
                      <a:pt x="785" y="438"/>
                      <a:pt x="786" y="427"/>
                    </a:cubicBezTo>
                    <a:cubicBezTo>
                      <a:pt x="794" y="420"/>
                      <a:pt x="802" y="425"/>
                      <a:pt x="809" y="427"/>
                    </a:cubicBezTo>
                    <a:cubicBezTo>
                      <a:pt x="809" y="430"/>
                      <a:pt x="812" y="430"/>
                      <a:pt x="811" y="433"/>
                    </a:cubicBezTo>
                    <a:cubicBezTo>
                      <a:pt x="806" y="442"/>
                      <a:pt x="799" y="447"/>
                      <a:pt x="793" y="453"/>
                    </a:cubicBezTo>
                    <a:cubicBezTo>
                      <a:pt x="791" y="455"/>
                      <a:pt x="792" y="458"/>
                      <a:pt x="791" y="459"/>
                    </a:cubicBezTo>
                    <a:cubicBezTo>
                      <a:pt x="788" y="463"/>
                      <a:pt x="786" y="462"/>
                      <a:pt x="785" y="464"/>
                    </a:cubicBezTo>
                    <a:cubicBezTo>
                      <a:pt x="781" y="472"/>
                      <a:pt x="786" y="475"/>
                      <a:pt x="786" y="486"/>
                    </a:cubicBezTo>
                    <a:cubicBezTo>
                      <a:pt x="787" y="491"/>
                      <a:pt x="784" y="496"/>
                      <a:pt x="785" y="500"/>
                    </a:cubicBezTo>
                    <a:cubicBezTo>
                      <a:pt x="787" y="505"/>
                      <a:pt x="792" y="505"/>
                      <a:pt x="796" y="507"/>
                    </a:cubicBezTo>
                    <a:cubicBezTo>
                      <a:pt x="800" y="509"/>
                      <a:pt x="800" y="512"/>
                      <a:pt x="803" y="513"/>
                    </a:cubicBezTo>
                    <a:cubicBezTo>
                      <a:pt x="812" y="515"/>
                      <a:pt x="820" y="506"/>
                      <a:pt x="830" y="503"/>
                    </a:cubicBezTo>
                    <a:cubicBezTo>
                      <a:pt x="836" y="502"/>
                      <a:pt x="840" y="505"/>
                      <a:pt x="845" y="500"/>
                    </a:cubicBezTo>
                    <a:cubicBezTo>
                      <a:pt x="846" y="505"/>
                      <a:pt x="850" y="506"/>
                      <a:pt x="853" y="509"/>
                    </a:cubicBezTo>
                    <a:cubicBezTo>
                      <a:pt x="850" y="513"/>
                      <a:pt x="844" y="514"/>
                      <a:pt x="842" y="519"/>
                    </a:cubicBezTo>
                    <a:cubicBezTo>
                      <a:pt x="829" y="513"/>
                      <a:pt x="812" y="517"/>
                      <a:pt x="804" y="524"/>
                    </a:cubicBezTo>
                    <a:cubicBezTo>
                      <a:pt x="801" y="535"/>
                      <a:pt x="809" y="536"/>
                      <a:pt x="813" y="539"/>
                    </a:cubicBezTo>
                    <a:cubicBezTo>
                      <a:pt x="809" y="545"/>
                      <a:pt x="818" y="554"/>
                      <a:pt x="812" y="558"/>
                    </a:cubicBezTo>
                    <a:cubicBezTo>
                      <a:pt x="801" y="559"/>
                      <a:pt x="805" y="547"/>
                      <a:pt x="797" y="547"/>
                    </a:cubicBezTo>
                    <a:cubicBezTo>
                      <a:pt x="791" y="546"/>
                      <a:pt x="784" y="559"/>
                      <a:pt x="784" y="563"/>
                    </a:cubicBezTo>
                    <a:cubicBezTo>
                      <a:pt x="782" y="573"/>
                      <a:pt x="788" y="585"/>
                      <a:pt x="786" y="592"/>
                    </a:cubicBezTo>
                    <a:cubicBezTo>
                      <a:pt x="783" y="594"/>
                      <a:pt x="776" y="592"/>
                      <a:pt x="773" y="594"/>
                    </a:cubicBezTo>
                    <a:cubicBezTo>
                      <a:pt x="779" y="604"/>
                      <a:pt x="761" y="606"/>
                      <a:pt x="761" y="596"/>
                    </a:cubicBezTo>
                    <a:cubicBezTo>
                      <a:pt x="746" y="591"/>
                      <a:pt x="741" y="603"/>
                      <a:pt x="730" y="604"/>
                    </a:cubicBezTo>
                    <a:cubicBezTo>
                      <a:pt x="721" y="605"/>
                      <a:pt x="719" y="607"/>
                      <a:pt x="714" y="611"/>
                    </a:cubicBezTo>
                    <a:cubicBezTo>
                      <a:pt x="712" y="605"/>
                      <a:pt x="707" y="601"/>
                      <a:pt x="700" y="598"/>
                    </a:cubicBezTo>
                    <a:cubicBezTo>
                      <a:pt x="695" y="601"/>
                      <a:pt x="689" y="602"/>
                      <a:pt x="684" y="604"/>
                    </a:cubicBezTo>
                    <a:cubicBezTo>
                      <a:pt x="682" y="602"/>
                      <a:pt x="684" y="598"/>
                      <a:pt x="685" y="595"/>
                    </a:cubicBezTo>
                    <a:cubicBezTo>
                      <a:pt x="677" y="595"/>
                      <a:pt x="677" y="595"/>
                      <a:pt x="677" y="595"/>
                    </a:cubicBezTo>
                    <a:cubicBezTo>
                      <a:pt x="669" y="590"/>
                      <a:pt x="675" y="581"/>
                      <a:pt x="674" y="573"/>
                    </a:cubicBezTo>
                    <a:cubicBezTo>
                      <a:pt x="681" y="572"/>
                      <a:pt x="682" y="565"/>
                      <a:pt x="687" y="562"/>
                    </a:cubicBezTo>
                    <a:cubicBezTo>
                      <a:pt x="688" y="558"/>
                      <a:pt x="682" y="561"/>
                      <a:pt x="683" y="557"/>
                    </a:cubicBezTo>
                    <a:cubicBezTo>
                      <a:pt x="683" y="551"/>
                      <a:pt x="690" y="549"/>
                      <a:pt x="687" y="542"/>
                    </a:cubicBezTo>
                    <a:cubicBezTo>
                      <a:pt x="678" y="540"/>
                      <a:pt x="680" y="550"/>
                      <a:pt x="673" y="551"/>
                    </a:cubicBezTo>
                    <a:cubicBezTo>
                      <a:pt x="671" y="551"/>
                      <a:pt x="673" y="548"/>
                      <a:pt x="672" y="547"/>
                    </a:cubicBezTo>
                    <a:cubicBezTo>
                      <a:pt x="669" y="547"/>
                      <a:pt x="667" y="549"/>
                      <a:pt x="665" y="551"/>
                    </a:cubicBezTo>
                    <a:cubicBezTo>
                      <a:pt x="665" y="555"/>
                      <a:pt x="669" y="554"/>
                      <a:pt x="668" y="557"/>
                    </a:cubicBezTo>
                    <a:cubicBezTo>
                      <a:pt x="653" y="559"/>
                      <a:pt x="665" y="577"/>
                      <a:pt x="660" y="583"/>
                    </a:cubicBezTo>
                    <a:cubicBezTo>
                      <a:pt x="664" y="589"/>
                      <a:pt x="662" y="595"/>
                      <a:pt x="662" y="601"/>
                    </a:cubicBezTo>
                    <a:cubicBezTo>
                      <a:pt x="657" y="602"/>
                      <a:pt x="657" y="607"/>
                      <a:pt x="653" y="608"/>
                    </a:cubicBezTo>
                    <a:cubicBezTo>
                      <a:pt x="650" y="607"/>
                      <a:pt x="650" y="602"/>
                      <a:pt x="644" y="603"/>
                    </a:cubicBezTo>
                    <a:cubicBezTo>
                      <a:pt x="642" y="604"/>
                      <a:pt x="643" y="609"/>
                      <a:pt x="641" y="609"/>
                    </a:cubicBezTo>
                    <a:cubicBezTo>
                      <a:pt x="636" y="607"/>
                      <a:pt x="631" y="605"/>
                      <a:pt x="627" y="606"/>
                    </a:cubicBezTo>
                    <a:cubicBezTo>
                      <a:pt x="614" y="609"/>
                      <a:pt x="610" y="628"/>
                      <a:pt x="599" y="634"/>
                    </a:cubicBezTo>
                    <a:cubicBezTo>
                      <a:pt x="598" y="635"/>
                      <a:pt x="595" y="634"/>
                      <a:pt x="593" y="635"/>
                    </a:cubicBezTo>
                    <a:cubicBezTo>
                      <a:pt x="585" y="638"/>
                      <a:pt x="582" y="643"/>
                      <a:pt x="571" y="637"/>
                    </a:cubicBezTo>
                    <a:cubicBezTo>
                      <a:pt x="575" y="632"/>
                      <a:pt x="569" y="631"/>
                      <a:pt x="569" y="627"/>
                    </a:cubicBezTo>
                    <a:cubicBezTo>
                      <a:pt x="575" y="622"/>
                      <a:pt x="587" y="619"/>
                      <a:pt x="585" y="610"/>
                    </a:cubicBezTo>
                    <a:cubicBezTo>
                      <a:pt x="584" y="604"/>
                      <a:pt x="575" y="603"/>
                      <a:pt x="570" y="604"/>
                    </a:cubicBezTo>
                    <a:cubicBezTo>
                      <a:pt x="571" y="601"/>
                      <a:pt x="574" y="600"/>
                      <a:pt x="574" y="596"/>
                    </a:cubicBezTo>
                    <a:cubicBezTo>
                      <a:pt x="569" y="592"/>
                      <a:pt x="574" y="585"/>
                      <a:pt x="572" y="578"/>
                    </a:cubicBezTo>
                    <a:cubicBezTo>
                      <a:pt x="571" y="573"/>
                      <a:pt x="567" y="571"/>
                      <a:pt x="567" y="567"/>
                    </a:cubicBezTo>
                    <a:cubicBezTo>
                      <a:pt x="566" y="562"/>
                      <a:pt x="570" y="559"/>
                      <a:pt x="569" y="554"/>
                    </a:cubicBezTo>
                    <a:cubicBezTo>
                      <a:pt x="569" y="550"/>
                      <a:pt x="565" y="548"/>
                      <a:pt x="563" y="546"/>
                    </a:cubicBezTo>
                    <a:cubicBezTo>
                      <a:pt x="569" y="538"/>
                      <a:pt x="578" y="533"/>
                      <a:pt x="582" y="523"/>
                    </a:cubicBezTo>
                    <a:cubicBezTo>
                      <a:pt x="576" y="521"/>
                      <a:pt x="569" y="520"/>
                      <a:pt x="565" y="517"/>
                    </a:cubicBezTo>
                    <a:cubicBezTo>
                      <a:pt x="569" y="513"/>
                      <a:pt x="577" y="513"/>
                      <a:pt x="576" y="504"/>
                    </a:cubicBezTo>
                    <a:cubicBezTo>
                      <a:pt x="569" y="505"/>
                      <a:pt x="566" y="505"/>
                      <a:pt x="562" y="502"/>
                    </a:cubicBezTo>
                    <a:cubicBezTo>
                      <a:pt x="557" y="506"/>
                      <a:pt x="556" y="513"/>
                      <a:pt x="548" y="514"/>
                    </a:cubicBezTo>
                    <a:cubicBezTo>
                      <a:pt x="551" y="528"/>
                      <a:pt x="537" y="526"/>
                      <a:pt x="536" y="536"/>
                    </a:cubicBezTo>
                    <a:cubicBezTo>
                      <a:pt x="539" y="537"/>
                      <a:pt x="541" y="531"/>
                      <a:pt x="543" y="534"/>
                    </a:cubicBezTo>
                    <a:cubicBezTo>
                      <a:pt x="538" y="536"/>
                      <a:pt x="538" y="543"/>
                      <a:pt x="535" y="547"/>
                    </a:cubicBezTo>
                    <a:cubicBezTo>
                      <a:pt x="533" y="546"/>
                      <a:pt x="535" y="540"/>
                      <a:pt x="532" y="541"/>
                    </a:cubicBezTo>
                    <a:cubicBezTo>
                      <a:pt x="525" y="544"/>
                      <a:pt x="535" y="547"/>
                      <a:pt x="531" y="552"/>
                    </a:cubicBezTo>
                    <a:cubicBezTo>
                      <a:pt x="535" y="553"/>
                      <a:pt x="533" y="549"/>
                      <a:pt x="536" y="548"/>
                    </a:cubicBezTo>
                    <a:cubicBezTo>
                      <a:pt x="535" y="552"/>
                      <a:pt x="539" y="550"/>
                      <a:pt x="540" y="552"/>
                    </a:cubicBezTo>
                    <a:cubicBezTo>
                      <a:pt x="538" y="556"/>
                      <a:pt x="531" y="558"/>
                      <a:pt x="534" y="563"/>
                    </a:cubicBezTo>
                    <a:cubicBezTo>
                      <a:pt x="538" y="565"/>
                      <a:pt x="545" y="563"/>
                      <a:pt x="549" y="563"/>
                    </a:cubicBezTo>
                    <a:cubicBezTo>
                      <a:pt x="548" y="566"/>
                      <a:pt x="543" y="566"/>
                      <a:pt x="545" y="572"/>
                    </a:cubicBezTo>
                    <a:cubicBezTo>
                      <a:pt x="545" y="576"/>
                      <a:pt x="549" y="575"/>
                      <a:pt x="548" y="578"/>
                    </a:cubicBezTo>
                    <a:cubicBezTo>
                      <a:pt x="546" y="583"/>
                      <a:pt x="544" y="587"/>
                      <a:pt x="541" y="591"/>
                    </a:cubicBezTo>
                    <a:cubicBezTo>
                      <a:pt x="536" y="589"/>
                      <a:pt x="533" y="585"/>
                      <a:pt x="526" y="585"/>
                    </a:cubicBezTo>
                    <a:cubicBezTo>
                      <a:pt x="528" y="590"/>
                      <a:pt x="524" y="590"/>
                      <a:pt x="523" y="593"/>
                    </a:cubicBezTo>
                    <a:cubicBezTo>
                      <a:pt x="523" y="596"/>
                      <a:pt x="529" y="593"/>
                      <a:pt x="528" y="597"/>
                    </a:cubicBezTo>
                    <a:cubicBezTo>
                      <a:pt x="525" y="603"/>
                      <a:pt x="521" y="606"/>
                      <a:pt x="513" y="606"/>
                    </a:cubicBezTo>
                    <a:cubicBezTo>
                      <a:pt x="513" y="609"/>
                      <a:pt x="510" y="609"/>
                      <a:pt x="511" y="613"/>
                    </a:cubicBezTo>
                    <a:cubicBezTo>
                      <a:pt x="513" y="616"/>
                      <a:pt x="514" y="613"/>
                      <a:pt x="518" y="613"/>
                    </a:cubicBezTo>
                    <a:cubicBezTo>
                      <a:pt x="520" y="618"/>
                      <a:pt x="525" y="619"/>
                      <a:pt x="529" y="622"/>
                    </a:cubicBezTo>
                    <a:cubicBezTo>
                      <a:pt x="525" y="624"/>
                      <a:pt x="521" y="621"/>
                      <a:pt x="518" y="621"/>
                    </a:cubicBezTo>
                    <a:cubicBezTo>
                      <a:pt x="512" y="622"/>
                      <a:pt x="511" y="626"/>
                      <a:pt x="505" y="630"/>
                    </a:cubicBezTo>
                    <a:cubicBezTo>
                      <a:pt x="506" y="630"/>
                      <a:pt x="503" y="629"/>
                      <a:pt x="502" y="629"/>
                    </a:cubicBezTo>
                    <a:cubicBezTo>
                      <a:pt x="499" y="631"/>
                      <a:pt x="495" y="635"/>
                      <a:pt x="495" y="638"/>
                    </a:cubicBezTo>
                    <a:cubicBezTo>
                      <a:pt x="499" y="642"/>
                      <a:pt x="503" y="636"/>
                      <a:pt x="507" y="635"/>
                    </a:cubicBezTo>
                    <a:cubicBezTo>
                      <a:pt x="510" y="636"/>
                      <a:pt x="513" y="637"/>
                      <a:pt x="514" y="641"/>
                    </a:cubicBezTo>
                    <a:cubicBezTo>
                      <a:pt x="518" y="639"/>
                      <a:pt x="521" y="635"/>
                      <a:pt x="524" y="633"/>
                    </a:cubicBezTo>
                    <a:cubicBezTo>
                      <a:pt x="528" y="642"/>
                      <a:pt x="537" y="634"/>
                      <a:pt x="543" y="641"/>
                    </a:cubicBezTo>
                    <a:cubicBezTo>
                      <a:pt x="547" y="635"/>
                      <a:pt x="564" y="645"/>
                      <a:pt x="571" y="638"/>
                    </a:cubicBezTo>
                    <a:cubicBezTo>
                      <a:pt x="577" y="660"/>
                      <a:pt x="554" y="650"/>
                      <a:pt x="548" y="664"/>
                    </a:cubicBezTo>
                    <a:cubicBezTo>
                      <a:pt x="536" y="667"/>
                      <a:pt x="541" y="653"/>
                      <a:pt x="531" y="653"/>
                    </a:cubicBezTo>
                    <a:cubicBezTo>
                      <a:pt x="531" y="660"/>
                      <a:pt x="534" y="667"/>
                      <a:pt x="528" y="669"/>
                    </a:cubicBezTo>
                    <a:cubicBezTo>
                      <a:pt x="523" y="669"/>
                      <a:pt x="521" y="667"/>
                      <a:pt x="515" y="667"/>
                    </a:cubicBezTo>
                    <a:cubicBezTo>
                      <a:pt x="515" y="659"/>
                      <a:pt x="499" y="663"/>
                      <a:pt x="493" y="665"/>
                    </a:cubicBezTo>
                    <a:cubicBezTo>
                      <a:pt x="492" y="668"/>
                      <a:pt x="494" y="667"/>
                      <a:pt x="494" y="670"/>
                    </a:cubicBezTo>
                    <a:cubicBezTo>
                      <a:pt x="491" y="670"/>
                      <a:pt x="488" y="670"/>
                      <a:pt x="489" y="673"/>
                    </a:cubicBezTo>
                    <a:cubicBezTo>
                      <a:pt x="495" y="682"/>
                      <a:pt x="508" y="683"/>
                      <a:pt x="511" y="693"/>
                    </a:cubicBezTo>
                    <a:cubicBezTo>
                      <a:pt x="513" y="701"/>
                      <a:pt x="509" y="709"/>
                      <a:pt x="517" y="715"/>
                    </a:cubicBezTo>
                    <a:cubicBezTo>
                      <a:pt x="514" y="733"/>
                      <a:pt x="506" y="749"/>
                      <a:pt x="496" y="762"/>
                    </a:cubicBezTo>
                    <a:cubicBezTo>
                      <a:pt x="487" y="762"/>
                      <a:pt x="481" y="756"/>
                      <a:pt x="473" y="754"/>
                    </a:cubicBezTo>
                    <a:cubicBezTo>
                      <a:pt x="469" y="753"/>
                      <a:pt x="464" y="755"/>
                      <a:pt x="460" y="752"/>
                    </a:cubicBezTo>
                    <a:cubicBezTo>
                      <a:pt x="458" y="751"/>
                      <a:pt x="458" y="747"/>
                      <a:pt x="456" y="746"/>
                    </a:cubicBezTo>
                    <a:cubicBezTo>
                      <a:pt x="448" y="740"/>
                      <a:pt x="434" y="744"/>
                      <a:pt x="427" y="734"/>
                    </a:cubicBezTo>
                    <a:cubicBezTo>
                      <a:pt x="422" y="737"/>
                      <a:pt x="413" y="736"/>
                      <a:pt x="406" y="738"/>
                    </a:cubicBezTo>
                    <a:cubicBezTo>
                      <a:pt x="404" y="742"/>
                      <a:pt x="405" y="745"/>
                      <a:pt x="406" y="751"/>
                    </a:cubicBezTo>
                    <a:cubicBezTo>
                      <a:pt x="401" y="762"/>
                      <a:pt x="400" y="777"/>
                      <a:pt x="390" y="788"/>
                    </a:cubicBezTo>
                    <a:cubicBezTo>
                      <a:pt x="384" y="796"/>
                      <a:pt x="375" y="803"/>
                      <a:pt x="375" y="811"/>
                    </a:cubicBezTo>
                    <a:cubicBezTo>
                      <a:pt x="375" y="814"/>
                      <a:pt x="378" y="817"/>
                      <a:pt x="378" y="819"/>
                    </a:cubicBezTo>
                    <a:cubicBezTo>
                      <a:pt x="379" y="828"/>
                      <a:pt x="371" y="833"/>
                      <a:pt x="370" y="843"/>
                    </a:cubicBezTo>
                    <a:cubicBezTo>
                      <a:pt x="379" y="846"/>
                      <a:pt x="382" y="852"/>
                      <a:pt x="393" y="849"/>
                    </a:cubicBezTo>
                    <a:cubicBezTo>
                      <a:pt x="402" y="856"/>
                      <a:pt x="393" y="874"/>
                      <a:pt x="405" y="876"/>
                    </a:cubicBezTo>
                    <a:cubicBezTo>
                      <a:pt x="408" y="876"/>
                      <a:pt x="411" y="873"/>
                      <a:pt x="415" y="872"/>
                    </a:cubicBezTo>
                    <a:cubicBezTo>
                      <a:pt x="430" y="868"/>
                      <a:pt x="441" y="878"/>
                      <a:pt x="456" y="880"/>
                    </a:cubicBezTo>
                    <a:cubicBezTo>
                      <a:pt x="462" y="874"/>
                      <a:pt x="466" y="865"/>
                      <a:pt x="478" y="868"/>
                    </a:cubicBezTo>
                    <a:cubicBezTo>
                      <a:pt x="480" y="860"/>
                      <a:pt x="484" y="854"/>
                      <a:pt x="495" y="855"/>
                    </a:cubicBezTo>
                    <a:cubicBezTo>
                      <a:pt x="498" y="848"/>
                      <a:pt x="491" y="846"/>
                      <a:pt x="491" y="840"/>
                    </a:cubicBezTo>
                    <a:cubicBezTo>
                      <a:pt x="495" y="828"/>
                      <a:pt x="510" y="825"/>
                      <a:pt x="517" y="814"/>
                    </a:cubicBezTo>
                    <a:cubicBezTo>
                      <a:pt x="528" y="813"/>
                      <a:pt x="539" y="811"/>
                      <a:pt x="548" y="806"/>
                    </a:cubicBezTo>
                    <a:cubicBezTo>
                      <a:pt x="552" y="801"/>
                      <a:pt x="551" y="797"/>
                      <a:pt x="549" y="790"/>
                    </a:cubicBezTo>
                    <a:cubicBezTo>
                      <a:pt x="554" y="784"/>
                      <a:pt x="558" y="779"/>
                      <a:pt x="568" y="778"/>
                    </a:cubicBezTo>
                    <a:cubicBezTo>
                      <a:pt x="572" y="779"/>
                      <a:pt x="572" y="783"/>
                      <a:pt x="579" y="782"/>
                    </a:cubicBezTo>
                    <a:cubicBezTo>
                      <a:pt x="584" y="784"/>
                      <a:pt x="586" y="795"/>
                      <a:pt x="596" y="792"/>
                    </a:cubicBezTo>
                    <a:cubicBezTo>
                      <a:pt x="599" y="792"/>
                      <a:pt x="600" y="785"/>
                      <a:pt x="606" y="783"/>
                    </a:cubicBezTo>
                    <a:cubicBezTo>
                      <a:pt x="609" y="781"/>
                      <a:pt x="613" y="783"/>
                      <a:pt x="617" y="782"/>
                    </a:cubicBezTo>
                    <a:cubicBezTo>
                      <a:pt x="622" y="779"/>
                      <a:pt x="624" y="773"/>
                      <a:pt x="630" y="773"/>
                    </a:cubicBezTo>
                    <a:cubicBezTo>
                      <a:pt x="641" y="773"/>
                      <a:pt x="650" y="785"/>
                      <a:pt x="647" y="802"/>
                    </a:cubicBezTo>
                    <a:cubicBezTo>
                      <a:pt x="649" y="807"/>
                      <a:pt x="656" y="806"/>
                      <a:pt x="656" y="812"/>
                    </a:cubicBezTo>
                    <a:cubicBezTo>
                      <a:pt x="672" y="816"/>
                      <a:pt x="669" y="838"/>
                      <a:pt x="688" y="839"/>
                    </a:cubicBezTo>
                    <a:cubicBezTo>
                      <a:pt x="689" y="850"/>
                      <a:pt x="701" y="845"/>
                      <a:pt x="706" y="853"/>
                    </a:cubicBezTo>
                    <a:cubicBezTo>
                      <a:pt x="708" y="856"/>
                      <a:pt x="705" y="859"/>
                      <a:pt x="709" y="862"/>
                    </a:cubicBezTo>
                    <a:cubicBezTo>
                      <a:pt x="711" y="864"/>
                      <a:pt x="716" y="863"/>
                      <a:pt x="716" y="866"/>
                    </a:cubicBezTo>
                    <a:cubicBezTo>
                      <a:pt x="717" y="874"/>
                      <a:pt x="719" y="878"/>
                      <a:pt x="722" y="883"/>
                    </a:cubicBezTo>
                    <a:cubicBezTo>
                      <a:pt x="717" y="887"/>
                      <a:pt x="718" y="896"/>
                      <a:pt x="711" y="898"/>
                    </a:cubicBezTo>
                    <a:cubicBezTo>
                      <a:pt x="709" y="898"/>
                      <a:pt x="703" y="896"/>
                      <a:pt x="698" y="897"/>
                    </a:cubicBezTo>
                    <a:cubicBezTo>
                      <a:pt x="688" y="898"/>
                      <a:pt x="684" y="900"/>
                      <a:pt x="680" y="894"/>
                    </a:cubicBezTo>
                    <a:cubicBezTo>
                      <a:pt x="675" y="897"/>
                      <a:pt x="673" y="895"/>
                      <a:pt x="667" y="894"/>
                    </a:cubicBezTo>
                    <a:cubicBezTo>
                      <a:pt x="665" y="897"/>
                      <a:pt x="664" y="899"/>
                      <a:pt x="665" y="903"/>
                    </a:cubicBezTo>
                    <a:cubicBezTo>
                      <a:pt x="668" y="904"/>
                      <a:pt x="670" y="906"/>
                      <a:pt x="674" y="906"/>
                    </a:cubicBezTo>
                    <a:cubicBezTo>
                      <a:pt x="678" y="911"/>
                      <a:pt x="681" y="918"/>
                      <a:pt x="690" y="917"/>
                    </a:cubicBezTo>
                    <a:cubicBezTo>
                      <a:pt x="694" y="921"/>
                      <a:pt x="697" y="925"/>
                      <a:pt x="704" y="926"/>
                    </a:cubicBezTo>
                    <a:cubicBezTo>
                      <a:pt x="710" y="920"/>
                      <a:pt x="702" y="906"/>
                      <a:pt x="712" y="903"/>
                    </a:cubicBezTo>
                    <a:cubicBezTo>
                      <a:pt x="726" y="906"/>
                      <a:pt x="726" y="887"/>
                      <a:pt x="737" y="884"/>
                    </a:cubicBezTo>
                    <a:cubicBezTo>
                      <a:pt x="739" y="875"/>
                      <a:pt x="732" y="874"/>
                      <a:pt x="729" y="869"/>
                    </a:cubicBezTo>
                    <a:cubicBezTo>
                      <a:pt x="730" y="864"/>
                      <a:pt x="732" y="859"/>
                      <a:pt x="737" y="858"/>
                    </a:cubicBezTo>
                    <a:cubicBezTo>
                      <a:pt x="738" y="860"/>
                      <a:pt x="742" y="861"/>
                      <a:pt x="746" y="861"/>
                    </a:cubicBezTo>
                    <a:cubicBezTo>
                      <a:pt x="747" y="866"/>
                      <a:pt x="753" y="872"/>
                      <a:pt x="758" y="867"/>
                    </a:cubicBezTo>
                    <a:cubicBezTo>
                      <a:pt x="755" y="848"/>
                      <a:pt x="733" y="847"/>
                      <a:pt x="721" y="836"/>
                    </a:cubicBezTo>
                    <a:cubicBezTo>
                      <a:pt x="723" y="834"/>
                      <a:pt x="725" y="833"/>
                      <a:pt x="725" y="829"/>
                    </a:cubicBezTo>
                    <a:cubicBezTo>
                      <a:pt x="709" y="826"/>
                      <a:pt x="698" y="821"/>
                      <a:pt x="694" y="806"/>
                    </a:cubicBezTo>
                    <a:cubicBezTo>
                      <a:pt x="691" y="790"/>
                      <a:pt x="680" y="785"/>
                      <a:pt x="675" y="773"/>
                    </a:cubicBezTo>
                    <a:cubicBezTo>
                      <a:pt x="679" y="771"/>
                      <a:pt x="680" y="766"/>
                      <a:pt x="677" y="762"/>
                    </a:cubicBezTo>
                    <a:cubicBezTo>
                      <a:pt x="681" y="758"/>
                      <a:pt x="691" y="752"/>
                      <a:pt x="696" y="757"/>
                    </a:cubicBezTo>
                    <a:cubicBezTo>
                      <a:pt x="696" y="762"/>
                      <a:pt x="692" y="765"/>
                      <a:pt x="694" y="771"/>
                    </a:cubicBezTo>
                    <a:cubicBezTo>
                      <a:pt x="700" y="772"/>
                      <a:pt x="697" y="765"/>
                      <a:pt x="703" y="766"/>
                    </a:cubicBezTo>
                    <a:cubicBezTo>
                      <a:pt x="704" y="771"/>
                      <a:pt x="705" y="774"/>
                      <a:pt x="709" y="775"/>
                    </a:cubicBezTo>
                    <a:cubicBezTo>
                      <a:pt x="709" y="787"/>
                      <a:pt x="720" y="788"/>
                      <a:pt x="721" y="799"/>
                    </a:cubicBezTo>
                    <a:cubicBezTo>
                      <a:pt x="725" y="800"/>
                      <a:pt x="731" y="800"/>
                      <a:pt x="735" y="801"/>
                    </a:cubicBezTo>
                    <a:cubicBezTo>
                      <a:pt x="734" y="804"/>
                      <a:pt x="736" y="804"/>
                      <a:pt x="736" y="808"/>
                    </a:cubicBezTo>
                    <a:cubicBezTo>
                      <a:pt x="752" y="812"/>
                      <a:pt x="757" y="828"/>
                      <a:pt x="772" y="834"/>
                    </a:cubicBezTo>
                    <a:cubicBezTo>
                      <a:pt x="772" y="845"/>
                      <a:pt x="769" y="852"/>
                      <a:pt x="767" y="861"/>
                    </a:cubicBezTo>
                    <a:cubicBezTo>
                      <a:pt x="770" y="865"/>
                      <a:pt x="776" y="867"/>
                      <a:pt x="776" y="874"/>
                    </a:cubicBezTo>
                    <a:cubicBezTo>
                      <a:pt x="786" y="878"/>
                      <a:pt x="790" y="889"/>
                      <a:pt x="796" y="897"/>
                    </a:cubicBezTo>
                    <a:cubicBezTo>
                      <a:pt x="799" y="898"/>
                      <a:pt x="805" y="895"/>
                      <a:pt x="807" y="900"/>
                    </a:cubicBezTo>
                    <a:cubicBezTo>
                      <a:pt x="804" y="901"/>
                      <a:pt x="799" y="901"/>
                      <a:pt x="798" y="905"/>
                    </a:cubicBezTo>
                    <a:cubicBezTo>
                      <a:pt x="801" y="912"/>
                      <a:pt x="805" y="914"/>
                      <a:pt x="803" y="925"/>
                    </a:cubicBezTo>
                    <a:cubicBezTo>
                      <a:pt x="806" y="928"/>
                      <a:pt x="809" y="926"/>
                      <a:pt x="814" y="926"/>
                    </a:cubicBezTo>
                    <a:cubicBezTo>
                      <a:pt x="815" y="928"/>
                      <a:pt x="816" y="929"/>
                      <a:pt x="816" y="931"/>
                    </a:cubicBezTo>
                    <a:cubicBezTo>
                      <a:pt x="820" y="930"/>
                      <a:pt x="822" y="931"/>
                      <a:pt x="828" y="933"/>
                    </a:cubicBezTo>
                    <a:cubicBezTo>
                      <a:pt x="830" y="926"/>
                      <a:pt x="824" y="919"/>
                      <a:pt x="823" y="912"/>
                    </a:cubicBezTo>
                    <a:cubicBezTo>
                      <a:pt x="827" y="912"/>
                      <a:pt x="829" y="918"/>
                      <a:pt x="833" y="914"/>
                    </a:cubicBezTo>
                    <a:cubicBezTo>
                      <a:pt x="829" y="905"/>
                      <a:pt x="817" y="905"/>
                      <a:pt x="810" y="898"/>
                    </a:cubicBezTo>
                    <a:cubicBezTo>
                      <a:pt x="823" y="894"/>
                      <a:pt x="831" y="908"/>
                      <a:pt x="840" y="907"/>
                    </a:cubicBezTo>
                    <a:cubicBezTo>
                      <a:pt x="842" y="904"/>
                      <a:pt x="840" y="902"/>
                      <a:pt x="839" y="899"/>
                    </a:cubicBezTo>
                    <a:cubicBezTo>
                      <a:pt x="841" y="896"/>
                      <a:pt x="846" y="896"/>
                      <a:pt x="845" y="890"/>
                    </a:cubicBezTo>
                    <a:cubicBezTo>
                      <a:pt x="842" y="889"/>
                      <a:pt x="839" y="890"/>
                      <a:pt x="836" y="889"/>
                    </a:cubicBezTo>
                    <a:cubicBezTo>
                      <a:pt x="828" y="886"/>
                      <a:pt x="818" y="866"/>
                      <a:pt x="817" y="859"/>
                    </a:cubicBezTo>
                    <a:cubicBezTo>
                      <a:pt x="823" y="861"/>
                      <a:pt x="825" y="866"/>
                      <a:pt x="831" y="868"/>
                    </a:cubicBezTo>
                    <a:cubicBezTo>
                      <a:pt x="831" y="867"/>
                      <a:pt x="832" y="865"/>
                      <a:pt x="834" y="865"/>
                    </a:cubicBezTo>
                    <a:cubicBezTo>
                      <a:pt x="835" y="859"/>
                      <a:pt x="833" y="851"/>
                      <a:pt x="839" y="851"/>
                    </a:cubicBezTo>
                    <a:cubicBezTo>
                      <a:pt x="843" y="851"/>
                      <a:pt x="842" y="856"/>
                      <a:pt x="847" y="855"/>
                    </a:cubicBezTo>
                    <a:cubicBezTo>
                      <a:pt x="850" y="853"/>
                      <a:pt x="851" y="849"/>
                      <a:pt x="855" y="848"/>
                    </a:cubicBezTo>
                    <a:cubicBezTo>
                      <a:pt x="859" y="851"/>
                      <a:pt x="867" y="850"/>
                      <a:pt x="868" y="857"/>
                    </a:cubicBezTo>
                    <a:cubicBezTo>
                      <a:pt x="866" y="860"/>
                      <a:pt x="860" y="858"/>
                      <a:pt x="861" y="864"/>
                    </a:cubicBezTo>
                    <a:cubicBezTo>
                      <a:pt x="866" y="868"/>
                      <a:pt x="867" y="861"/>
                      <a:pt x="871" y="861"/>
                    </a:cubicBezTo>
                    <a:cubicBezTo>
                      <a:pt x="870" y="867"/>
                      <a:pt x="870" y="877"/>
                      <a:pt x="866" y="882"/>
                    </a:cubicBezTo>
                    <a:cubicBezTo>
                      <a:pt x="869" y="883"/>
                      <a:pt x="874" y="887"/>
                      <a:pt x="877" y="883"/>
                    </a:cubicBezTo>
                    <a:cubicBezTo>
                      <a:pt x="877" y="880"/>
                      <a:pt x="877" y="880"/>
                      <a:pt x="877" y="880"/>
                    </a:cubicBezTo>
                    <a:cubicBezTo>
                      <a:pt x="876" y="877"/>
                      <a:pt x="871" y="879"/>
                      <a:pt x="872" y="876"/>
                    </a:cubicBezTo>
                    <a:cubicBezTo>
                      <a:pt x="880" y="873"/>
                      <a:pt x="882" y="890"/>
                      <a:pt x="882" y="895"/>
                    </a:cubicBezTo>
                    <a:cubicBezTo>
                      <a:pt x="878" y="890"/>
                      <a:pt x="871" y="890"/>
                      <a:pt x="866" y="893"/>
                    </a:cubicBezTo>
                    <a:cubicBezTo>
                      <a:pt x="865" y="896"/>
                      <a:pt x="868" y="896"/>
                      <a:pt x="867" y="899"/>
                    </a:cubicBezTo>
                    <a:cubicBezTo>
                      <a:pt x="874" y="895"/>
                      <a:pt x="876" y="903"/>
                      <a:pt x="883" y="899"/>
                    </a:cubicBezTo>
                    <a:cubicBezTo>
                      <a:pt x="885" y="903"/>
                      <a:pt x="889" y="904"/>
                      <a:pt x="891" y="907"/>
                    </a:cubicBezTo>
                    <a:cubicBezTo>
                      <a:pt x="884" y="918"/>
                      <a:pt x="904" y="915"/>
                      <a:pt x="904" y="925"/>
                    </a:cubicBezTo>
                    <a:cubicBezTo>
                      <a:pt x="916" y="923"/>
                      <a:pt x="923" y="937"/>
                      <a:pt x="940" y="931"/>
                    </a:cubicBezTo>
                    <a:cubicBezTo>
                      <a:pt x="938" y="918"/>
                      <a:pt x="953" y="915"/>
                      <a:pt x="963" y="921"/>
                    </a:cubicBezTo>
                    <a:cubicBezTo>
                      <a:pt x="966" y="923"/>
                      <a:pt x="966" y="928"/>
                      <a:pt x="970" y="930"/>
                    </a:cubicBezTo>
                    <a:cubicBezTo>
                      <a:pt x="993" y="937"/>
                      <a:pt x="1000" y="900"/>
                      <a:pt x="1016" y="915"/>
                    </a:cubicBezTo>
                    <a:cubicBezTo>
                      <a:pt x="1019" y="913"/>
                      <a:pt x="1021" y="907"/>
                      <a:pt x="1025" y="908"/>
                    </a:cubicBezTo>
                    <a:cubicBezTo>
                      <a:pt x="1024" y="922"/>
                      <a:pt x="1017" y="941"/>
                      <a:pt x="1028" y="949"/>
                    </a:cubicBezTo>
                    <a:cubicBezTo>
                      <a:pt x="1014" y="962"/>
                      <a:pt x="1025" y="990"/>
                      <a:pt x="1019" y="1005"/>
                    </a:cubicBezTo>
                    <a:cubicBezTo>
                      <a:pt x="1016" y="1005"/>
                      <a:pt x="1016" y="1007"/>
                      <a:pt x="1013" y="1006"/>
                    </a:cubicBezTo>
                    <a:cubicBezTo>
                      <a:pt x="1011" y="1020"/>
                      <a:pt x="997" y="1015"/>
                      <a:pt x="986" y="1018"/>
                    </a:cubicBezTo>
                    <a:cubicBezTo>
                      <a:pt x="971" y="1004"/>
                      <a:pt x="948" y="1023"/>
                      <a:pt x="934" y="1029"/>
                    </a:cubicBezTo>
                    <a:cubicBezTo>
                      <a:pt x="928" y="1024"/>
                      <a:pt x="918" y="1029"/>
                      <a:pt x="909" y="1027"/>
                    </a:cubicBezTo>
                    <a:cubicBezTo>
                      <a:pt x="907" y="1026"/>
                      <a:pt x="905" y="1023"/>
                      <a:pt x="903" y="1023"/>
                    </a:cubicBezTo>
                    <a:cubicBezTo>
                      <a:pt x="900" y="1022"/>
                      <a:pt x="896" y="1023"/>
                      <a:pt x="892" y="1023"/>
                    </a:cubicBezTo>
                    <a:cubicBezTo>
                      <a:pt x="887" y="1022"/>
                      <a:pt x="884" y="1019"/>
                      <a:pt x="881" y="1020"/>
                    </a:cubicBezTo>
                    <a:cubicBezTo>
                      <a:pt x="873" y="1021"/>
                      <a:pt x="868" y="1025"/>
                      <a:pt x="866" y="1015"/>
                    </a:cubicBezTo>
                    <a:cubicBezTo>
                      <a:pt x="853" y="1016"/>
                      <a:pt x="850" y="1009"/>
                      <a:pt x="835" y="1011"/>
                    </a:cubicBezTo>
                    <a:cubicBezTo>
                      <a:pt x="835" y="1008"/>
                      <a:pt x="831" y="1006"/>
                      <a:pt x="831" y="1003"/>
                    </a:cubicBezTo>
                    <a:cubicBezTo>
                      <a:pt x="815" y="1000"/>
                      <a:pt x="802" y="999"/>
                      <a:pt x="792" y="1003"/>
                    </a:cubicBezTo>
                    <a:cubicBezTo>
                      <a:pt x="789" y="1004"/>
                      <a:pt x="780" y="1012"/>
                      <a:pt x="780" y="1016"/>
                    </a:cubicBezTo>
                    <a:cubicBezTo>
                      <a:pt x="779" y="1022"/>
                      <a:pt x="786" y="1029"/>
                      <a:pt x="785" y="1036"/>
                    </a:cubicBezTo>
                    <a:cubicBezTo>
                      <a:pt x="784" y="1038"/>
                      <a:pt x="776" y="1046"/>
                      <a:pt x="772" y="1047"/>
                    </a:cubicBezTo>
                    <a:cubicBezTo>
                      <a:pt x="758" y="1049"/>
                      <a:pt x="750" y="1032"/>
                      <a:pt x="738" y="1028"/>
                    </a:cubicBezTo>
                    <a:cubicBezTo>
                      <a:pt x="724" y="1024"/>
                      <a:pt x="715" y="1030"/>
                      <a:pt x="710" y="1023"/>
                    </a:cubicBezTo>
                    <a:cubicBezTo>
                      <a:pt x="707" y="1019"/>
                      <a:pt x="709" y="1015"/>
                      <a:pt x="707" y="1010"/>
                    </a:cubicBezTo>
                    <a:cubicBezTo>
                      <a:pt x="704" y="1004"/>
                      <a:pt x="699" y="1005"/>
                      <a:pt x="692" y="1002"/>
                    </a:cubicBezTo>
                    <a:cubicBezTo>
                      <a:pt x="689" y="1000"/>
                      <a:pt x="687" y="996"/>
                      <a:pt x="684" y="995"/>
                    </a:cubicBezTo>
                    <a:cubicBezTo>
                      <a:pt x="676" y="993"/>
                      <a:pt x="668" y="997"/>
                      <a:pt x="661" y="995"/>
                    </a:cubicBezTo>
                    <a:cubicBezTo>
                      <a:pt x="653" y="993"/>
                      <a:pt x="640" y="981"/>
                      <a:pt x="638" y="975"/>
                    </a:cubicBezTo>
                    <a:cubicBezTo>
                      <a:pt x="630" y="974"/>
                      <a:pt x="624" y="972"/>
                      <a:pt x="623" y="964"/>
                    </a:cubicBezTo>
                    <a:cubicBezTo>
                      <a:pt x="630" y="956"/>
                      <a:pt x="644" y="954"/>
                      <a:pt x="642" y="942"/>
                    </a:cubicBezTo>
                    <a:cubicBezTo>
                      <a:pt x="642" y="937"/>
                      <a:pt x="635" y="936"/>
                      <a:pt x="635" y="931"/>
                    </a:cubicBezTo>
                    <a:cubicBezTo>
                      <a:pt x="634" y="922"/>
                      <a:pt x="647" y="923"/>
                      <a:pt x="643" y="911"/>
                    </a:cubicBezTo>
                    <a:cubicBezTo>
                      <a:pt x="637" y="911"/>
                      <a:pt x="635" y="919"/>
                      <a:pt x="630" y="917"/>
                    </a:cubicBezTo>
                    <a:cubicBezTo>
                      <a:pt x="629" y="912"/>
                      <a:pt x="632" y="909"/>
                      <a:pt x="630" y="905"/>
                    </a:cubicBezTo>
                    <a:cubicBezTo>
                      <a:pt x="617" y="903"/>
                      <a:pt x="601" y="912"/>
                      <a:pt x="590" y="903"/>
                    </a:cubicBezTo>
                    <a:cubicBezTo>
                      <a:pt x="584" y="907"/>
                      <a:pt x="578" y="902"/>
                      <a:pt x="575" y="899"/>
                    </a:cubicBezTo>
                    <a:cubicBezTo>
                      <a:pt x="571" y="906"/>
                      <a:pt x="565" y="900"/>
                      <a:pt x="558" y="905"/>
                    </a:cubicBezTo>
                    <a:cubicBezTo>
                      <a:pt x="551" y="898"/>
                      <a:pt x="537" y="899"/>
                      <a:pt x="524" y="898"/>
                    </a:cubicBezTo>
                    <a:cubicBezTo>
                      <a:pt x="508" y="897"/>
                      <a:pt x="487" y="888"/>
                      <a:pt x="478" y="902"/>
                    </a:cubicBezTo>
                    <a:cubicBezTo>
                      <a:pt x="473" y="900"/>
                      <a:pt x="469" y="901"/>
                      <a:pt x="463" y="901"/>
                    </a:cubicBezTo>
                    <a:cubicBezTo>
                      <a:pt x="454" y="916"/>
                      <a:pt x="442" y="898"/>
                      <a:pt x="430" y="900"/>
                    </a:cubicBezTo>
                    <a:cubicBezTo>
                      <a:pt x="427" y="897"/>
                      <a:pt x="422" y="893"/>
                      <a:pt x="417" y="896"/>
                    </a:cubicBezTo>
                    <a:cubicBezTo>
                      <a:pt x="408" y="893"/>
                      <a:pt x="411" y="878"/>
                      <a:pt x="400" y="879"/>
                    </a:cubicBezTo>
                    <a:cubicBezTo>
                      <a:pt x="391" y="887"/>
                      <a:pt x="386" y="903"/>
                      <a:pt x="374" y="907"/>
                    </a:cubicBezTo>
                    <a:cubicBezTo>
                      <a:pt x="369" y="908"/>
                      <a:pt x="365" y="903"/>
                      <a:pt x="360" y="907"/>
                    </a:cubicBezTo>
                    <a:cubicBezTo>
                      <a:pt x="351" y="901"/>
                      <a:pt x="347" y="914"/>
                      <a:pt x="338" y="914"/>
                    </a:cubicBezTo>
                    <a:cubicBezTo>
                      <a:pt x="339" y="917"/>
                      <a:pt x="336" y="918"/>
                      <a:pt x="337" y="921"/>
                    </a:cubicBezTo>
                    <a:cubicBezTo>
                      <a:pt x="328" y="925"/>
                      <a:pt x="325" y="934"/>
                      <a:pt x="322" y="943"/>
                    </a:cubicBezTo>
                    <a:cubicBezTo>
                      <a:pt x="323" y="948"/>
                      <a:pt x="323" y="950"/>
                      <a:pt x="322" y="955"/>
                    </a:cubicBezTo>
                    <a:cubicBezTo>
                      <a:pt x="312" y="956"/>
                      <a:pt x="310" y="968"/>
                      <a:pt x="299" y="965"/>
                    </a:cubicBezTo>
                    <a:cubicBezTo>
                      <a:pt x="294" y="973"/>
                      <a:pt x="277" y="973"/>
                      <a:pt x="269" y="968"/>
                    </a:cubicBezTo>
                    <a:cubicBezTo>
                      <a:pt x="260" y="973"/>
                      <a:pt x="259" y="990"/>
                      <a:pt x="242" y="982"/>
                    </a:cubicBezTo>
                    <a:cubicBezTo>
                      <a:pt x="240" y="988"/>
                      <a:pt x="238" y="992"/>
                      <a:pt x="233" y="994"/>
                    </a:cubicBezTo>
                    <a:cubicBezTo>
                      <a:pt x="237" y="1007"/>
                      <a:pt x="226" y="1010"/>
                      <a:pt x="215" y="1010"/>
                    </a:cubicBezTo>
                    <a:cubicBezTo>
                      <a:pt x="212" y="1018"/>
                      <a:pt x="208" y="1024"/>
                      <a:pt x="203" y="1029"/>
                    </a:cubicBezTo>
                    <a:cubicBezTo>
                      <a:pt x="200" y="1028"/>
                      <a:pt x="196" y="1030"/>
                      <a:pt x="195" y="1031"/>
                    </a:cubicBezTo>
                    <a:cubicBezTo>
                      <a:pt x="188" y="1041"/>
                      <a:pt x="199" y="1057"/>
                      <a:pt x="199" y="1061"/>
                    </a:cubicBezTo>
                    <a:cubicBezTo>
                      <a:pt x="199" y="1066"/>
                      <a:pt x="194" y="1070"/>
                      <a:pt x="193" y="1075"/>
                    </a:cubicBezTo>
                    <a:cubicBezTo>
                      <a:pt x="192" y="1081"/>
                      <a:pt x="197" y="1087"/>
                      <a:pt x="196" y="1094"/>
                    </a:cubicBezTo>
                    <a:cubicBezTo>
                      <a:pt x="195" y="1099"/>
                      <a:pt x="191" y="1101"/>
                      <a:pt x="192" y="1107"/>
                    </a:cubicBezTo>
                    <a:cubicBezTo>
                      <a:pt x="185" y="1108"/>
                      <a:pt x="186" y="1118"/>
                      <a:pt x="185" y="1125"/>
                    </a:cubicBezTo>
                    <a:cubicBezTo>
                      <a:pt x="179" y="1125"/>
                      <a:pt x="178" y="1130"/>
                      <a:pt x="173" y="1130"/>
                    </a:cubicBezTo>
                    <a:cubicBezTo>
                      <a:pt x="174" y="1138"/>
                      <a:pt x="180" y="1145"/>
                      <a:pt x="180" y="1153"/>
                    </a:cubicBezTo>
                    <a:cubicBezTo>
                      <a:pt x="179" y="1159"/>
                      <a:pt x="176" y="1161"/>
                      <a:pt x="176" y="1165"/>
                    </a:cubicBezTo>
                    <a:cubicBezTo>
                      <a:pt x="176" y="1171"/>
                      <a:pt x="185" y="1175"/>
                      <a:pt x="184" y="1182"/>
                    </a:cubicBezTo>
                    <a:cubicBezTo>
                      <a:pt x="194" y="1183"/>
                      <a:pt x="190" y="1191"/>
                      <a:pt x="194" y="1199"/>
                    </a:cubicBezTo>
                    <a:cubicBezTo>
                      <a:pt x="196" y="1203"/>
                      <a:pt x="201" y="1206"/>
                      <a:pt x="203" y="1210"/>
                    </a:cubicBezTo>
                    <a:cubicBezTo>
                      <a:pt x="204" y="1212"/>
                      <a:pt x="203" y="1215"/>
                      <a:pt x="205" y="1218"/>
                    </a:cubicBezTo>
                    <a:cubicBezTo>
                      <a:pt x="207" y="1222"/>
                      <a:pt x="213" y="1225"/>
                      <a:pt x="215" y="1229"/>
                    </a:cubicBezTo>
                    <a:cubicBezTo>
                      <a:pt x="219" y="1235"/>
                      <a:pt x="222" y="1242"/>
                      <a:pt x="220" y="1248"/>
                    </a:cubicBezTo>
                    <a:cubicBezTo>
                      <a:pt x="225" y="1256"/>
                      <a:pt x="227" y="1266"/>
                      <a:pt x="233" y="1273"/>
                    </a:cubicBezTo>
                    <a:cubicBezTo>
                      <a:pt x="244" y="1284"/>
                      <a:pt x="254" y="1293"/>
                      <a:pt x="263" y="1304"/>
                    </a:cubicBezTo>
                    <a:cubicBezTo>
                      <a:pt x="269" y="1311"/>
                      <a:pt x="272" y="1319"/>
                      <a:pt x="279" y="1325"/>
                    </a:cubicBezTo>
                    <a:cubicBezTo>
                      <a:pt x="281" y="1327"/>
                      <a:pt x="285" y="1329"/>
                      <a:pt x="289" y="1333"/>
                    </a:cubicBezTo>
                    <a:cubicBezTo>
                      <a:pt x="299" y="1341"/>
                      <a:pt x="300" y="1344"/>
                      <a:pt x="316" y="1345"/>
                    </a:cubicBezTo>
                    <a:cubicBezTo>
                      <a:pt x="333" y="1347"/>
                      <a:pt x="354" y="1357"/>
                      <a:pt x="369" y="1362"/>
                    </a:cubicBezTo>
                    <a:cubicBezTo>
                      <a:pt x="374" y="1365"/>
                      <a:pt x="381" y="1375"/>
                      <a:pt x="390" y="1377"/>
                    </a:cubicBezTo>
                    <a:cubicBezTo>
                      <a:pt x="394" y="1378"/>
                      <a:pt x="398" y="1376"/>
                      <a:pt x="402" y="1376"/>
                    </a:cubicBezTo>
                    <a:cubicBezTo>
                      <a:pt x="411" y="1376"/>
                      <a:pt x="420" y="1380"/>
                      <a:pt x="427" y="1376"/>
                    </a:cubicBezTo>
                    <a:cubicBezTo>
                      <a:pt x="438" y="1382"/>
                      <a:pt x="452" y="1377"/>
                      <a:pt x="467" y="1381"/>
                    </a:cubicBezTo>
                    <a:cubicBezTo>
                      <a:pt x="472" y="1387"/>
                      <a:pt x="477" y="1384"/>
                      <a:pt x="482" y="1385"/>
                    </a:cubicBezTo>
                    <a:cubicBezTo>
                      <a:pt x="494" y="1387"/>
                      <a:pt x="506" y="1394"/>
                      <a:pt x="513" y="1404"/>
                    </a:cubicBezTo>
                    <a:cubicBezTo>
                      <a:pt x="517" y="1409"/>
                      <a:pt x="516" y="1417"/>
                      <a:pt x="522" y="1420"/>
                    </a:cubicBezTo>
                    <a:cubicBezTo>
                      <a:pt x="529" y="1424"/>
                      <a:pt x="539" y="1422"/>
                      <a:pt x="544" y="1422"/>
                    </a:cubicBezTo>
                    <a:cubicBezTo>
                      <a:pt x="551" y="1422"/>
                      <a:pt x="558" y="1429"/>
                      <a:pt x="565" y="1429"/>
                    </a:cubicBezTo>
                    <a:cubicBezTo>
                      <a:pt x="567" y="1429"/>
                      <a:pt x="569" y="1427"/>
                      <a:pt x="571" y="1427"/>
                    </a:cubicBezTo>
                    <a:cubicBezTo>
                      <a:pt x="579" y="1428"/>
                      <a:pt x="578" y="1432"/>
                      <a:pt x="582" y="1436"/>
                    </a:cubicBezTo>
                    <a:cubicBezTo>
                      <a:pt x="589" y="1443"/>
                      <a:pt x="598" y="1446"/>
                      <a:pt x="599" y="1451"/>
                    </a:cubicBezTo>
                    <a:cubicBezTo>
                      <a:pt x="600" y="1456"/>
                      <a:pt x="592" y="1459"/>
                      <a:pt x="595" y="1464"/>
                    </a:cubicBezTo>
                    <a:cubicBezTo>
                      <a:pt x="592" y="1465"/>
                      <a:pt x="590" y="1466"/>
                      <a:pt x="588" y="1467"/>
                    </a:cubicBezTo>
                    <a:cubicBezTo>
                      <a:pt x="589" y="1472"/>
                      <a:pt x="594" y="1472"/>
                      <a:pt x="593" y="1479"/>
                    </a:cubicBezTo>
                    <a:cubicBezTo>
                      <a:pt x="591" y="1478"/>
                      <a:pt x="590" y="1479"/>
                      <a:pt x="589" y="1480"/>
                    </a:cubicBezTo>
                    <a:cubicBezTo>
                      <a:pt x="589" y="1487"/>
                      <a:pt x="589" y="1487"/>
                      <a:pt x="589" y="1487"/>
                    </a:cubicBezTo>
                    <a:cubicBezTo>
                      <a:pt x="586" y="1489"/>
                      <a:pt x="583" y="1490"/>
                      <a:pt x="579" y="1489"/>
                    </a:cubicBezTo>
                    <a:cubicBezTo>
                      <a:pt x="580" y="1495"/>
                      <a:pt x="586" y="1496"/>
                      <a:pt x="591" y="1499"/>
                    </a:cubicBezTo>
                    <a:cubicBezTo>
                      <a:pt x="591" y="1501"/>
                      <a:pt x="590" y="1501"/>
                      <a:pt x="590" y="1503"/>
                    </a:cubicBezTo>
                    <a:cubicBezTo>
                      <a:pt x="609" y="1520"/>
                      <a:pt x="634" y="1531"/>
                      <a:pt x="650" y="1551"/>
                    </a:cubicBezTo>
                    <a:cubicBezTo>
                      <a:pt x="650" y="1552"/>
                      <a:pt x="648" y="1551"/>
                      <a:pt x="648" y="1554"/>
                    </a:cubicBezTo>
                    <a:cubicBezTo>
                      <a:pt x="656" y="1560"/>
                      <a:pt x="663" y="1566"/>
                      <a:pt x="668" y="1574"/>
                    </a:cubicBezTo>
                    <a:cubicBezTo>
                      <a:pt x="669" y="1577"/>
                      <a:pt x="665" y="1576"/>
                      <a:pt x="664" y="1578"/>
                    </a:cubicBezTo>
                    <a:cubicBezTo>
                      <a:pt x="666" y="1587"/>
                      <a:pt x="677" y="1589"/>
                      <a:pt x="680" y="1598"/>
                    </a:cubicBezTo>
                    <a:cubicBezTo>
                      <a:pt x="678" y="1600"/>
                      <a:pt x="676" y="1602"/>
                      <a:pt x="674" y="1604"/>
                    </a:cubicBezTo>
                    <a:cubicBezTo>
                      <a:pt x="667" y="1603"/>
                      <a:pt x="666" y="1607"/>
                      <a:pt x="659" y="1606"/>
                    </a:cubicBezTo>
                    <a:cubicBezTo>
                      <a:pt x="659" y="1613"/>
                      <a:pt x="655" y="1610"/>
                      <a:pt x="657" y="1617"/>
                    </a:cubicBezTo>
                    <a:cubicBezTo>
                      <a:pt x="653" y="1617"/>
                      <a:pt x="654" y="1622"/>
                      <a:pt x="648" y="1621"/>
                    </a:cubicBezTo>
                    <a:cubicBezTo>
                      <a:pt x="647" y="1636"/>
                      <a:pt x="659" y="1637"/>
                      <a:pt x="672" y="1644"/>
                    </a:cubicBezTo>
                    <a:cubicBezTo>
                      <a:pt x="684" y="1650"/>
                      <a:pt x="690" y="1655"/>
                      <a:pt x="700" y="1657"/>
                    </a:cubicBezTo>
                    <a:cubicBezTo>
                      <a:pt x="704" y="1673"/>
                      <a:pt x="737" y="1679"/>
                      <a:pt x="751" y="1681"/>
                    </a:cubicBezTo>
                    <a:cubicBezTo>
                      <a:pt x="756" y="1682"/>
                      <a:pt x="767" y="1682"/>
                      <a:pt x="760" y="1684"/>
                    </a:cubicBezTo>
                    <a:cubicBezTo>
                      <a:pt x="839" y="1688"/>
                      <a:pt x="918" y="1682"/>
                      <a:pt x="976" y="1661"/>
                    </a:cubicBezTo>
                    <a:cubicBezTo>
                      <a:pt x="978" y="1660"/>
                      <a:pt x="974" y="1659"/>
                      <a:pt x="977" y="1658"/>
                    </a:cubicBezTo>
                    <a:cubicBezTo>
                      <a:pt x="994" y="1651"/>
                      <a:pt x="1017" y="1650"/>
                      <a:pt x="1027" y="1639"/>
                    </a:cubicBezTo>
                    <a:cubicBezTo>
                      <a:pt x="1028" y="1635"/>
                      <a:pt x="1023" y="1637"/>
                      <a:pt x="1023" y="1635"/>
                    </a:cubicBezTo>
                    <a:cubicBezTo>
                      <a:pt x="1027" y="1633"/>
                      <a:pt x="1022" y="1632"/>
                      <a:pt x="1021" y="1631"/>
                    </a:cubicBezTo>
                    <a:cubicBezTo>
                      <a:pt x="1035" y="1625"/>
                      <a:pt x="1048" y="1621"/>
                      <a:pt x="1060" y="1614"/>
                    </a:cubicBezTo>
                    <a:cubicBezTo>
                      <a:pt x="1084" y="1599"/>
                      <a:pt x="1115" y="1595"/>
                      <a:pt x="1133" y="1575"/>
                    </a:cubicBezTo>
                    <a:cubicBezTo>
                      <a:pt x="1131" y="1565"/>
                      <a:pt x="1138" y="1555"/>
                      <a:pt x="1143" y="1547"/>
                    </a:cubicBezTo>
                    <a:cubicBezTo>
                      <a:pt x="1139" y="1544"/>
                      <a:pt x="1136" y="1546"/>
                      <a:pt x="1131" y="1546"/>
                    </a:cubicBezTo>
                    <a:cubicBezTo>
                      <a:pt x="1130" y="1542"/>
                      <a:pt x="1130" y="1538"/>
                      <a:pt x="1127" y="1536"/>
                    </a:cubicBezTo>
                    <a:cubicBezTo>
                      <a:pt x="1130" y="1531"/>
                      <a:pt x="1131" y="1527"/>
                      <a:pt x="1134" y="1521"/>
                    </a:cubicBezTo>
                    <a:cubicBezTo>
                      <a:pt x="1129" y="1520"/>
                      <a:pt x="1126" y="1524"/>
                      <a:pt x="1123" y="1520"/>
                    </a:cubicBezTo>
                    <a:cubicBezTo>
                      <a:pt x="1131" y="1503"/>
                      <a:pt x="1147" y="1494"/>
                      <a:pt x="1154" y="1478"/>
                    </a:cubicBezTo>
                    <a:cubicBezTo>
                      <a:pt x="1160" y="1476"/>
                      <a:pt x="1162" y="1472"/>
                      <a:pt x="1166" y="1468"/>
                    </a:cubicBezTo>
                    <a:cubicBezTo>
                      <a:pt x="1179" y="1465"/>
                      <a:pt x="1183" y="1452"/>
                      <a:pt x="1192" y="1444"/>
                    </a:cubicBezTo>
                    <a:cubicBezTo>
                      <a:pt x="1196" y="1440"/>
                      <a:pt x="1201" y="1439"/>
                      <a:pt x="1204" y="1435"/>
                    </a:cubicBezTo>
                    <a:cubicBezTo>
                      <a:pt x="1206" y="1433"/>
                      <a:pt x="1207" y="1430"/>
                      <a:pt x="1209" y="1428"/>
                    </a:cubicBezTo>
                    <a:cubicBezTo>
                      <a:pt x="1228" y="1406"/>
                      <a:pt x="1254" y="1393"/>
                      <a:pt x="1271" y="1373"/>
                    </a:cubicBezTo>
                    <a:cubicBezTo>
                      <a:pt x="1278" y="1365"/>
                      <a:pt x="1284" y="1355"/>
                      <a:pt x="1290" y="1344"/>
                    </a:cubicBezTo>
                    <a:cubicBezTo>
                      <a:pt x="1294" y="1338"/>
                      <a:pt x="1300" y="1334"/>
                      <a:pt x="1304" y="1327"/>
                    </a:cubicBezTo>
                    <a:cubicBezTo>
                      <a:pt x="1306" y="1323"/>
                      <a:pt x="1306" y="1317"/>
                      <a:pt x="1308" y="1313"/>
                    </a:cubicBezTo>
                    <a:cubicBezTo>
                      <a:pt x="1312" y="1304"/>
                      <a:pt x="1322" y="1292"/>
                      <a:pt x="1323" y="1281"/>
                    </a:cubicBezTo>
                    <a:cubicBezTo>
                      <a:pt x="1326" y="1280"/>
                      <a:pt x="1327" y="1277"/>
                      <a:pt x="1329" y="1275"/>
                    </a:cubicBezTo>
                    <a:cubicBezTo>
                      <a:pt x="1325" y="1265"/>
                      <a:pt x="1332" y="1259"/>
                      <a:pt x="1334" y="1252"/>
                    </a:cubicBezTo>
                    <a:cubicBezTo>
                      <a:pt x="1335" y="1246"/>
                      <a:pt x="1331" y="1240"/>
                      <a:pt x="1335" y="1234"/>
                    </a:cubicBezTo>
                    <a:cubicBezTo>
                      <a:pt x="1326" y="1232"/>
                      <a:pt x="1325" y="1238"/>
                      <a:pt x="1321" y="1243"/>
                    </a:cubicBezTo>
                    <a:cubicBezTo>
                      <a:pt x="1311" y="1255"/>
                      <a:pt x="1293" y="1257"/>
                      <a:pt x="1284" y="1268"/>
                    </a:cubicBezTo>
                    <a:cubicBezTo>
                      <a:pt x="1281" y="1269"/>
                      <a:pt x="1282" y="1267"/>
                      <a:pt x="1279" y="1267"/>
                    </a:cubicBezTo>
                    <a:cubicBezTo>
                      <a:pt x="1274" y="1270"/>
                      <a:pt x="1270" y="1279"/>
                      <a:pt x="1262" y="1283"/>
                    </a:cubicBezTo>
                    <a:cubicBezTo>
                      <a:pt x="1260" y="1284"/>
                      <a:pt x="1257" y="1282"/>
                      <a:pt x="1255" y="1283"/>
                    </a:cubicBezTo>
                    <a:cubicBezTo>
                      <a:pt x="1248" y="1285"/>
                      <a:pt x="1244" y="1293"/>
                      <a:pt x="1239" y="1295"/>
                    </a:cubicBezTo>
                    <a:cubicBezTo>
                      <a:pt x="1223" y="1303"/>
                      <a:pt x="1218" y="1294"/>
                      <a:pt x="1205" y="1291"/>
                    </a:cubicBezTo>
                    <a:cubicBezTo>
                      <a:pt x="1207" y="1287"/>
                      <a:pt x="1211" y="1284"/>
                      <a:pt x="1212" y="1279"/>
                    </a:cubicBezTo>
                    <a:cubicBezTo>
                      <a:pt x="1207" y="1270"/>
                      <a:pt x="1194" y="1277"/>
                      <a:pt x="1192" y="1267"/>
                    </a:cubicBezTo>
                    <a:cubicBezTo>
                      <a:pt x="1187" y="1268"/>
                      <a:pt x="1185" y="1266"/>
                      <a:pt x="1179" y="1267"/>
                    </a:cubicBezTo>
                    <a:cubicBezTo>
                      <a:pt x="1178" y="1264"/>
                      <a:pt x="1178" y="1260"/>
                      <a:pt x="1176" y="1258"/>
                    </a:cubicBezTo>
                    <a:cubicBezTo>
                      <a:pt x="1161" y="1255"/>
                      <a:pt x="1142" y="1260"/>
                      <a:pt x="1137" y="1245"/>
                    </a:cubicBezTo>
                    <a:cubicBezTo>
                      <a:pt x="1136" y="1243"/>
                      <a:pt x="1137" y="1239"/>
                      <a:pt x="1137" y="1237"/>
                    </a:cubicBezTo>
                    <a:cubicBezTo>
                      <a:pt x="1134" y="1222"/>
                      <a:pt x="1121" y="1221"/>
                      <a:pt x="1110" y="1212"/>
                    </a:cubicBezTo>
                    <a:cubicBezTo>
                      <a:pt x="1106" y="1211"/>
                      <a:pt x="1105" y="1213"/>
                      <a:pt x="1101" y="1213"/>
                    </a:cubicBezTo>
                    <a:cubicBezTo>
                      <a:pt x="1100" y="1199"/>
                      <a:pt x="1090" y="1188"/>
                      <a:pt x="1095" y="1175"/>
                    </a:cubicBezTo>
                    <a:cubicBezTo>
                      <a:pt x="1090" y="1174"/>
                      <a:pt x="1086" y="1170"/>
                      <a:pt x="1089" y="1164"/>
                    </a:cubicBezTo>
                    <a:cubicBezTo>
                      <a:pt x="1078" y="1156"/>
                      <a:pt x="1054" y="1153"/>
                      <a:pt x="1062" y="1133"/>
                    </a:cubicBezTo>
                    <a:cubicBezTo>
                      <a:pt x="1045" y="1127"/>
                      <a:pt x="1043" y="1106"/>
                      <a:pt x="1028" y="1097"/>
                    </a:cubicBezTo>
                    <a:cubicBezTo>
                      <a:pt x="1029" y="1094"/>
                      <a:pt x="1027" y="1093"/>
                      <a:pt x="1027" y="1089"/>
                    </a:cubicBezTo>
                    <a:cubicBezTo>
                      <a:pt x="1024" y="1085"/>
                      <a:pt x="1018" y="1084"/>
                      <a:pt x="1017" y="1078"/>
                    </a:cubicBezTo>
                    <a:cubicBezTo>
                      <a:pt x="1021" y="1080"/>
                      <a:pt x="1023" y="1083"/>
                      <a:pt x="1030" y="1082"/>
                    </a:cubicBezTo>
                    <a:cubicBezTo>
                      <a:pt x="1033" y="1076"/>
                      <a:pt x="1025" y="1064"/>
                      <a:pt x="1030" y="1058"/>
                    </a:cubicBezTo>
                    <a:cubicBezTo>
                      <a:pt x="1035" y="1061"/>
                      <a:pt x="1032" y="1072"/>
                      <a:pt x="1035" y="1076"/>
                    </a:cubicBezTo>
                    <a:cubicBezTo>
                      <a:pt x="1039" y="1080"/>
                      <a:pt x="1047" y="1078"/>
                      <a:pt x="1051" y="1081"/>
                    </a:cubicBezTo>
                    <a:cubicBezTo>
                      <a:pt x="1056" y="1084"/>
                      <a:pt x="1058" y="1094"/>
                      <a:pt x="1062" y="1098"/>
                    </a:cubicBezTo>
                    <a:cubicBezTo>
                      <a:pt x="1069" y="1104"/>
                      <a:pt x="1077" y="1106"/>
                      <a:pt x="1081" y="1111"/>
                    </a:cubicBezTo>
                    <a:cubicBezTo>
                      <a:pt x="1085" y="1116"/>
                      <a:pt x="1084" y="1124"/>
                      <a:pt x="1091" y="1127"/>
                    </a:cubicBezTo>
                    <a:cubicBezTo>
                      <a:pt x="1136" y="1115"/>
                      <a:pt x="1111" y="1186"/>
                      <a:pt x="1153" y="1173"/>
                    </a:cubicBezTo>
                    <a:cubicBezTo>
                      <a:pt x="1160" y="1180"/>
                      <a:pt x="1167" y="1191"/>
                      <a:pt x="1177" y="1199"/>
                    </a:cubicBezTo>
                    <a:cubicBezTo>
                      <a:pt x="1188" y="1208"/>
                      <a:pt x="1205" y="1214"/>
                      <a:pt x="1194" y="1233"/>
                    </a:cubicBezTo>
                    <a:cubicBezTo>
                      <a:pt x="1197" y="1236"/>
                      <a:pt x="1200" y="1236"/>
                      <a:pt x="1202" y="1240"/>
                    </a:cubicBezTo>
                    <a:cubicBezTo>
                      <a:pt x="1202" y="1247"/>
                      <a:pt x="1203" y="1254"/>
                      <a:pt x="1201" y="1260"/>
                    </a:cubicBezTo>
                    <a:cubicBezTo>
                      <a:pt x="1206" y="1262"/>
                      <a:pt x="1210" y="1266"/>
                      <a:pt x="1214" y="1269"/>
                    </a:cubicBezTo>
                    <a:cubicBezTo>
                      <a:pt x="1229" y="1269"/>
                      <a:pt x="1236" y="1260"/>
                      <a:pt x="1242" y="1250"/>
                    </a:cubicBezTo>
                    <a:cubicBezTo>
                      <a:pt x="1290" y="1241"/>
                      <a:pt x="1302" y="1194"/>
                      <a:pt x="1341" y="1176"/>
                    </a:cubicBezTo>
                    <a:cubicBezTo>
                      <a:pt x="1346" y="1150"/>
                      <a:pt x="1369" y="1143"/>
                      <a:pt x="1383" y="1125"/>
                    </a:cubicBezTo>
                    <a:cubicBezTo>
                      <a:pt x="1383" y="1118"/>
                      <a:pt x="1383" y="1118"/>
                      <a:pt x="1383" y="1118"/>
                    </a:cubicBezTo>
                    <a:cubicBezTo>
                      <a:pt x="1387" y="1110"/>
                      <a:pt x="1398" y="1109"/>
                      <a:pt x="1397" y="1095"/>
                    </a:cubicBezTo>
                    <a:cubicBezTo>
                      <a:pt x="1404" y="1087"/>
                      <a:pt x="1409" y="1079"/>
                      <a:pt x="1408" y="1063"/>
                    </a:cubicBezTo>
                    <a:cubicBezTo>
                      <a:pt x="1411" y="1062"/>
                      <a:pt x="1414" y="1060"/>
                      <a:pt x="1416" y="1057"/>
                    </a:cubicBezTo>
                    <a:cubicBezTo>
                      <a:pt x="1415" y="1040"/>
                      <a:pt x="1429" y="1033"/>
                      <a:pt x="1422" y="1016"/>
                    </a:cubicBezTo>
                    <a:cubicBezTo>
                      <a:pt x="1419" y="1015"/>
                      <a:pt x="1418" y="1017"/>
                      <a:pt x="1416" y="1017"/>
                    </a:cubicBezTo>
                    <a:cubicBezTo>
                      <a:pt x="1407" y="1002"/>
                      <a:pt x="1387" y="1013"/>
                      <a:pt x="1374" y="1014"/>
                    </a:cubicBezTo>
                    <a:cubicBezTo>
                      <a:pt x="1364" y="1009"/>
                      <a:pt x="1366" y="992"/>
                      <a:pt x="1360" y="983"/>
                    </a:cubicBezTo>
                    <a:cubicBezTo>
                      <a:pt x="1357" y="1004"/>
                      <a:pt x="1343" y="1012"/>
                      <a:pt x="1343" y="1035"/>
                    </a:cubicBezTo>
                    <a:cubicBezTo>
                      <a:pt x="1329" y="1035"/>
                      <a:pt x="1315" y="1059"/>
                      <a:pt x="1306" y="1049"/>
                    </a:cubicBezTo>
                    <a:cubicBezTo>
                      <a:pt x="1308" y="1037"/>
                      <a:pt x="1310" y="1020"/>
                      <a:pt x="1300" y="1020"/>
                    </a:cubicBezTo>
                    <a:cubicBezTo>
                      <a:pt x="1287" y="1020"/>
                      <a:pt x="1302" y="1040"/>
                      <a:pt x="1293" y="1046"/>
                    </a:cubicBezTo>
                    <a:cubicBezTo>
                      <a:pt x="1291" y="1040"/>
                      <a:pt x="1288" y="1035"/>
                      <a:pt x="1280" y="1035"/>
                    </a:cubicBezTo>
                    <a:cubicBezTo>
                      <a:pt x="1276" y="1028"/>
                      <a:pt x="1276" y="1016"/>
                      <a:pt x="1261" y="1020"/>
                    </a:cubicBezTo>
                    <a:cubicBezTo>
                      <a:pt x="1256" y="1008"/>
                      <a:pt x="1245" y="1001"/>
                      <a:pt x="1236" y="994"/>
                    </a:cubicBezTo>
                    <a:cubicBezTo>
                      <a:pt x="1237" y="991"/>
                      <a:pt x="1243" y="992"/>
                      <a:pt x="1244" y="989"/>
                    </a:cubicBezTo>
                    <a:cubicBezTo>
                      <a:pt x="1245" y="986"/>
                      <a:pt x="1243" y="986"/>
                      <a:pt x="1243" y="983"/>
                    </a:cubicBezTo>
                    <a:cubicBezTo>
                      <a:pt x="1245" y="982"/>
                      <a:pt x="1249" y="983"/>
                      <a:pt x="1250" y="981"/>
                    </a:cubicBezTo>
                    <a:cubicBezTo>
                      <a:pt x="1250" y="976"/>
                      <a:pt x="1248" y="973"/>
                      <a:pt x="1252" y="971"/>
                    </a:cubicBezTo>
                    <a:cubicBezTo>
                      <a:pt x="1258" y="973"/>
                      <a:pt x="1263" y="974"/>
                      <a:pt x="1268" y="978"/>
                    </a:cubicBezTo>
                    <a:cubicBezTo>
                      <a:pt x="1274" y="981"/>
                      <a:pt x="1285" y="1000"/>
                      <a:pt x="1291" y="1001"/>
                    </a:cubicBezTo>
                    <a:cubicBezTo>
                      <a:pt x="1296" y="1001"/>
                      <a:pt x="1301" y="993"/>
                      <a:pt x="1306" y="993"/>
                    </a:cubicBezTo>
                    <a:cubicBezTo>
                      <a:pt x="1316" y="992"/>
                      <a:pt x="1325" y="1003"/>
                      <a:pt x="1336" y="1000"/>
                    </a:cubicBezTo>
                    <a:cubicBezTo>
                      <a:pt x="1348" y="995"/>
                      <a:pt x="1348" y="979"/>
                      <a:pt x="1361" y="973"/>
                    </a:cubicBezTo>
                    <a:cubicBezTo>
                      <a:pt x="1367" y="976"/>
                      <a:pt x="1371" y="981"/>
                      <a:pt x="1374" y="987"/>
                    </a:cubicBezTo>
                    <a:cubicBezTo>
                      <a:pt x="1386" y="989"/>
                      <a:pt x="1391" y="977"/>
                      <a:pt x="1404" y="980"/>
                    </a:cubicBezTo>
                    <a:cubicBezTo>
                      <a:pt x="1407" y="978"/>
                      <a:pt x="1410" y="977"/>
                      <a:pt x="1411" y="974"/>
                    </a:cubicBezTo>
                    <a:cubicBezTo>
                      <a:pt x="1422" y="976"/>
                      <a:pt x="1426" y="966"/>
                      <a:pt x="1432" y="961"/>
                    </a:cubicBezTo>
                    <a:cubicBezTo>
                      <a:pt x="1433" y="960"/>
                      <a:pt x="1435" y="961"/>
                      <a:pt x="1437" y="959"/>
                    </a:cubicBezTo>
                    <a:cubicBezTo>
                      <a:pt x="1442" y="957"/>
                      <a:pt x="1443" y="951"/>
                      <a:pt x="1447" y="947"/>
                    </a:cubicBezTo>
                    <a:cubicBezTo>
                      <a:pt x="1448" y="946"/>
                      <a:pt x="1451" y="946"/>
                      <a:pt x="1453" y="945"/>
                    </a:cubicBezTo>
                    <a:cubicBezTo>
                      <a:pt x="1459" y="940"/>
                      <a:pt x="1464" y="929"/>
                      <a:pt x="1471" y="925"/>
                    </a:cubicBezTo>
                    <a:cubicBezTo>
                      <a:pt x="1476" y="925"/>
                      <a:pt x="1476" y="932"/>
                      <a:pt x="1481" y="932"/>
                    </a:cubicBezTo>
                    <a:cubicBezTo>
                      <a:pt x="1485" y="931"/>
                      <a:pt x="1488" y="928"/>
                      <a:pt x="1492" y="927"/>
                    </a:cubicBezTo>
                    <a:cubicBezTo>
                      <a:pt x="1494" y="929"/>
                      <a:pt x="1495" y="931"/>
                      <a:pt x="1498" y="931"/>
                    </a:cubicBezTo>
                    <a:cubicBezTo>
                      <a:pt x="1499" y="929"/>
                      <a:pt x="1503" y="929"/>
                      <a:pt x="1505" y="927"/>
                    </a:cubicBezTo>
                    <a:cubicBezTo>
                      <a:pt x="1505" y="930"/>
                      <a:pt x="1507" y="931"/>
                      <a:pt x="1506" y="934"/>
                    </a:cubicBezTo>
                    <a:cubicBezTo>
                      <a:pt x="1517" y="934"/>
                      <a:pt x="1519" y="924"/>
                      <a:pt x="1524" y="918"/>
                    </a:cubicBezTo>
                    <a:cubicBezTo>
                      <a:pt x="1524" y="932"/>
                      <a:pt x="1510" y="936"/>
                      <a:pt x="1512" y="949"/>
                    </a:cubicBezTo>
                    <a:cubicBezTo>
                      <a:pt x="1532" y="957"/>
                      <a:pt x="1545" y="945"/>
                      <a:pt x="1546" y="928"/>
                    </a:cubicBezTo>
                    <a:cubicBezTo>
                      <a:pt x="1546" y="920"/>
                      <a:pt x="1541" y="911"/>
                      <a:pt x="1548" y="906"/>
                    </a:cubicBezTo>
                    <a:cubicBezTo>
                      <a:pt x="1548" y="912"/>
                      <a:pt x="1546" y="916"/>
                      <a:pt x="1546" y="923"/>
                    </a:cubicBezTo>
                    <a:cubicBezTo>
                      <a:pt x="1547" y="925"/>
                      <a:pt x="1552" y="923"/>
                      <a:pt x="1553" y="926"/>
                    </a:cubicBezTo>
                    <a:cubicBezTo>
                      <a:pt x="1552" y="950"/>
                      <a:pt x="1558" y="969"/>
                      <a:pt x="1569" y="981"/>
                    </a:cubicBezTo>
                    <a:cubicBezTo>
                      <a:pt x="1569" y="987"/>
                      <a:pt x="1569" y="987"/>
                      <a:pt x="1569" y="987"/>
                    </a:cubicBezTo>
                    <a:cubicBezTo>
                      <a:pt x="1571" y="989"/>
                      <a:pt x="1573" y="987"/>
                      <a:pt x="1575" y="986"/>
                    </a:cubicBezTo>
                    <a:cubicBezTo>
                      <a:pt x="1575" y="994"/>
                      <a:pt x="1581" y="992"/>
                      <a:pt x="1583" y="996"/>
                    </a:cubicBezTo>
                    <a:cubicBezTo>
                      <a:pt x="1579" y="1009"/>
                      <a:pt x="1593" y="1015"/>
                      <a:pt x="1596" y="1024"/>
                    </a:cubicBezTo>
                    <a:cubicBezTo>
                      <a:pt x="1598" y="1031"/>
                      <a:pt x="1595" y="1040"/>
                      <a:pt x="1604" y="1043"/>
                    </a:cubicBezTo>
                    <a:cubicBezTo>
                      <a:pt x="1610" y="1036"/>
                      <a:pt x="1607" y="1027"/>
                      <a:pt x="1610" y="1019"/>
                    </a:cubicBezTo>
                    <a:cubicBezTo>
                      <a:pt x="1611" y="1015"/>
                      <a:pt x="1616" y="1011"/>
                      <a:pt x="1616" y="1007"/>
                    </a:cubicBezTo>
                    <a:cubicBezTo>
                      <a:pt x="1616" y="999"/>
                      <a:pt x="1620" y="990"/>
                      <a:pt x="1621" y="983"/>
                    </a:cubicBezTo>
                    <a:cubicBezTo>
                      <a:pt x="1621" y="977"/>
                      <a:pt x="1618" y="970"/>
                      <a:pt x="1618" y="963"/>
                    </a:cubicBezTo>
                    <a:cubicBezTo>
                      <a:pt x="1618" y="954"/>
                      <a:pt x="1617" y="949"/>
                      <a:pt x="1616" y="941"/>
                    </a:cubicBezTo>
                    <a:cubicBezTo>
                      <a:pt x="1613" y="921"/>
                      <a:pt x="1618" y="909"/>
                      <a:pt x="1621" y="892"/>
                    </a:cubicBezTo>
                    <a:cubicBezTo>
                      <a:pt x="1622" y="885"/>
                      <a:pt x="1621" y="878"/>
                      <a:pt x="1622" y="871"/>
                    </a:cubicBezTo>
                    <a:cubicBezTo>
                      <a:pt x="1626" y="837"/>
                      <a:pt x="1627" y="804"/>
                      <a:pt x="1625" y="771"/>
                    </a:cubicBezTo>
                    <a:cubicBezTo>
                      <a:pt x="1628" y="770"/>
                      <a:pt x="1627" y="773"/>
                      <a:pt x="1629" y="773"/>
                    </a:cubicBezTo>
                    <a:cubicBezTo>
                      <a:pt x="1627" y="759"/>
                      <a:pt x="1632" y="746"/>
                      <a:pt x="1632" y="734"/>
                    </a:cubicBezTo>
                    <a:cubicBezTo>
                      <a:pt x="1635" y="742"/>
                      <a:pt x="1637" y="747"/>
                      <a:pt x="1643" y="746"/>
                    </a:cubicBezTo>
                    <a:cubicBezTo>
                      <a:pt x="1643" y="748"/>
                      <a:pt x="1642" y="751"/>
                      <a:pt x="1644" y="751"/>
                    </a:cubicBezTo>
                    <a:cubicBezTo>
                      <a:pt x="1644" y="749"/>
                      <a:pt x="1644" y="748"/>
                      <a:pt x="1646" y="747"/>
                    </a:cubicBezTo>
                    <a:cubicBezTo>
                      <a:pt x="1650" y="754"/>
                      <a:pt x="1650" y="766"/>
                      <a:pt x="1652" y="775"/>
                    </a:cubicBezTo>
                    <a:cubicBezTo>
                      <a:pt x="1654" y="765"/>
                      <a:pt x="1650" y="748"/>
                      <a:pt x="1651" y="739"/>
                    </a:cubicBezTo>
                    <a:cubicBezTo>
                      <a:pt x="1651" y="742"/>
                      <a:pt x="1653" y="744"/>
                      <a:pt x="1653" y="747"/>
                    </a:cubicBezTo>
                    <a:cubicBezTo>
                      <a:pt x="1656" y="758"/>
                      <a:pt x="1653" y="738"/>
                      <a:pt x="1653" y="739"/>
                    </a:cubicBezTo>
                    <a:close/>
                    <a:moveTo>
                      <a:pt x="871" y="858"/>
                    </a:moveTo>
                    <a:cubicBezTo>
                      <a:pt x="871" y="854"/>
                      <a:pt x="876" y="853"/>
                      <a:pt x="879" y="855"/>
                    </a:cubicBezTo>
                    <a:cubicBezTo>
                      <a:pt x="876" y="857"/>
                      <a:pt x="874" y="861"/>
                      <a:pt x="871" y="858"/>
                    </a:cubicBezTo>
                    <a:close/>
                    <a:moveTo>
                      <a:pt x="904" y="855"/>
                    </a:moveTo>
                    <a:cubicBezTo>
                      <a:pt x="895" y="853"/>
                      <a:pt x="888" y="858"/>
                      <a:pt x="882" y="854"/>
                    </a:cubicBezTo>
                    <a:cubicBezTo>
                      <a:pt x="885" y="844"/>
                      <a:pt x="900" y="841"/>
                      <a:pt x="907" y="847"/>
                    </a:cubicBezTo>
                    <a:cubicBezTo>
                      <a:pt x="907" y="851"/>
                      <a:pt x="904" y="851"/>
                      <a:pt x="904" y="855"/>
                    </a:cubicBezTo>
                    <a:close/>
                    <a:moveTo>
                      <a:pt x="1022" y="828"/>
                    </a:moveTo>
                    <a:cubicBezTo>
                      <a:pt x="1019" y="827"/>
                      <a:pt x="1019" y="824"/>
                      <a:pt x="1016" y="823"/>
                    </a:cubicBezTo>
                    <a:cubicBezTo>
                      <a:pt x="1012" y="822"/>
                      <a:pt x="1011" y="825"/>
                      <a:pt x="1008" y="825"/>
                    </a:cubicBezTo>
                    <a:cubicBezTo>
                      <a:pt x="1004" y="824"/>
                      <a:pt x="1004" y="819"/>
                      <a:pt x="1001" y="818"/>
                    </a:cubicBezTo>
                    <a:cubicBezTo>
                      <a:pt x="998" y="819"/>
                      <a:pt x="996" y="820"/>
                      <a:pt x="993" y="821"/>
                    </a:cubicBezTo>
                    <a:cubicBezTo>
                      <a:pt x="989" y="820"/>
                      <a:pt x="986" y="818"/>
                      <a:pt x="984" y="814"/>
                    </a:cubicBezTo>
                    <a:cubicBezTo>
                      <a:pt x="979" y="822"/>
                      <a:pt x="970" y="817"/>
                      <a:pt x="963" y="818"/>
                    </a:cubicBezTo>
                    <a:cubicBezTo>
                      <a:pt x="950" y="820"/>
                      <a:pt x="943" y="831"/>
                      <a:pt x="935" y="839"/>
                    </a:cubicBezTo>
                    <a:cubicBezTo>
                      <a:pt x="922" y="840"/>
                      <a:pt x="910" y="838"/>
                      <a:pt x="896" y="837"/>
                    </a:cubicBezTo>
                    <a:cubicBezTo>
                      <a:pt x="890" y="832"/>
                      <a:pt x="890" y="821"/>
                      <a:pt x="883" y="817"/>
                    </a:cubicBezTo>
                    <a:cubicBezTo>
                      <a:pt x="886" y="814"/>
                      <a:pt x="887" y="809"/>
                      <a:pt x="885" y="804"/>
                    </a:cubicBezTo>
                    <a:cubicBezTo>
                      <a:pt x="901" y="802"/>
                      <a:pt x="884" y="773"/>
                      <a:pt x="905" y="773"/>
                    </a:cubicBezTo>
                    <a:cubicBezTo>
                      <a:pt x="906" y="767"/>
                      <a:pt x="904" y="764"/>
                      <a:pt x="903" y="760"/>
                    </a:cubicBezTo>
                    <a:cubicBezTo>
                      <a:pt x="912" y="752"/>
                      <a:pt x="911" y="735"/>
                      <a:pt x="929" y="737"/>
                    </a:cubicBezTo>
                    <a:cubicBezTo>
                      <a:pt x="934" y="737"/>
                      <a:pt x="927" y="739"/>
                      <a:pt x="929" y="741"/>
                    </a:cubicBezTo>
                    <a:cubicBezTo>
                      <a:pt x="932" y="748"/>
                      <a:pt x="943" y="743"/>
                      <a:pt x="950" y="745"/>
                    </a:cubicBezTo>
                    <a:cubicBezTo>
                      <a:pt x="949" y="752"/>
                      <a:pt x="941" y="752"/>
                      <a:pt x="940" y="758"/>
                    </a:cubicBezTo>
                    <a:cubicBezTo>
                      <a:pt x="943" y="761"/>
                      <a:pt x="951" y="759"/>
                      <a:pt x="953" y="763"/>
                    </a:cubicBezTo>
                    <a:cubicBezTo>
                      <a:pt x="955" y="766"/>
                      <a:pt x="952" y="772"/>
                      <a:pt x="955" y="775"/>
                    </a:cubicBezTo>
                    <a:cubicBezTo>
                      <a:pt x="966" y="777"/>
                      <a:pt x="964" y="765"/>
                      <a:pt x="974" y="766"/>
                    </a:cubicBezTo>
                    <a:cubicBezTo>
                      <a:pt x="976" y="766"/>
                      <a:pt x="976" y="762"/>
                      <a:pt x="977" y="760"/>
                    </a:cubicBezTo>
                    <a:cubicBezTo>
                      <a:pt x="980" y="760"/>
                      <a:pt x="983" y="761"/>
                      <a:pt x="986" y="761"/>
                    </a:cubicBezTo>
                    <a:cubicBezTo>
                      <a:pt x="990" y="759"/>
                      <a:pt x="989" y="754"/>
                      <a:pt x="991" y="750"/>
                    </a:cubicBezTo>
                    <a:cubicBezTo>
                      <a:pt x="984" y="747"/>
                      <a:pt x="981" y="755"/>
                      <a:pt x="976" y="755"/>
                    </a:cubicBezTo>
                    <a:cubicBezTo>
                      <a:pt x="970" y="754"/>
                      <a:pt x="969" y="746"/>
                      <a:pt x="961" y="745"/>
                    </a:cubicBezTo>
                    <a:cubicBezTo>
                      <a:pt x="967" y="733"/>
                      <a:pt x="985" y="732"/>
                      <a:pt x="992" y="720"/>
                    </a:cubicBezTo>
                    <a:cubicBezTo>
                      <a:pt x="1000" y="720"/>
                      <a:pt x="1004" y="716"/>
                      <a:pt x="1009" y="714"/>
                    </a:cubicBezTo>
                    <a:cubicBezTo>
                      <a:pt x="1010" y="714"/>
                      <a:pt x="1011" y="714"/>
                      <a:pt x="1011" y="715"/>
                    </a:cubicBezTo>
                    <a:cubicBezTo>
                      <a:pt x="1011" y="723"/>
                      <a:pt x="1004" y="724"/>
                      <a:pt x="1000" y="727"/>
                    </a:cubicBezTo>
                    <a:cubicBezTo>
                      <a:pt x="1000" y="731"/>
                      <a:pt x="1004" y="732"/>
                      <a:pt x="1006" y="734"/>
                    </a:cubicBezTo>
                    <a:cubicBezTo>
                      <a:pt x="1002" y="739"/>
                      <a:pt x="1005" y="745"/>
                      <a:pt x="1001" y="751"/>
                    </a:cubicBezTo>
                    <a:cubicBezTo>
                      <a:pt x="997" y="752"/>
                      <a:pt x="997" y="749"/>
                      <a:pt x="994" y="749"/>
                    </a:cubicBezTo>
                    <a:cubicBezTo>
                      <a:pt x="990" y="757"/>
                      <a:pt x="1001" y="758"/>
                      <a:pt x="1003" y="763"/>
                    </a:cubicBezTo>
                    <a:cubicBezTo>
                      <a:pt x="1006" y="764"/>
                      <a:pt x="1006" y="762"/>
                      <a:pt x="1008" y="763"/>
                    </a:cubicBezTo>
                    <a:cubicBezTo>
                      <a:pt x="1013" y="764"/>
                      <a:pt x="1015" y="768"/>
                      <a:pt x="1023" y="766"/>
                    </a:cubicBezTo>
                    <a:cubicBezTo>
                      <a:pt x="1030" y="774"/>
                      <a:pt x="1040" y="779"/>
                      <a:pt x="1052" y="784"/>
                    </a:cubicBezTo>
                    <a:cubicBezTo>
                      <a:pt x="1066" y="789"/>
                      <a:pt x="1072" y="792"/>
                      <a:pt x="1076" y="807"/>
                    </a:cubicBezTo>
                    <a:cubicBezTo>
                      <a:pt x="1069" y="826"/>
                      <a:pt x="1040" y="825"/>
                      <a:pt x="1022" y="828"/>
                    </a:cubicBezTo>
                    <a:close/>
                    <a:moveTo>
                      <a:pt x="1081" y="327"/>
                    </a:moveTo>
                    <a:cubicBezTo>
                      <a:pt x="1084" y="322"/>
                      <a:pt x="1092" y="327"/>
                      <a:pt x="1093" y="331"/>
                    </a:cubicBezTo>
                    <a:cubicBezTo>
                      <a:pt x="1088" y="330"/>
                      <a:pt x="1084" y="328"/>
                      <a:pt x="1081" y="327"/>
                    </a:cubicBezTo>
                    <a:close/>
                    <a:moveTo>
                      <a:pt x="506" y="107"/>
                    </a:moveTo>
                    <a:cubicBezTo>
                      <a:pt x="504" y="101"/>
                      <a:pt x="498" y="105"/>
                      <a:pt x="496" y="101"/>
                    </a:cubicBezTo>
                    <a:cubicBezTo>
                      <a:pt x="491" y="107"/>
                      <a:pt x="481" y="107"/>
                      <a:pt x="480" y="115"/>
                    </a:cubicBezTo>
                    <a:cubicBezTo>
                      <a:pt x="484" y="116"/>
                      <a:pt x="488" y="118"/>
                      <a:pt x="485" y="122"/>
                    </a:cubicBezTo>
                    <a:cubicBezTo>
                      <a:pt x="488" y="126"/>
                      <a:pt x="496" y="126"/>
                      <a:pt x="498" y="121"/>
                    </a:cubicBezTo>
                    <a:cubicBezTo>
                      <a:pt x="497" y="121"/>
                      <a:pt x="496" y="121"/>
                      <a:pt x="496" y="120"/>
                    </a:cubicBezTo>
                    <a:cubicBezTo>
                      <a:pt x="499" y="119"/>
                      <a:pt x="504" y="120"/>
                      <a:pt x="506" y="117"/>
                    </a:cubicBezTo>
                    <a:cubicBezTo>
                      <a:pt x="502" y="112"/>
                      <a:pt x="499" y="119"/>
                      <a:pt x="495" y="116"/>
                    </a:cubicBezTo>
                    <a:cubicBezTo>
                      <a:pt x="496" y="110"/>
                      <a:pt x="506" y="114"/>
                      <a:pt x="506" y="107"/>
                    </a:cubicBezTo>
                    <a:close/>
                    <a:moveTo>
                      <a:pt x="607" y="185"/>
                    </a:moveTo>
                    <a:cubicBezTo>
                      <a:pt x="602" y="184"/>
                      <a:pt x="600" y="182"/>
                      <a:pt x="595" y="181"/>
                    </a:cubicBezTo>
                    <a:cubicBezTo>
                      <a:pt x="599" y="176"/>
                      <a:pt x="596" y="177"/>
                      <a:pt x="598" y="171"/>
                    </a:cubicBezTo>
                    <a:cubicBezTo>
                      <a:pt x="593" y="170"/>
                      <a:pt x="594" y="169"/>
                      <a:pt x="594" y="164"/>
                    </a:cubicBezTo>
                    <a:cubicBezTo>
                      <a:pt x="591" y="165"/>
                      <a:pt x="591" y="161"/>
                      <a:pt x="587" y="163"/>
                    </a:cubicBezTo>
                    <a:cubicBezTo>
                      <a:pt x="587" y="161"/>
                      <a:pt x="588" y="161"/>
                      <a:pt x="588" y="159"/>
                    </a:cubicBezTo>
                    <a:cubicBezTo>
                      <a:pt x="581" y="159"/>
                      <a:pt x="581" y="149"/>
                      <a:pt x="573" y="153"/>
                    </a:cubicBezTo>
                    <a:cubicBezTo>
                      <a:pt x="573" y="151"/>
                      <a:pt x="575" y="150"/>
                      <a:pt x="573" y="148"/>
                    </a:cubicBezTo>
                    <a:cubicBezTo>
                      <a:pt x="572" y="148"/>
                      <a:pt x="570" y="148"/>
                      <a:pt x="569" y="148"/>
                    </a:cubicBezTo>
                    <a:cubicBezTo>
                      <a:pt x="569" y="143"/>
                      <a:pt x="565" y="143"/>
                      <a:pt x="562" y="141"/>
                    </a:cubicBezTo>
                    <a:cubicBezTo>
                      <a:pt x="560" y="144"/>
                      <a:pt x="557" y="145"/>
                      <a:pt x="554" y="146"/>
                    </a:cubicBezTo>
                    <a:cubicBezTo>
                      <a:pt x="554" y="152"/>
                      <a:pt x="560" y="147"/>
                      <a:pt x="560" y="152"/>
                    </a:cubicBezTo>
                    <a:cubicBezTo>
                      <a:pt x="549" y="150"/>
                      <a:pt x="538" y="153"/>
                      <a:pt x="534" y="161"/>
                    </a:cubicBezTo>
                    <a:cubicBezTo>
                      <a:pt x="532" y="154"/>
                      <a:pt x="543" y="151"/>
                      <a:pt x="549" y="149"/>
                    </a:cubicBezTo>
                    <a:cubicBezTo>
                      <a:pt x="548" y="144"/>
                      <a:pt x="555" y="143"/>
                      <a:pt x="558" y="139"/>
                    </a:cubicBezTo>
                    <a:cubicBezTo>
                      <a:pt x="542" y="135"/>
                      <a:pt x="528" y="139"/>
                      <a:pt x="519" y="149"/>
                    </a:cubicBezTo>
                    <a:cubicBezTo>
                      <a:pt x="520" y="149"/>
                      <a:pt x="522" y="149"/>
                      <a:pt x="522" y="150"/>
                    </a:cubicBezTo>
                    <a:cubicBezTo>
                      <a:pt x="516" y="155"/>
                      <a:pt x="508" y="156"/>
                      <a:pt x="501" y="151"/>
                    </a:cubicBezTo>
                    <a:cubicBezTo>
                      <a:pt x="500" y="153"/>
                      <a:pt x="499" y="154"/>
                      <a:pt x="498" y="156"/>
                    </a:cubicBezTo>
                    <a:cubicBezTo>
                      <a:pt x="501" y="161"/>
                      <a:pt x="500" y="162"/>
                      <a:pt x="504" y="167"/>
                    </a:cubicBezTo>
                    <a:cubicBezTo>
                      <a:pt x="503" y="169"/>
                      <a:pt x="500" y="169"/>
                      <a:pt x="500" y="172"/>
                    </a:cubicBezTo>
                    <a:cubicBezTo>
                      <a:pt x="505" y="172"/>
                      <a:pt x="506" y="175"/>
                      <a:pt x="512" y="174"/>
                    </a:cubicBezTo>
                    <a:cubicBezTo>
                      <a:pt x="513" y="172"/>
                      <a:pt x="513" y="170"/>
                      <a:pt x="515" y="169"/>
                    </a:cubicBezTo>
                    <a:cubicBezTo>
                      <a:pt x="522" y="172"/>
                      <a:pt x="541" y="179"/>
                      <a:pt x="542" y="167"/>
                    </a:cubicBezTo>
                    <a:cubicBezTo>
                      <a:pt x="546" y="167"/>
                      <a:pt x="546" y="167"/>
                      <a:pt x="546" y="167"/>
                    </a:cubicBezTo>
                    <a:cubicBezTo>
                      <a:pt x="546" y="170"/>
                      <a:pt x="547" y="171"/>
                      <a:pt x="547" y="172"/>
                    </a:cubicBezTo>
                    <a:cubicBezTo>
                      <a:pt x="551" y="174"/>
                      <a:pt x="551" y="172"/>
                      <a:pt x="554" y="171"/>
                    </a:cubicBezTo>
                    <a:cubicBezTo>
                      <a:pt x="554" y="173"/>
                      <a:pt x="555" y="173"/>
                      <a:pt x="554" y="174"/>
                    </a:cubicBezTo>
                    <a:cubicBezTo>
                      <a:pt x="564" y="172"/>
                      <a:pt x="573" y="180"/>
                      <a:pt x="585" y="175"/>
                    </a:cubicBezTo>
                    <a:cubicBezTo>
                      <a:pt x="587" y="177"/>
                      <a:pt x="591" y="178"/>
                      <a:pt x="593" y="180"/>
                    </a:cubicBezTo>
                    <a:cubicBezTo>
                      <a:pt x="584" y="185"/>
                      <a:pt x="576" y="175"/>
                      <a:pt x="566" y="179"/>
                    </a:cubicBezTo>
                    <a:cubicBezTo>
                      <a:pt x="560" y="193"/>
                      <a:pt x="545" y="176"/>
                      <a:pt x="535" y="177"/>
                    </a:cubicBezTo>
                    <a:cubicBezTo>
                      <a:pt x="529" y="181"/>
                      <a:pt x="531" y="186"/>
                      <a:pt x="529" y="188"/>
                    </a:cubicBezTo>
                    <a:cubicBezTo>
                      <a:pt x="527" y="188"/>
                      <a:pt x="527" y="188"/>
                      <a:pt x="527" y="188"/>
                    </a:cubicBezTo>
                    <a:cubicBezTo>
                      <a:pt x="526" y="185"/>
                      <a:pt x="528" y="186"/>
                      <a:pt x="528" y="183"/>
                    </a:cubicBezTo>
                    <a:cubicBezTo>
                      <a:pt x="520" y="183"/>
                      <a:pt x="515" y="188"/>
                      <a:pt x="513" y="194"/>
                    </a:cubicBezTo>
                    <a:cubicBezTo>
                      <a:pt x="514" y="196"/>
                      <a:pt x="516" y="196"/>
                      <a:pt x="516" y="199"/>
                    </a:cubicBezTo>
                    <a:cubicBezTo>
                      <a:pt x="532" y="203"/>
                      <a:pt x="518" y="216"/>
                      <a:pt x="513" y="222"/>
                    </a:cubicBezTo>
                    <a:cubicBezTo>
                      <a:pt x="500" y="228"/>
                      <a:pt x="493" y="240"/>
                      <a:pt x="474" y="240"/>
                    </a:cubicBezTo>
                    <a:cubicBezTo>
                      <a:pt x="474" y="242"/>
                      <a:pt x="472" y="243"/>
                      <a:pt x="472" y="245"/>
                    </a:cubicBezTo>
                    <a:cubicBezTo>
                      <a:pt x="475" y="249"/>
                      <a:pt x="479" y="245"/>
                      <a:pt x="482" y="247"/>
                    </a:cubicBezTo>
                    <a:cubicBezTo>
                      <a:pt x="478" y="252"/>
                      <a:pt x="477" y="259"/>
                      <a:pt x="469" y="259"/>
                    </a:cubicBezTo>
                    <a:cubicBezTo>
                      <a:pt x="469" y="255"/>
                      <a:pt x="469" y="254"/>
                      <a:pt x="469" y="249"/>
                    </a:cubicBezTo>
                    <a:cubicBezTo>
                      <a:pt x="465" y="248"/>
                      <a:pt x="464" y="251"/>
                      <a:pt x="462" y="252"/>
                    </a:cubicBezTo>
                    <a:cubicBezTo>
                      <a:pt x="465" y="254"/>
                      <a:pt x="460" y="260"/>
                      <a:pt x="460" y="261"/>
                    </a:cubicBezTo>
                    <a:cubicBezTo>
                      <a:pt x="460" y="264"/>
                      <a:pt x="464" y="262"/>
                      <a:pt x="463" y="264"/>
                    </a:cubicBezTo>
                    <a:cubicBezTo>
                      <a:pt x="459" y="271"/>
                      <a:pt x="446" y="270"/>
                      <a:pt x="440" y="274"/>
                    </a:cubicBezTo>
                    <a:cubicBezTo>
                      <a:pt x="440" y="272"/>
                      <a:pt x="444" y="272"/>
                      <a:pt x="443" y="268"/>
                    </a:cubicBezTo>
                    <a:cubicBezTo>
                      <a:pt x="436" y="267"/>
                      <a:pt x="437" y="273"/>
                      <a:pt x="432" y="274"/>
                    </a:cubicBezTo>
                    <a:cubicBezTo>
                      <a:pt x="433" y="271"/>
                      <a:pt x="430" y="272"/>
                      <a:pt x="429" y="271"/>
                    </a:cubicBezTo>
                    <a:cubicBezTo>
                      <a:pt x="409" y="277"/>
                      <a:pt x="399" y="294"/>
                      <a:pt x="382" y="304"/>
                    </a:cubicBezTo>
                    <a:cubicBezTo>
                      <a:pt x="387" y="305"/>
                      <a:pt x="390" y="300"/>
                      <a:pt x="393" y="304"/>
                    </a:cubicBezTo>
                    <a:cubicBezTo>
                      <a:pt x="390" y="307"/>
                      <a:pt x="384" y="308"/>
                      <a:pt x="377" y="307"/>
                    </a:cubicBezTo>
                    <a:cubicBezTo>
                      <a:pt x="375" y="313"/>
                      <a:pt x="367" y="317"/>
                      <a:pt x="361" y="324"/>
                    </a:cubicBezTo>
                    <a:cubicBezTo>
                      <a:pt x="361" y="325"/>
                      <a:pt x="362" y="327"/>
                      <a:pt x="361" y="328"/>
                    </a:cubicBezTo>
                    <a:cubicBezTo>
                      <a:pt x="356" y="336"/>
                      <a:pt x="343" y="343"/>
                      <a:pt x="352" y="351"/>
                    </a:cubicBezTo>
                    <a:cubicBezTo>
                      <a:pt x="353" y="351"/>
                      <a:pt x="356" y="348"/>
                      <a:pt x="357" y="351"/>
                    </a:cubicBezTo>
                    <a:cubicBezTo>
                      <a:pt x="352" y="356"/>
                      <a:pt x="348" y="359"/>
                      <a:pt x="349" y="369"/>
                    </a:cubicBezTo>
                    <a:cubicBezTo>
                      <a:pt x="372" y="364"/>
                      <a:pt x="384" y="349"/>
                      <a:pt x="403" y="343"/>
                    </a:cubicBezTo>
                    <a:cubicBezTo>
                      <a:pt x="404" y="347"/>
                      <a:pt x="408" y="342"/>
                      <a:pt x="410" y="345"/>
                    </a:cubicBezTo>
                    <a:cubicBezTo>
                      <a:pt x="416" y="338"/>
                      <a:pt x="422" y="337"/>
                      <a:pt x="427" y="331"/>
                    </a:cubicBezTo>
                    <a:cubicBezTo>
                      <a:pt x="429" y="331"/>
                      <a:pt x="430" y="333"/>
                      <a:pt x="432" y="333"/>
                    </a:cubicBezTo>
                    <a:cubicBezTo>
                      <a:pt x="434" y="332"/>
                      <a:pt x="436" y="330"/>
                      <a:pt x="439" y="330"/>
                    </a:cubicBezTo>
                    <a:cubicBezTo>
                      <a:pt x="441" y="332"/>
                      <a:pt x="444" y="333"/>
                      <a:pt x="448" y="331"/>
                    </a:cubicBezTo>
                    <a:cubicBezTo>
                      <a:pt x="448" y="332"/>
                      <a:pt x="446" y="333"/>
                      <a:pt x="447" y="334"/>
                    </a:cubicBezTo>
                    <a:cubicBezTo>
                      <a:pt x="451" y="333"/>
                      <a:pt x="454" y="332"/>
                      <a:pt x="457" y="335"/>
                    </a:cubicBezTo>
                    <a:cubicBezTo>
                      <a:pt x="473" y="334"/>
                      <a:pt x="491" y="326"/>
                      <a:pt x="503" y="321"/>
                    </a:cubicBezTo>
                    <a:cubicBezTo>
                      <a:pt x="503" y="323"/>
                      <a:pt x="501" y="323"/>
                      <a:pt x="501" y="326"/>
                    </a:cubicBezTo>
                    <a:cubicBezTo>
                      <a:pt x="522" y="332"/>
                      <a:pt x="543" y="327"/>
                      <a:pt x="563" y="323"/>
                    </a:cubicBezTo>
                    <a:cubicBezTo>
                      <a:pt x="560" y="319"/>
                      <a:pt x="557" y="316"/>
                      <a:pt x="553" y="313"/>
                    </a:cubicBezTo>
                    <a:cubicBezTo>
                      <a:pt x="557" y="312"/>
                      <a:pt x="559" y="303"/>
                      <a:pt x="565" y="307"/>
                    </a:cubicBezTo>
                    <a:cubicBezTo>
                      <a:pt x="564" y="309"/>
                      <a:pt x="561" y="310"/>
                      <a:pt x="561" y="313"/>
                    </a:cubicBezTo>
                    <a:cubicBezTo>
                      <a:pt x="563" y="316"/>
                      <a:pt x="564" y="319"/>
                      <a:pt x="568" y="320"/>
                    </a:cubicBezTo>
                    <a:cubicBezTo>
                      <a:pt x="577" y="315"/>
                      <a:pt x="582" y="297"/>
                      <a:pt x="573" y="286"/>
                    </a:cubicBezTo>
                    <a:cubicBezTo>
                      <a:pt x="578" y="284"/>
                      <a:pt x="578" y="288"/>
                      <a:pt x="584" y="286"/>
                    </a:cubicBezTo>
                    <a:cubicBezTo>
                      <a:pt x="585" y="290"/>
                      <a:pt x="590" y="291"/>
                      <a:pt x="587" y="296"/>
                    </a:cubicBezTo>
                    <a:cubicBezTo>
                      <a:pt x="593" y="297"/>
                      <a:pt x="590" y="291"/>
                      <a:pt x="592" y="289"/>
                    </a:cubicBezTo>
                    <a:cubicBezTo>
                      <a:pt x="595" y="291"/>
                      <a:pt x="598" y="292"/>
                      <a:pt x="603" y="292"/>
                    </a:cubicBezTo>
                    <a:cubicBezTo>
                      <a:pt x="606" y="290"/>
                      <a:pt x="604" y="282"/>
                      <a:pt x="611" y="283"/>
                    </a:cubicBezTo>
                    <a:cubicBezTo>
                      <a:pt x="612" y="284"/>
                      <a:pt x="612" y="285"/>
                      <a:pt x="612" y="286"/>
                    </a:cubicBezTo>
                    <a:cubicBezTo>
                      <a:pt x="614" y="286"/>
                      <a:pt x="617" y="285"/>
                      <a:pt x="617" y="283"/>
                    </a:cubicBezTo>
                    <a:cubicBezTo>
                      <a:pt x="618" y="279"/>
                      <a:pt x="614" y="281"/>
                      <a:pt x="615" y="278"/>
                    </a:cubicBezTo>
                    <a:cubicBezTo>
                      <a:pt x="616" y="276"/>
                      <a:pt x="616" y="274"/>
                      <a:pt x="617" y="273"/>
                    </a:cubicBezTo>
                    <a:cubicBezTo>
                      <a:pt x="620" y="273"/>
                      <a:pt x="618" y="277"/>
                      <a:pt x="621" y="277"/>
                    </a:cubicBezTo>
                    <a:cubicBezTo>
                      <a:pt x="627" y="275"/>
                      <a:pt x="629" y="265"/>
                      <a:pt x="624" y="260"/>
                    </a:cubicBezTo>
                    <a:cubicBezTo>
                      <a:pt x="626" y="260"/>
                      <a:pt x="626" y="259"/>
                      <a:pt x="627" y="259"/>
                    </a:cubicBezTo>
                    <a:cubicBezTo>
                      <a:pt x="631" y="261"/>
                      <a:pt x="642" y="265"/>
                      <a:pt x="643" y="258"/>
                    </a:cubicBezTo>
                    <a:cubicBezTo>
                      <a:pt x="644" y="255"/>
                      <a:pt x="641" y="256"/>
                      <a:pt x="641" y="255"/>
                    </a:cubicBezTo>
                    <a:cubicBezTo>
                      <a:pt x="642" y="246"/>
                      <a:pt x="656" y="238"/>
                      <a:pt x="664" y="239"/>
                    </a:cubicBezTo>
                    <a:cubicBezTo>
                      <a:pt x="669" y="235"/>
                      <a:pt x="677" y="233"/>
                      <a:pt x="684" y="230"/>
                    </a:cubicBezTo>
                    <a:cubicBezTo>
                      <a:pt x="687" y="232"/>
                      <a:pt x="691" y="230"/>
                      <a:pt x="691" y="227"/>
                    </a:cubicBezTo>
                    <a:cubicBezTo>
                      <a:pt x="684" y="220"/>
                      <a:pt x="674" y="224"/>
                      <a:pt x="665" y="222"/>
                    </a:cubicBezTo>
                    <a:cubicBezTo>
                      <a:pt x="668" y="219"/>
                      <a:pt x="672" y="217"/>
                      <a:pt x="675" y="213"/>
                    </a:cubicBezTo>
                    <a:cubicBezTo>
                      <a:pt x="665" y="207"/>
                      <a:pt x="656" y="195"/>
                      <a:pt x="640" y="197"/>
                    </a:cubicBezTo>
                    <a:cubicBezTo>
                      <a:pt x="638" y="193"/>
                      <a:pt x="635" y="190"/>
                      <a:pt x="628" y="191"/>
                    </a:cubicBezTo>
                    <a:cubicBezTo>
                      <a:pt x="627" y="196"/>
                      <a:pt x="623" y="197"/>
                      <a:pt x="618" y="198"/>
                    </a:cubicBezTo>
                    <a:cubicBezTo>
                      <a:pt x="618" y="195"/>
                      <a:pt x="619" y="192"/>
                      <a:pt x="617" y="190"/>
                    </a:cubicBezTo>
                    <a:cubicBezTo>
                      <a:pt x="614" y="188"/>
                      <a:pt x="613" y="192"/>
                      <a:pt x="609" y="192"/>
                    </a:cubicBezTo>
                    <a:cubicBezTo>
                      <a:pt x="608" y="188"/>
                      <a:pt x="605" y="189"/>
                      <a:pt x="607" y="185"/>
                    </a:cubicBezTo>
                    <a:close/>
                    <a:moveTo>
                      <a:pt x="522" y="156"/>
                    </a:moveTo>
                    <a:cubicBezTo>
                      <a:pt x="520" y="157"/>
                      <a:pt x="517" y="159"/>
                      <a:pt x="514" y="160"/>
                    </a:cubicBezTo>
                    <a:cubicBezTo>
                      <a:pt x="516" y="157"/>
                      <a:pt x="518" y="152"/>
                      <a:pt x="524" y="153"/>
                    </a:cubicBezTo>
                    <a:cubicBezTo>
                      <a:pt x="528" y="154"/>
                      <a:pt x="518" y="154"/>
                      <a:pt x="522" y="156"/>
                    </a:cubicBezTo>
                    <a:close/>
                    <a:moveTo>
                      <a:pt x="545" y="161"/>
                    </a:moveTo>
                    <a:cubicBezTo>
                      <a:pt x="546" y="158"/>
                      <a:pt x="552" y="151"/>
                      <a:pt x="555" y="157"/>
                    </a:cubicBezTo>
                    <a:cubicBezTo>
                      <a:pt x="549" y="155"/>
                      <a:pt x="549" y="160"/>
                      <a:pt x="545" y="161"/>
                    </a:cubicBezTo>
                    <a:close/>
                    <a:moveTo>
                      <a:pt x="558" y="162"/>
                    </a:moveTo>
                    <a:cubicBezTo>
                      <a:pt x="559" y="157"/>
                      <a:pt x="561" y="160"/>
                      <a:pt x="565" y="160"/>
                    </a:cubicBezTo>
                    <a:cubicBezTo>
                      <a:pt x="563" y="161"/>
                      <a:pt x="561" y="162"/>
                      <a:pt x="558" y="162"/>
                    </a:cubicBezTo>
                    <a:close/>
                    <a:moveTo>
                      <a:pt x="660" y="218"/>
                    </a:moveTo>
                    <a:cubicBezTo>
                      <a:pt x="659" y="215"/>
                      <a:pt x="664" y="215"/>
                      <a:pt x="665" y="216"/>
                    </a:cubicBezTo>
                    <a:cubicBezTo>
                      <a:pt x="665" y="216"/>
                      <a:pt x="662" y="218"/>
                      <a:pt x="660" y="218"/>
                    </a:cubicBezTo>
                    <a:close/>
                    <a:moveTo>
                      <a:pt x="0" y="1114"/>
                    </a:moveTo>
                    <a:cubicBezTo>
                      <a:pt x="13" y="1155"/>
                      <a:pt x="31" y="1195"/>
                      <a:pt x="50" y="1230"/>
                    </a:cubicBezTo>
                    <a:cubicBezTo>
                      <a:pt x="50" y="1230"/>
                      <a:pt x="15" y="1154"/>
                      <a:pt x="0" y="1114"/>
                    </a:cubicBezTo>
                    <a:close/>
                    <a:moveTo>
                      <a:pt x="185" y="418"/>
                    </a:moveTo>
                    <a:cubicBezTo>
                      <a:pt x="183" y="417"/>
                      <a:pt x="180" y="419"/>
                      <a:pt x="180" y="417"/>
                    </a:cubicBezTo>
                    <a:cubicBezTo>
                      <a:pt x="181" y="410"/>
                      <a:pt x="186" y="407"/>
                      <a:pt x="187" y="401"/>
                    </a:cubicBezTo>
                    <a:cubicBezTo>
                      <a:pt x="191" y="397"/>
                      <a:pt x="202" y="397"/>
                      <a:pt x="205" y="390"/>
                    </a:cubicBezTo>
                    <a:cubicBezTo>
                      <a:pt x="204" y="389"/>
                      <a:pt x="203" y="388"/>
                      <a:pt x="203" y="386"/>
                    </a:cubicBezTo>
                    <a:cubicBezTo>
                      <a:pt x="192" y="389"/>
                      <a:pt x="179" y="398"/>
                      <a:pt x="167" y="398"/>
                    </a:cubicBezTo>
                    <a:cubicBezTo>
                      <a:pt x="161" y="398"/>
                      <a:pt x="158" y="399"/>
                      <a:pt x="155" y="403"/>
                    </a:cubicBezTo>
                    <a:cubicBezTo>
                      <a:pt x="157" y="410"/>
                      <a:pt x="156" y="419"/>
                      <a:pt x="158" y="427"/>
                    </a:cubicBezTo>
                    <a:cubicBezTo>
                      <a:pt x="155" y="428"/>
                      <a:pt x="152" y="428"/>
                      <a:pt x="152" y="431"/>
                    </a:cubicBezTo>
                    <a:cubicBezTo>
                      <a:pt x="157" y="437"/>
                      <a:pt x="152" y="443"/>
                      <a:pt x="154" y="450"/>
                    </a:cubicBezTo>
                    <a:cubicBezTo>
                      <a:pt x="158" y="448"/>
                      <a:pt x="162" y="447"/>
                      <a:pt x="165" y="445"/>
                    </a:cubicBezTo>
                    <a:cubicBezTo>
                      <a:pt x="166" y="440"/>
                      <a:pt x="165" y="440"/>
                      <a:pt x="166" y="434"/>
                    </a:cubicBezTo>
                    <a:cubicBezTo>
                      <a:pt x="176" y="432"/>
                      <a:pt x="181" y="426"/>
                      <a:pt x="185" y="418"/>
                    </a:cubicBezTo>
                    <a:close/>
                  </a:path>
                </a:pathLst>
              </a:custGeom>
              <a:gradFill rotWithShape="1">
                <a:gsLst>
                  <a:gs pos="0">
                    <a:srgbClr val="A5BBD9"/>
                  </a:gs>
                  <a:gs pos="100000">
                    <a:srgbClr val="3366AA"/>
                  </a:gs>
                </a:gsLst>
                <a:lin ang="2700000" scaled="1"/>
              </a:gradFill>
              <a:ln w="9525" cap="flat" cmpd="sng">
                <a:noFill/>
                <a:prstDash val="solid"/>
                <a:round/>
                <a:headEnd type="none" w="med" len="med"/>
                <a:tailEnd type="none" w="med" len="med"/>
              </a:ln>
            </p:spPr>
            <p:txBody>
              <a:bodyPr/>
              <a:lstStyle/>
              <a:p>
                <a:endParaRPr lang="en-GB" dirty="0"/>
              </a:p>
            </p:txBody>
          </p:sp>
        </p:grpSp>
        <p:pic>
          <p:nvPicPr>
            <p:cNvPr id="37" name="Picture 72" descr="Germany"/>
            <p:cNvPicPr>
              <a:picLocks noChangeAspect="1" noChangeArrowheads="1"/>
            </p:cNvPicPr>
            <p:nvPr>
              <p:custDataLst>
                <p:tags r:id="rId31"/>
              </p:custDataLst>
            </p:nvPr>
          </p:nvPicPr>
          <p:blipFill>
            <a:blip r:embed="rId80" cstate="print"/>
            <a:srcRect b="38655"/>
            <a:stretch>
              <a:fillRect/>
            </a:stretch>
          </p:blipFill>
          <p:spPr bwMode="auto">
            <a:xfrm>
              <a:off x="3057525" y="2427288"/>
              <a:ext cx="180975" cy="187325"/>
            </a:xfrm>
            <a:prstGeom prst="rect">
              <a:avLst/>
            </a:prstGeom>
            <a:noFill/>
            <a:ln w="9525">
              <a:noFill/>
              <a:miter lim="800000"/>
              <a:headEnd/>
              <a:tailEnd/>
            </a:ln>
          </p:spPr>
        </p:pic>
        <p:pic>
          <p:nvPicPr>
            <p:cNvPr id="38" name="Picture 73" descr="China"/>
            <p:cNvPicPr>
              <a:picLocks noChangeAspect="1" noChangeArrowheads="1"/>
            </p:cNvPicPr>
            <p:nvPr>
              <p:custDataLst>
                <p:tags r:id="rId32"/>
              </p:custDataLst>
            </p:nvPr>
          </p:nvPicPr>
          <p:blipFill>
            <a:blip r:embed="rId81" cstate="print"/>
            <a:srcRect b="50175"/>
            <a:stretch>
              <a:fillRect/>
            </a:stretch>
          </p:blipFill>
          <p:spPr bwMode="auto">
            <a:xfrm>
              <a:off x="3440113" y="2130425"/>
              <a:ext cx="174625" cy="176213"/>
            </a:xfrm>
            <a:prstGeom prst="rect">
              <a:avLst/>
            </a:prstGeom>
            <a:noFill/>
            <a:ln w="9525">
              <a:noFill/>
              <a:miter lim="800000"/>
              <a:headEnd/>
              <a:tailEnd/>
            </a:ln>
          </p:spPr>
        </p:pic>
        <p:pic>
          <p:nvPicPr>
            <p:cNvPr id="39" name="Picture 74" descr="US"/>
            <p:cNvPicPr>
              <a:picLocks noChangeAspect="1" noChangeArrowheads="1"/>
            </p:cNvPicPr>
            <p:nvPr>
              <p:custDataLst>
                <p:tags r:id="rId33"/>
              </p:custDataLst>
            </p:nvPr>
          </p:nvPicPr>
          <p:blipFill>
            <a:blip r:embed="rId82" cstate="print"/>
            <a:srcRect b="24484"/>
            <a:stretch>
              <a:fillRect/>
            </a:stretch>
          </p:blipFill>
          <p:spPr bwMode="auto">
            <a:xfrm>
              <a:off x="3248025" y="2273300"/>
              <a:ext cx="169863" cy="176213"/>
            </a:xfrm>
            <a:prstGeom prst="rect">
              <a:avLst/>
            </a:prstGeom>
            <a:noFill/>
            <a:ln w="9525">
              <a:noFill/>
              <a:miter lim="800000"/>
              <a:headEnd/>
              <a:tailEnd/>
            </a:ln>
          </p:spPr>
        </p:pic>
        <p:sp>
          <p:nvSpPr>
            <p:cNvPr id="40" name="Text Box 75"/>
            <p:cNvSpPr txBox="1">
              <a:spLocks noChangeArrowheads="1"/>
            </p:cNvSpPr>
            <p:nvPr>
              <p:custDataLst>
                <p:tags r:id="rId34"/>
              </p:custDataLst>
            </p:nvPr>
          </p:nvSpPr>
          <p:spPr bwMode="auto">
            <a:xfrm>
              <a:off x="3680258" y="2003425"/>
              <a:ext cx="126131" cy="220088"/>
            </a:xfrm>
            <a:prstGeom prst="rect">
              <a:avLst/>
            </a:prstGeom>
            <a:noFill/>
            <a:ln w="9525" algn="ctr">
              <a:noFill/>
              <a:miter lim="800000"/>
              <a:headEnd/>
              <a:tailEnd/>
            </a:ln>
          </p:spPr>
          <p:txBody>
            <a:bodyPr wrap="none" lIns="0" tIns="0" rIns="0" bIns="0">
              <a:spAutoFit/>
            </a:bodyPr>
            <a:lstStyle/>
            <a:p>
              <a:pPr algn="ctr">
                <a:spcBef>
                  <a:spcPct val="50000"/>
                </a:spcBef>
                <a:buFontTx/>
                <a:buNone/>
              </a:pPr>
              <a:r>
                <a:rPr lang="en-US" sz="1200" dirty="0"/>
                <a:t>…</a:t>
              </a:r>
            </a:p>
          </p:txBody>
        </p:sp>
      </p:grpSp>
      <p:sp>
        <p:nvSpPr>
          <p:cNvPr id="85" name="TextBox 84"/>
          <p:cNvSpPr txBox="1"/>
          <p:nvPr/>
        </p:nvSpPr>
        <p:spPr>
          <a:xfrm>
            <a:off x="3408032" y="3782796"/>
            <a:ext cx="1381789" cy="677108"/>
          </a:xfrm>
          <a:prstGeom prst="rect">
            <a:avLst/>
          </a:prstGeom>
          <a:noFill/>
        </p:spPr>
        <p:txBody>
          <a:bodyPr wrap="none" lIns="0" tIns="0" rIns="0" bIns="0" rtlCol="0">
            <a:spAutoFit/>
          </a:bodyPr>
          <a:lstStyle/>
          <a:p>
            <a:pPr>
              <a:lnSpc>
                <a:spcPct val="110000"/>
              </a:lnSpc>
              <a:spcBef>
                <a:spcPts val="0"/>
              </a:spcBef>
            </a:pPr>
            <a:r>
              <a:rPr lang="en-GB" sz="2000" dirty="0" smtClean="0">
                <a:solidFill>
                  <a:schemeClr val="tx1"/>
                </a:solidFill>
              </a:rPr>
              <a:t>Technology </a:t>
            </a:r>
            <a:br>
              <a:rPr lang="en-GB" sz="2000" dirty="0" smtClean="0">
                <a:solidFill>
                  <a:schemeClr val="tx1"/>
                </a:solidFill>
              </a:rPr>
            </a:br>
            <a:r>
              <a:rPr lang="en-GB" sz="2000" dirty="0" smtClean="0">
                <a:solidFill>
                  <a:schemeClr val="tx1"/>
                </a:solidFill>
              </a:rPr>
              <a:t>Road Maps </a:t>
            </a:r>
          </a:p>
        </p:txBody>
      </p:sp>
      <p:sp>
        <p:nvSpPr>
          <p:cNvPr id="87" name="TextBox 86"/>
          <p:cNvSpPr txBox="1"/>
          <p:nvPr/>
        </p:nvSpPr>
        <p:spPr>
          <a:xfrm>
            <a:off x="939833" y="6272697"/>
            <a:ext cx="8840562" cy="338554"/>
          </a:xfrm>
          <a:prstGeom prst="rect">
            <a:avLst/>
          </a:prstGeom>
          <a:noFill/>
        </p:spPr>
        <p:txBody>
          <a:bodyPr wrap="none" lIns="0" tIns="0" rIns="0" bIns="0" rtlCol="0">
            <a:spAutoFit/>
          </a:bodyPr>
          <a:lstStyle/>
          <a:p>
            <a:pPr>
              <a:lnSpc>
                <a:spcPct val="110000"/>
              </a:lnSpc>
              <a:spcBef>
                <a:spcPts val="0"/>
              </a:spcBef>
            </a:pPr>
            <a:r>
              <a:rPr lang="en-GB" sz="2000" b="1" dirty="0" smtClean="0">
                <a:solidFill>
                  <a:schemeClr val="tx1"/>
                </a:solidFill>
              </a:rPr>
              <a:t>Siemens makes approx 20 inventions every working day</a:t>
            </a:r>
            <a:r>
              <a:rPr lang="en-GB" sz="2000" dirty="0" smtClean="0">
                <a:solidFill>
                  <a:schemeClr val="tx1"/>
                </a:solidFill>
              </a:rPr>
              <a:t>.!!........................ </a:t>
            </a:r>
          </a:p>
        </p:txBody>
      </p:sp>
      <p:pic>
        <p:nvPicPr>
          <p:cNvPr id="77" name="Picture 2" descr="http://blog.werigi.com/wp-content/uploads/VirtualFactories_011.jpg"/>
          <p:cNvPicPr>
            <a:picLocks noChangeAspect="1" noChangeArrowheads="1"/>
          </p:cNvPicPr>
          <p:nvPr/>
        </p:nvPicPr>
        <p:blipFill>
          <a:blip r:embed="rId83" cstate="print"/>
          <a:srcRect/>
          <a:stretch>
            <a:fillRect/>
          </a:stretch>
        </p:blipFill>
        <p:spPr bwMode="auto">
          <a:xfrm>
            <a:off x="8118337" y="2559664"/>
            <a:ext cx="1272995" cy="576332"/>
          </a:xfrm>
          <a:prstGeom prst="rect">
            <a:avLst/>
          </a:prstGeom>
          <a:noFill/>
        </p:spPr>
      </p:pic>
      <p:sp>
        <p:nvSpPr>
          <p:cNvPr id="78" name="Freeform 12" descr="Digital"/>
          <p:cNvSpPr>
            <a:spLocks/>
          </p:cNvSpPr>
          <p:nvPr/>
        </p:nvSpPr>
        <p:spPr bwMode="auto">
          <a:xfrm>
            <a:off x="9743135" y="2538717"/>
            <a:ext cx="1495433" cy="588746"/>
          </a:xfrm>
          <a:custGeom>
            <a:avLst/>
            <a:gdLst>
              <a:gd name="T0" fmla="*/ 979607 w 868"/>
              <a:gd name="T1" fmla="*/ 2689225 h 1189"/>
              <a:gd name="T2" fmla="*/ 972820 w 868"/>
              <a:gd name="T3" fmla="*/ 2689225 h 1189"/>
              <a:gd name="T4" fmla="*/ 936622 w 868"/>
              <a:gd name="T5" fmla="*/ 2668869 h 1189"/>
              <a:gd name="T6" fmla="*/ 15837 w 868"/>
              <a:gd name="T7" fmla="*/ 1402287 h 1189"/>
              <a:gd name="T8" fmla="*/ 22624 w 868"/>
              <a:gd name="T9" fmla="*/ 1334435 h 1189"/>
              <a:gd name="T10" fmla="*/ 296371 w 868"/>
              <a:gd name="T11" fmla="*/ 723761 h 1189"/>
              <a:gd name="T12" fmla="*/ 278272 w 868"/>
              <a:gd name="T13" fmla="*/ 547344 h 1189"/>
              <a:gd name="T14" fmla="*/ 312207 w 868"/>
              <a:gd name="T15" fmla="*/ 488539 h 1189"/>
              <a:gd name="T16" fmla="*/ 1803110 w 868"/>
              <a:gd name="T17" fmla="*/ 2262 h 1189"/>
              <a:gd name="T18" fmla="*/ 1818946 w 868"/>
              <a:gd name="T19" fmla="*/ 0 h 1189"/>
              <a:gd name="T20" fmla="*/ 1843832 w 868"/>
              <a:gd name="T21" fmla="*/ 6785 h 1189"/>
              <a:gd name="T22" fmla="*/ 1868718 w 868"/>
              <a:gd name="T23" fmla="*/ 38450 h 1189"/>
              <a:gd name="T24" fmla="*/ 1963738 w 868"/>
              <a:gd name="T25" fmla="*/ 723761 h 1189"/>
              <a:gd name="T26" fmla="*/ 1692254 w 868"/>
              <a:gd name="T27" fmla="*/ 1852376 h 1189"/>
              <a:gd name="T28" fmla="*/ 1011280 w 868"/>
              <a:gd name="T29" fmla="*/ 2677916 h 1189"/>
              <a:gd name="T30" fmla="*/ 979607 w 868"/>
              <a:gd name="T31" fmla="*/ 2689225 h 11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68"/>
              <a:gd name="T49" fmla="*/ 0 h 1189"/>
              <a:gd name="T50" fmla="*/ 868 w 868"/>
              <a:gd name="T51" fmla="*/ 1189 h 11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68" h="1189">
                <a:moveTo>
                  <a:pt x="433" y="1189"/>
                </a:moveTo>
                <a:cubicBezTo>
                  <a:pt x="432" y="1189"/>
                  <a:pt x="431" y="1189"/>
                  <a:pt x="430" y="1189"/>
                </a:cubicBezTo>
                <a:cubicBezTo>
                  <a:pt x="424" y="1188"/>
                  <a:pt x="418" y="1185"/>
                  <a:pt x="414" y="1180"/>
                </a:cubicBezTo>
                <a:cubicBezTo>
                  <a:pt x="7" y="620"/>
                  <a:pt x="7" y="620"/>
                  <a:pt x="7" y="620"/>
                </a:cubicBezTo>
                <a:cubicBezTo>
                  <a:pt x="0" y="611"/>
                  <a:pt x="1" y="597"/>
                  <a:pt x="10" y="590"/>
                </a:cubicBezTo>
                <a:cubicBezTo>
                  <a:pt x="87" y="521"/>
                  <a:pt x="131" y="422"/>
                  <a:pt x="131" y="320"/>
                </a:cubicBezTo>
                <a:cubicBezTo>
                  <a:pt x="131" y="292"/>
                  <a:pt x="128" y="267"/>
                  <a:pt x="123" y="242"/>
                </a:cubicBezTo>
                <a:cubicBezTo>
                  <a:pt x="120" y="231"/>
                  <a:pt x="127" y="220"/>
                  <a:pt x="138" y="216"/>
                </a:cubicBezTo>
                <a:cubicBezTo>
                  <a:pt x="797" y="1"/>
                  <a:pt x="797" y="1"/>
                  <a:pt x="797" y="1"/>
                </a:cubicBezTo>
                <a:cubicBezTo>
                  <a:pt x="800" y="1"/>
                  <a:pt x="802" y="0"/>
                  <a:pt x="804" y="0"/>
                </a:cubicBezTo>
                <a:cubicBezTo>
                  <a:pt x="808" y="0"/>
                  <a:pt x="812" y="1"/>
                  <a:pt x="815" y="3"/>
                </a:cubicBezTo>
                <a:cubicBezTo>
                  <a:pt x="821" y="6"/>
                  <a:pt x="825" y="11"/>
                  <a:pt x="826" y="17"/>
                </a:cubicBezTo>
                <a:cubicBezTo>
                  <a:pt x="854" y="116"/>
                  <a:pt x="868" y="218"/>
                  <a:pt x="868" y="320"/>
                </a:cubicBezTo>
                <a:cubicBezTo>
                  <a:pt x="868" y="495"/>
                  <a:pt x="828" y="663"/>
                  <a:pt x="748" y="819"/>
                </a:cubicBezTo>
                <a:cubicBezTo>
                  <a:pt x="676" y="960"/>
                  <a:pt x="572" y="1086"/>
                  <a:pt x="447" y="1184"/>
                </a:cubicBezTo>
                <a:cubicBezTo>
                  <a:pt x="443" y="1187"/>
                  <a:pt x="438" y="1189"/>
                  <a:pt x="433" y="1189"/>
                </a:cubicBezTo>
                <a:close/>
              </a:path>
            </a:pathLst>
          </a:custGeom>
          <a:blipFill dpi="0" rotWithShape="1">
            <a:blip r:embed="rId84" cstate="print"/>
            <a:srcRect/>
            <a:stretch>
              <a:fillRect/>
            </a:stretch>
          </a:blipFill>
          <a:ln w="9525">
            <a:round/>
            <a:headEnd/>
            <a:tailEnd/>
          </a:ln>
          <a:effectLst/>
          <a:scene3d>
            <a:camera prst="legacyPerspectiveBottom"/>
            <a:lightRig rig="legacyFlat3" dir="t"/>
          </a:scene3d>
          <a:sp3d extrusionH="887400" prstMaterial="legacyMatte">
            <a:bevelT w="13500" h="13500" prst="angle"/>
            <a:bevelB w="13500" h="13500" prst="angle"/>
            <a:extrusionClr>
              <a:srgbClr val="FFFFFF"/>
            </a:extrusionClr>
          </a:sp3d>
        </p:spPr>
        <p:txBody>
          <a:bodyPr>
            <a:flatTx/>
          </a:bodyPr>
          <a:lstStyle/>
          <a:p>
            <a:pPr>
              <a:spcBef>
                <a:spcPct val="0"/>
              </a:spcBef>
            </a:pPr>
            <a:endParaRPr lang="en-US" sz="1200" dirty="0">
              <a:solidFill>
                <a:srgbClr val="000000"/>
              </a:solidFill>
              <a:latin typeface="Footlight MT Light" pitchFamily="18" charset="0"/>
              <a:ea typeface="+mn-ea"/>
              <a:cs typeface="Arial" charset="0"/>
            </a:endParaRPr>
          </a:p>
        </p:txBody>
      </p:sp>
      <p:pic>
        <p:nvPicPr>
          <p:cNvPr id="189447" name="Picture 7" descr="https://www.esmap.org/esmap/sites/esmap.org/files/1075609_96034765.jpeg"/>
          <p:cNvPicPr>
            <a:picLocks noChangeAspect="1" noChangeArrowheads="1"/>
          </p:cNvPicPr>
          <p:nvPr/>
        </p:nvPicPr>
        <p:blipFill>
          <a:blip r:embed="rId85" cstate="print"/>
          <a:srcRect/>
          <a:stretch>
            <a:fillRect/>
          </a:stretch>
        </p:blipFill>
        <p:spPr bwMode="auto">
          <a:xfrm>
            <a:off x="85405391" y="-26008013"/>
            <a:ext cx="15247938" cy="8572500"/>
          </a:xfrm>
          <a:prstGeom prst="rect">
            <a:avLst/>
          </a:prstGeom>
          <a:noFill/>
        </p:spPr>
      </p:pic>
      <p:pic>
        <p:nvPicPr>
          <p:cNvPr id="189449" name="Picture 9" descr="https://www.esmap.org/esmap/sites/esmap.org/files/1075609_96034765.jpeg"/>
          <p:cNvPicPr>
            <a:picLocks noChangeAspect="1" noChangeArrowheads="1"/>
          </p:cNvPicPr>
          <p:nvPr/>
        </p:nvPicPr>
        <p:blipFill>
          <a:blip r:embed="rId85" cstate="print"/>
          <a:srcRect/>
          <a:stretch>
            <a:fillRect/>
          </a:stretch>
        </p:blipFill>
        <p:spPr bwMode="auto">
          <a:xfrm>
            <a:off x="85405391" y="-26008013"/>
            <a:ext cx="15247938" cy="8572500"/>
          </a:xfrm>
          <a:prstGeom prst="rect">
            <a:avLst/>
          </a:prstGeom>
          <a:noFill/>
        </p:spPr>
      </p:pic>
      <p:pic>
        <p:nvPicPr>
          <p:cNvPr id="189451" name="Picture 11" descr="https://www.esmap.org/esmap/sites/esmap.org/files/1075609_96034765.jpeg"/>
          <p:cNvPicPr>
            <a:picLocks noChangeAspect="1" noChangeArrowheads="1"/>
          </p:cNvPicPr>
          <p:nvPr/>
        </p:nvPicPr>
        <p:blipFill>
          <a:blip r:embed="rId85" cstate="print"/>
          <a:srcRect/>
          <a:stretch>
            <a:fillRect/>
          </a:stretch>
        </p:blipFill>
        <p:spPr bwMode="auto">
          <a:xfrm>
            <a:off x="85405391" y="-26008013"/>
            <a:ext cx="15247938" cy="8572500"/>
          </a:xfrm>
          <a:prstGeom prst="rect">
            <a:avLst/>
          </a:prstGeom>
          <a:noFill/>
        </p:spPr>
      </p:pic>
      <p:pic>
        <p:nvPicPr>
          <p:cNvPr id="189453" name="Picture 13" descr="https://www.esmap.org/esmap/sites/esmap.org/files/1075609_96034765.jpeg"/>
          <p:cNvPicPr>
            <a:picLocks noChangeAspect="1" noChangeArrowheads="1"/>
          </p:cNvPicPr>
          <p:nvPr/>
        </p:nvPicPr>
        <p:blipFill>
          <a:blip r:embed="rId85" cstate="print"/>
          <a:srcRect/>
          <a:stretch>
            <a:fillRect/>
          </a:stretch>
        </p:blipFill>
        <p:spPr bwMode="auto">
          <a:xfrm>
            <a:off x="85405391" y="-26008013"/>
            <a:ext cx="15247938" cy="8572500"/>
          </a:xfrm>
          <a:prstGeom prst="rect">
            <a:avLst/>
          </a:prstGeom>
          <a:noFill/>
        </p:spPr>
      </p:pic>
      <p:pic>
        <p:nvPicPr>
          <p:cNvPr id="189455" name="Picture 15" descr="https://encrypted-tbn3.gstatic.com/images?q=tbn:ANd9GcRjkmmOigyS2A7_i5UyWML2XGg0Ii5gcfPYVpzUw5mPigfqmuva9EdZYjvI">
            <a:hlinkClick r:id="rId86"/>
          </p:cNvPr>
          <p:cNvPicPr>
            <a:picLocks noChangeAspect="1" noChangeArrowheads="1"/>
          </p:cNvPicPr>
          <p:nvPr/>
        </p:nvPicPr>
        <p:blipFill>
          <a:blip r:embed="rId87" cstate="print"/>
          <a:srcRect/>
          <a:stretch>
            <a:fillRect/>
          </a:stretch>
        </p:blipFill>
        <p:spPr bwMode="auto">
          <a:xfrm>
            <a:off x="6095858" y="2559668"/>
            <a:ext cx="1474414" cy="567799"/>
          </a:xfrm>
          <a:prstGeom prst="rect">
            <a:avLst/>
          </a:prstGeom>
          <a:noFill/>
        </p:spPr>
      </p:pic>
      <p:sp>
        <p:nvSpPr>
          <p:cNvPr id="81" name="Rectangle 25"/>
          <p:cNvSpPr>
            <a:spLocks noChangeArrowheads="1"/>
          </p:cNvSpPr>
          <p:nvPr>
            <p:custDataLst>
              <p:tags r:id="rId17"/>
            </p:custDataLst>
          </p:nvPr>
        </p:nvSpPr>
        <p:spPr bwMode="auto">
          <a:xfrm>
            <a:off x="5819212" y="2217509"/>
            <a:ext cx="2090237" cy="225877"/>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a:tailEnd/>
          </a:ln>
        </p:spPr>
        <p:txBody>
          <a:bodyPr lIns="72000" tIns="0" rIns="0" bIns="0" anchor="ctr"/>
          <a:lstStyle/>
          <a:p>
            <a:pPr>
              <a:lnSpc>
                <a:spcPct val="90000"/>
              </a:lnSpc>
              <a:buFontTx/>
              <a:buNone/>
            </a:pPr>
            <a:r>
              <a:rPr lang="en-US" sz="1000" b="1" dirty="0" smtClean="0">
                <a:solidFill>
                  <a:srgbClr val="000000"/>
                </a:solidFill>
                <a:cs typeface="Arial" charset="0"/>
              </a:rPr>
              <a:t> Electrification </a:t>
            </a:r>
            <a:endParaRPr lang="en-US" sz="1000" b="1" dirty="0">
              <a:solidFill>
                <a:srgbClr val="000000"/>
              </a:solidFill>
              <a:cs typeface="Arial" charset="0"/>
            </a:endParaRPr>
          </a:p>
        </p:txBody>
      </p:sp>
      <p:sp>
        <p:nvSpPr>
          <p:cNvPr id="93" name="Rectangle 25"/>
          <p:cNvSpPr>
            <a:spLocks noChangeArrowheads="1"/>
          </p:cNvSpPr>
          <p:nvPr>
            <p:custDataLst>
              <p:tags r:id="rId18"/>
            </p:custDataLst>
          </p:nvPr>
        </p:nvSpPr>
        <p:spPr bwMode="auto">
          <a:xfrm>
            <a:off x="7763982" y="2216511"/>
            <a:ext cx="2090237" cy="225877"/>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a:tailEnd/>
          </a:ln>
        </p:spPr>
        <p:txBody>
          <a:bodyPr lIns="72000" tIns="0" rIns="0" bIns="0" anchor="ctr"/>
          <a:lstStyle/>
          <a:p>
            <a:pPr>
              <a:lnSpc>
                <a:spcPct val="90000"/>
              </a:lnSpc>
              <a:buFontTx/>
              <a:buNone/>
            </a:pPr>
            <a:r>
              <a:rPr lang="en-US" sz="1000" b="1" dirty="0" smtClean="0">
                <a:solidFill>
                  <a:srgbClr val="000000"/>
                </a:solidFill>
                <a:cs typeface="Arial" charset="0"/>
              </a:rPr>
              <a:t> Automation  </a:t>
            </a:r>
            <a:endParaRPr lang="en-US" sz="1000" b="1" dirty="0">
              <a:solidFill>
                <a:srgbClr val="000000"/>
              </a:solidFill>
              <a:cs typeface="Arial" charset="0"/>
            </a:endParaRPr>
          </a:p>
        </p:txBody>
      </p:sp>
      <p:sp>
        <p:nvSpPr>
          <p:cNvPr id="94" name="Rectangle 25"/>
          <p:cNvSpPr>
            <a:spLocks noChangeArrowheads="1"/>
          </p:cNvSpPr>
          <p:nvPr>
            <p:custDataLst>
              <p:tags r:id="rId19"/>
            </p:custDataLst>
          </p:nvPr>
        </p:nvSpPr>
        <p:spPr bwMode="auto">
          <a:xfrm>
            <a:off x="9537859" y="2204808"/>
            <a:ext cx="1819212" cy="225877"/>
          </a:xfrm>
          <a:prstGeom prst="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0" scaled="1"/>
            <a:tileRect/>
          </a:gradFill>
          <a:ln w="9525">
            <a:noFill/>
            <a:miter lim="800000"/>
            <a:headEnd/>
            <a:tailEnd/>
          </a:ln>
        </p:spPr>
        <p:txBody>
          <a:bodyPr lIns="72000" tIns="0" rIns="0" bIns="0" anchor="ctr"/>
          <a:lstStyle/>
          <a:p>
            <a:pPr>
              <a:lnSpc>
                <a:spcPct val="90000"/>
              </a:lnSpc>
              <a:buFontTx/>
              <a:buNone/>
            </a:pPr>
            <a:r>
              <a:rPr lang="en-US" sz="1000" b="1" dirty="0" smtClean="0">
                <a:solidFill>
                  <a:srgbClr val="000000"/>
                </a:solidFill>
                <a:cs typeface="Arial" charset="0"/>
              </a:rPr>
              <a:t>Digitalization </a:t>
            </a:r>
            <a:endParaRPr lang="en-US" sz="1000" b="1" dirty="0">
              <a:solidFill>
                <a:srgbClr val="000000"/>
              </a:solidFill>
              <a:cs typeface="Arial" charset="0"/>
            </a:endParaRPr>
          </a:p>
        </p:txBody>
      </p:sp>
      <p:sp>
        <p:nvSpPr>
          <p:cNvPr id="95" name="Rectangle 12"/>
          <p:cNvSpPr txBox="1">
            <a:spLocks noChangeArrowheads="1"/>
          </p:cNvSpPr>
          <p:nvPr/>
        </p:nvSpPr>
        <p:spPr>
          <a:xfrm>
            <a:off x="0" y="6619875"/>
            <a:ext cx="8454134" cy="476250"/>
          </a:xfrm>
          <a:prstGeom prst="rect">
            <a:avLst/>
          </a:prstGeom>
          <a:ln/>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800" b="0" i="0" u="none" strike="noStrike" kern="1200" cap="none" spc="0" normalizeH="0" baseline="0" noProof="0" dirty="0" smtClean="0">
                <a:ln>
                  <a:noFill/>
                </a:ln>
                <a:solidFill>
                  <a:srgbClr val="000000"/>
                </a:solidFill>
                <a:effectLst/>
                <a:uLnTx/>
                <a:uFillTx/>
                <a:latin typeface="Arial" pitchFamily="34" charset="0"/>
                <a:ea typeface="ＭＳ Ｐゴシック" charset="-128"/>
                <a:cs typeface="+mn-cs"/>
              </a:rPr>
              <a:t>C all rights reserved Siemens AG</a:t>
            </a:r>
            <a:endParaRPr kumimoji="0" lang="en-US" sz="800" b="0" i="0" u="none" strike="noStrike" kern="1200" cap="none" spc="0" normalizeH="0" baseline="0" noProof="0" dirty="0" smtClean="0">
              <a:ln>
                <a:noFill/>
              </a:ln>
              <a:solidFill>
                <a:srgbClr val="000000"/>
              </a:solidFill>
              <a:effectLst/>
              <a:uLnTx/>
              <a:uFillTx/>
              <a:latin typeface="Arial" pitchFamily="34" charset="0"/>
              <a:ea typeface="ＭＳ Ｐゴシック" charset="-128"/>
              <a:cs typeface="+mn-cs"/>
            </a:endParaRPr>
          </a:p>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grpSp>
        <p:nvGrpSpPr>
          <p:cNvPr id="6" name="Gruppieren 49"/>
          <p:cNvGrpSpPr/>
          <p:nvPr/>
        </p:nvGrpSpPr>
        <p:grpSpPr>
          <a:xfrm>
            <a:off x="335455" y="5301235"/>
            <a:ext cx="576372" cy="432055"/>
            <a:chOff x="44450" y="127000"/>
            <a:chExt cx="9055100" cy="6604000"/>
          </a:xfrm>
        </p:grpSpPr>
        <p:sp>
          <p:nvSpPr>
            <p:cNvPr id="97" name="Freeform 5"/>
            <p:cNvSpPr>
              <a:spLocks noEditPoints="1"/>
            </p:cNvSpPr>
            <p:nvPr/>
          </p:nvSpPr>
          <p:spPr bwMode="auto">
            <a:xfrm>
              <a:off x="619125" y="127000"/>
              <a:ext cx="6137275" cy="6604000"/>
            </a:xfrm>
            <a:custGeom>
              <a:avLst/>
              <a:gdLst>
                <a:gd name="T0" fmla="*/ 545 w 545"/>
                <a:gd name="T1" fmla="*/ 141 h 586"/>
                <a:gd name="T2" fmla="*/ 538 w 545"/>
                <a:gd name="T3" fmla="*/ 155 h 586"/>
                <a:gd name="T4" fmla="*/ 480 w 545"/>
                <a:gd name="T5" fmla="*/ 67 h 586"/>
                <a:gd name="T6" fmla="*/ 420 w 545"/>
                <a:gd name="T7" fmla="*/ 88 h 586"/>
                <a:gd name="T8" fmla="*/ 407 w 545"/>
                <a:gd name="T9" fmla="*/ 61 h 586"/>
                <a:gd name="T10" fmla="*/ 490 w 545"/>
                <a:gd name="T11" fmla="*/ 37 h 586"/>
                <a:gd name="T12" fmla="*/ 545 w 545"/>
                <a:gd name="T13" fmla="*/ 141 h 586"/>
                <a:gd name="T14" fmla="*/ 376 w 545"/>
                <a:gd name="T15" fmla="*/ 137 h 586"/>
                <a:gd name="T16" fmla="*/ 405 w 545"/>
                <a:gd name="T17" fmla="*/ 126 h 586"/>
                <a:gd name="T18" fmla="*/ 431 w 545"/>
                <a:gd name="T19" fmla="*/ 189 h 586"/>
                <a:gd name="T20" fmla="*/ 530 w 545"/>
                <a:gd name="T21" fmla="*/ 173 h 586"/>
                <a:gd name="T22" fmla="*/ 523 w 545"/>
                <a:gd name="T23" fmla="*/ 188 h 586"/>
                <a:gd name="T24" fmla="*/ 408 w 545"/>
                <a:gd name="T25" fmla="*/ 212 h 586"/>
                <a:gd name="T26" fmla="*/ 375 w 545"/>
                <a:gd name="T27" fmla="*/ 137 h 586"/>
                <a:gd name="T28" fmla="*/ 376 w 545"/>
                <a:gd name="T29" fmla="*/ 137 h 586"/>
                <a:gd name="T30" fmla="*/ 284 w 545"/>
                <a:gd name="T31" fmla="*/ 586 h 586"/>
                <a:gd name="T32" fmla="*/ 68 w 545"/>
                <a:gd name="T33" fmla="*/ 586 h 586"/>
                <a:gd name="T34" fmla="*/ 68 w 545"/>
                <a:gd name="T35" fmla="*/ 401 h 586"/>
                <a:gd name="T36" fmla="*/ 284 w 545"/>
                <a:gd name="T37" fmla="*/ 401 h 586"/>
                <a:gd name="T38" fmla="*/ 284 w 545"/>
                <a:gd name="T39" fmla="*/ 586 h 586"/>
                <a:gd name="T40" fmla="*/ 39 w 545"/>
                <a:gd name="T41" fmla="*/ 78 h 586"/>
                <a:gd name="T42" fmla="*/ 0 w 545"/>
                <a:gd name="T43" fmla="*/ 39 h 586"/>
                <a:gd name="T44" fmla="*/ 39 w 545"/>
                <a:gd name="T45" fmla="*/ 0 h 586"/>
                <a:gd name="T46" fmla="*/ 78 w 545"/>
                <a:gd name="T47" fmla="*/ 39 h 586"/>
                <a:gd name="T48" fmla="*/ 39 w 545"/>
                <a:gd name="T49" fmla="*/ 78 h 586"/>
                <a:gd name="T50" fmla="*/ 376 w 545"/>
                <a:gd name="T51" fmla="*/ 127 h 586"/>
                <a:gd name="T52" fmla="*/ 342 w 545"/>
                <a:gd name="T53" fmla="*/ 93 h 586"/>
                <a:gd name="T54" fmla="*/ 376 w 545"/>
                <a:gd name="T55" fmla="*/ 58 h 586"/>
                <a:gd name="T56" fmla="*/ 411 w 545"/>
                <a:gd name="T57" fmla="*/ 93 h 586"/>
                <a:gd name="T58" fmla="*/ 376 w 545"/>
                <a:gd name="T59" fmla="*/ 127 h 586"/>
                <a:gd name="T60" fmla="*/ 310 w 545"/>
                <a:gd name="T61" fmla="*/ 366 h 586"/>
                <a:gd name="T62" fmla="*/ 284 w 545"/>
                <a:gd name="T63" fmla="*/ 391 h 586"/>
                <a:gd name="T64" fmla="*/ 68 w 545"/>
                <a:gd name="T65" fmla="*/ 391 h 586"/>
                <a:gd name="T66" fmla="*/ 203 w 545"/>
                <a:gd name="T67" fmla="*/ 254 h 586"/>
                <a:gd name="T68" fmla="*/ 264 w 545"/>
                <a:gd name="T69" fmla="*/ 225 h 586"/>
                <a:gd name="T70" fmla="*/ 342 w 545"/>
                <a:gd name="T71" fmla="*/ 303 h 586"/>
                <a:gd name="T72" fmla="*/ 310 w 545"/>
                <a:gd name="T73" fmla="*/ 366 h 586"/>
                <a:gd name="T74" fmla="*/ 264 w 545"/>
                <a:gd name="T75" fmla="*/ 215 h 586"/>
                <a:gd name="T76" fmla="*/ 208 w 545"/>
                <a:gd name="T77" fmla="*/ 235 h 586"/>
                <a:gd name="T78" fmla="*/ 158 w 545"/>
                <a:gd name="T79" fmla="*/ 286 h 586"/>
                <a:gd name="T80" fmla="*/ 23 w 545"/>
                <a:gd name="T81" fmla="*/ 85 h 586"/>
                <a:gd name="T82" fmla="*/ 39 w 545"/>
                <a:gd name="T83" fmla="*/ 88 h 586"/>
                <a:gd name="T84" fmla="*/ 88 w 545"/>
                <a:gd name="T85" fmla="*/ 39 h 586"/>
                <a:gd name="T86" fmla="*/ 87 w 545"/>
                <a:gd name="T87" fmla="*/ 30 h 586"/>
                <a:gd name="T88" fmla="*/ 288 w 545"/>
                <a:gd name="T89" fmla="*/ 218 h 586"/>
                <a:gd name="T90" fmla="*/ 264 w 545"/>
                <a:gd name="T91" fmla="*/ 215 h 586"/>
                <a:gd name="T92" fmla="*/ 332 w 545"/>
                <a:gd name="T93" fmla="*/ 93 h 586"/>
                <a:gd name="T94" fmla="*/ 344 w 545"/>
                <a:gd name="T95" fmla="*/ 123 h 586"/>
                <a:gd name="T96" fmla="*/ 174 w 545"/>
                <a:gd name="T97" fmla="*/ 98 h 586"/>
                <a:gd name="T98" fmla="*/ 75 w 545"/>
                <a:gd name="T99" fmla="*/ 5 h 586"/>
                <a:gd name="T100" fmla="*/ 355 w 545"/>
                <a:gd name="T101" fmla="*/ 54 h 586"/>
                <a:gd name="T102" fmla="*/ 332 w 545"/>
                <a:gd name="T103" fmla="*/ 9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586">
                  <a:moveTo>
                    <a:pt x="545" y="141"/>
                  </a:moveTo>
                  <a:cubicBezTo>
                    <a:pt x="538" y="155"/>
                    <a:pt x="538" y="155"/>
                    <a:pt x="538" y="155"/>
                  </a:cubicBezTo>
                  <a:cubicBezTo>
                    <a:pt x="480" y="67"/>
                    <a:pt x="480" y="67"/>
                    <a:pt x="480" y="67"/>
                  </a:cubicBezTo>
                  <a:cubicBezTo>
                    <a:pt x="420" y="88"/>
                    <a:pt x="420" y="88"/>
                    <a:pt x="420" y="88"/>
                  </a:cubicBezTo>
                  <a:cubicBezTo>
                    <a:pt x="419" y="78"/>
                    <a:pt x="414" y="68"/>
                    <a:pt x="407" y="61"/>
                  </a:cubicBezTo>
                  <a:cubicBezTo>
                    <a:pt x="490" y="37"/>
                    <a:pt x="490" y="37"/>
                    <a:pt x="490" y="37"/>
                  </a:cubicBezTo>
                  <a:lnTo>
                    <a:pt x="545" y="141"/>
                  </a:lnTo>
                  <a:close/>
                  <a:moveTo>
                    <a:pt x="376" y="137"/>
                  </a:moveTo>
                  <a:cubicBezTo>
                    <a:pt x="387" y="137"/>
                    <a:pt x="397" y="133"/>
                    <a:pt x="405" y="126"/>
                  </a:cubicBezTo>
                  <a:cubicBezTo>
                    <a:pt x="431" y="189"/>
                    <a:pt x="431" y="189"/>
                    <a:pt x="431" y="189"/>
                  </a:cubicBezTo>
                  <a:cubicBezTo>
                    <a:pt x="530" y="173"/>
                    <a:pt x="530" y="173"/>
                    <a:pt x="530" y="173"/>
                  </a:cubicBezTo>
                  <a:cubicBezTo>
                    <a:pt x="523" y="188"/>
                    <a:pt x="523" y="188"/>
                    <a:pt x="523" y="188"/>
                  </a:cubicBezTo>
                  <a:cubicBezTo>
                    <a:pt x="408" y="212"/>
                    <a:pt x="408" y="212"/>
                    <a:pt x="408" y="212"/>
                  </a:cubicBezTo>
                  <a:cubicBezTo>
                    <a:pt x="375" y="137"/>
                    <a:pt x="375" y="137"/>
                    <a:pt x="375" y="137"/>
                  </a:cubicBezTo>
                  <a:cubicBezTo>
                    <a:pt x="375" y="137"/>
                    <a:pt x="376" y="137"/>
                    <a:pt x="376" y="137"/>
                  </a:cubicBezTo>
                  <a:close/>
                  <a:moveTo>
                    <a:pt x="284" y="586"/>
                  </a:moveTo>
                  <a:cubicBezTo>
                    <a:pt x="68" y="586"/>
                    <a:pt x="68" y="586"/>
                    <a:pt x="68" y="586"/>
                  </a:cubicBezTo>
                  <a:cubicBezTo>
                    <a:pt x="68" y="401"/>
                    <a:pt x="68" y="401"/>
                    <a:pt x="68" y="401"/>
                  </a:cubicBezTo>
                  <a:cubicBezTo>
                    <a:pt x="284" y="401"/>
                    <a:pt x="284" y="401"/>
                    <a:pt x="284" y="401"/>
                  </a:cubicBezTo>
                  <a:lnTo>
                    <a:pt x="284" y="586"/>
                  </a:lnTo>
                  <a:close/>
                  <a:moveTo>
                    <a:pt x="39" y="78"/>
                  </a:moveTo>
                  <a:cubicBezTo>
                    <a:pt x="18" y="78"/>
                    <a:pt x="0" y="60"/>
                    <a:pt x="0" y="39"/>
                  </a:cubicBezTo>
                  <a:cubicBezTo>
                    <a:pt x="0" y="17"/>
                    <a:pt x="18" y="0"/>
                    <a:pt x="39" y="0"/>
                  </a:cubicBezTo>
                  <a:cubicBezTo>
                    <a:pt x="61" y="0"/>
                    <a:pt x="78" y="17"/>
                    <a:pt x="78" y="39"/>
                  </a:cubicBezTo>
                  <a:cubicBezTo>
                    <a:pt x="78" y="60"/>
                    <a:pt x="61" y="78"/>
                    <a:pt x="39" y="78"/>
                  </a:cubicBezTo>
                  <a:close/>
                  <a:moveTo>
                    <a:pt x="376" y="127"/>
                  </a:moveTo>
                  <a:cubicBezTo>
                    <a:pt x="358" y="127"/>
                    <a:pt x="342" y="111"/>
                    <a:pt x="342" y="93"/>
                  </a:cubicBezTo>
                  <a:cubicBezTo>
                    <a:pt x="342" y="74"/>
                    <a:pt x="358" y="58"/>
                    <a:pt x="376" y="58"/>
                  </a:cubicBezTo>
                  <a:cubicBezTo>
                    <a:pt x="395" y="58"/>
                    <a:pt x="411" y="74"/>
                    <a:pt x="411" y="93"/>
                  </a:cubicBezTo>
                  <a:cubicBezTo>
                    <a:pt x="411" y="111"/>
                    <a:pt x="395" y="127"/>
                    <a:pt x="376" y="127"/>
                  </a:cubicBezTo>
                  <a:close/>
                  <a:moveTo>
                    <a:pt x="310" y="366"/>
                  </a:moveTo>
                  <a:cubicBezTo>
                    <a:pt x="284" y="391"/>
                    <a:pt x="284" y="391"/>
                    <a:pt x="284" y="391"/>
                  </a:cubicBezTo>
                  <a:cubicBezTo>
                    <a:pt x="68" y="391"/>
                    <a:pt x="68" y="391"/>
                    <a:pt x="68" y="391"/>
                  </a:cubicBezTo>
                  <a:cubicBezTo>
                    <a:pt x="203" y="254"/>
                    <a:pt x="203" y="254"/>
                    <a:pt x="203" y="254"/>
                  </a:cubicBezTo>
                  <a:cubicBezTo>
                    <a:pt x="217" y="236"/>
                    <a:pt x="239" y="225"/>
                    <a:pt x="264" y="225"/>
                  </a:cubicBezTo>
                  <a:cubicBezTo>
                    <a:pt x="307" y="225"/>
                    <a:pt x="342" y="260"/>
                    <a:pt x="342" y="303"/>
                  </a:cubicBezTo>
                  <a:cubicBezTo>
                    <a:pt x="342" y="329"/>
                    <a:pt x="330" y="351"/>
                    <a:pt x="310" y="366"/>
                  </a:cubicBezTo>
                  <a:close/>
                  <a:moveTo>
                    <a:pt x="264" y="215"/>
                  </a:moveTo>
                  <a:cubicBezTo>
                    <a:pt x="243" y="215"/>
                    <a:pt x="223" y="222"/>
                    <a:pt x="208" y="235"/>
                  </a:cubicBezTo>
                  <a:cubicBezTo>
                    <a:pt x="203" y="239"/>
                    <a:pt x="158" y="286"/>
                    <a:pt x="158" y="286"/>
                  </a:cubicBezTo>
                  <a:cubicBezTo>
                    <a:pt x="23" y="85"/>
                    <a:pt x="23" y="85"/>
                    <a:pt x="23" y="85"/>
                  </a:cubicBezTo>
                  <a:cubicBezTo>
                    <a:pt x="28" y="87"/>
                    <a:pt x="34" y="88"/>
                    <a:pt x="39" y="88"/>
                  </a:cubicBezTo>
                  <a:cubicBezTo>
                    <a:pt x="66" y="88"/>
                    <a:pt x="88" y="66"/>
                    <a:pt x="88" y="39"/>
                  </a:cubicBezTo>
                  <a:cubicBezTo>
                    <a:pt x="88" y="36"/>
                    <a:pt x="88" y="33"/>
                    <a:pt x="87" y="30"/>
                  </a:cubicBezTo>
                  <a:cubicBezTo>
                    <a:pt x="288" y="218"/>
                    <a:pt x="288" y="218"/>
                    <a:pt x="288" y="218"/>
                  </a:cubicBezTo>
                  <a:cubicBezTo>
                    <a:pt x="280" y="216"/>
                    <a:pt x="272" y="215"/>
                    <a:pt x="264" y="215"/>
                  </a:cubicBezTo>
                  <a:close/>
                  <a:moveTo>
                    <a:pt x="332" y="93"/>
                  </a:moveTo>
                  <a:cubicBezTo>
                    <a:pt x="332" y="104"/>
                    <a:pt x="337" y="115"/>
                    <a:pt x="344" y="123"/>
                  </a:cubicBezTo>
                  <a:cubicBezTo>
                    <a:pt x="174" y="98"/>
                    <a:pt x="174" y="98"/>
                    <a:pt x="174" y="98"/>
                  </a:cubicBezTo>
                  <a:cubicBezTo>
                    <a:pt x="75" y="5"/>
                    <a:pt x="75" y="5"/>
                    <a:pt x="75" y="5"/>
                  </a:cubicBezTo>
                  <a:cubicBezTo>
                    <a:pt x="355" y="54"/>
                    <a:pt x="355" y="54"/>
                    <a:pt x="355" y="54"/>
                  </a:cubicBezTo>
                  <a:cubicBezTo>
                    <a:pt x="342" y="61"/>
                    <a:pt x="332" y="76"/>
                    <a:pt x="332" y="93"/>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6"/>
            <p:cNvSpPr>
              <a:spLocks noEditPoints="1"/>
            </p:cNvSpPr>
            <p:nvPr/>
          </p:nvSpPr>
          <p:spPr bwMode="auto">
            <a:xfrm>
              <a:off x="6126163" y="4217988"/>
              <a:ext cx="428625" cy="630238"/>
            </a:xfrm>
            <a:custGeom>
              <a:avLst/>
              <a:gdLst>
                <a:gd name="T0" fmla="*/ 38 w 38"/>
                <a:gd name="T1" fmla="*/ 28 h 56"/>
                <a:gd name="T2" fmla="*/ 19 w 38"/>
                <a:gd name="T3" fmla="*/ 56 h 56"/>
                <a:gd name="T4" fmla="*/ 0 w 38"/>
                <a:gd name="T5" fmla="*/ 27 h 56"/>
                <a:gd name="T6" fmla="*/ 19 w 38"/>
                <a:gd name="T7" fmla="*/ 0 h 56"/>
                <a:gd name="T8" fmla="*/ 38 w 38"/>
                <a:gd name="T9" fmla="*/ 28 h 56"/>
                <a:gd name="T10" fmla="*/ 10 w 38"/>
                <a:gd name="T11" fmla="*/ 28 h 56"/>
                <a:gd name="T12" fmla="*/ 19 w 38"/>
                <a:gd name="T13" fmla="*/ 48 h 56"/>
                <a:gd name="T14" fmla="*/ 29 w 38"/>
                <a:gd name="T15" fmla="*/ 28 h 56"/>
                <a:gd name="T16" fmla="*/ 19 w 38"/>
                <a:gd name="T17" fmla="*/ 8 h 56"/>
                <a:gd name="T18" fmla="*/ 10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7"/>
                  </a:cubicBezTo>
                  <a:cubicBezTo>
                    <a:pt x="0" y="9"/>
                    <a:pt x="6" y="0"/>
                    <a:pt x="19" y="0"/>
                  </a:cubicBezTo>
                  <a:cubicBezTo>
                    <a:pt x="32" y="0"/>
                    <a:pt x="38" y="9"/>
                    <a:pt x="38" y="28"/>
                  </a:cubicBezTo>
                  <a:close/>
                  <a:moveTo>
                    <a:pt x="10" y="28"/>
                  </a:moveTo>
                  <a:cubicBezTo>
                    <a:pt x="10" y="42"/>
                    <a:pt x="13" y="48"/>
                    <a:pt x="19" y="48"/>
                  </a:cubicBezTo>
                  <a:cubicBezTo>
                    <a:pt x="26" y="48"/>
                    <a:pt x="29" y="42"/>
                    <a:pt x="29" y="28"/>
                  </a:cubicBezTo>
                  <a:cubicBezTo>
                    <a:pt x="29" y="14"/>
                    <a:pt x="26" y="8"/>
                    <a:pt x="19" y="8"/>
                  </a:cubicBezTo>
                  <a:cubicBezTo>
                    <a:pt x="13" y="8"/>
                    <a:pt x="10" y="14"/>
                    <a:pt x="10"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7"/>
            <p:cNvSpPr>
              <a:spLocks/>
            </p:cNvSpPr>
            <p:nvPr/>
          </p:nvSpPr>
          <p:spPr bwMode="auto">
            <a:xfrm>
              <a:off x="6654800" y="4229100"/>
              <a:ext cx="349250" cy="608013"/>
            </a:xfrm>
            <a:custGeom>
              <a:avLst/>
              <a:gdLst>
                <a:gd name="T0" fmla="*/ 107 w 220"/>
                <a:gd name="T1" fmla="*/ 71 h 383"/>
                <a:gd name="T2" fmla="*/ 29 w 220"/>
                <a:gd name="T3" fmla="*/ 121 h 383"/>
                <a:gd name="T4" fmla="*/ 0 w 220"/>
                <a:gd name="T5" fmla="*/ 64 h 383"/>
                <a:gd name="T6" fmla="*/ 114 w 220"/>
                <a:gd name="T7" fmla="*/ 0 h 383"/>
                <a:gd name="T8" fmla="*/ 171 w 220"/>
                <a:gd name="T9" fmla="*/ 0 h 383"/>
                <a:gd name="T10" fmla="*/ 171 w 220"/>
                <a:gd name="T11" fmla="*/ 334 h 383"/>
                <a:gd name="T12" fmla="*/ 220 w 220"/>
                <a:gd name="T13" fmla="*/ 334 h 383"/>
                <a:gd name="T14" fmla="*/ 220 w 220"/>
                <a:gd name="T15" fmla="*/ 383 h 383"/>
                <a:gd name="T16" fmla="*/ 57 w 220"/>
                <a:gd name="T17" fmla="*/ 383 h 383"/>
                <a:gd name="T18" fmla="*/ 57 w 220"/>
                <a:gd name="T19" fmla="*/ 334 h 383"/>
                <a:gd name="T20" fmla="*/ 107 w 220"/>
                <a:gd name="T21" fmla="*/ 334 h 383"/>
                <a:gd name="T22" fmla="*/ 107 w 220"/>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3">
                  <a:moveTo>
                    <a:pt x="107" y="71"/>
                  </a:moveTo>
                  <a:lnTo>
                    <a:pt x="29" y="121"/>
                  </a:lnTo>
                  <a:lnTo>
                    <a:pt x="0" y="64"/>
                  </a:lnTo>
                  <a:lnTo>
                    <a:pt x="114" y="0"/>
                  </a:lnTo>
                  <a:lnTo>
                    <a:pt x="171" y="0"/>
                  </a:lnTo>
                  <a:lnTo>
                    <a:pt x="171" y="334"/>
                  </a:lnTo>
                  <a:lnTo>
                    <a:pt x="220" y="334"/>
                  </a:lnTo>
                  <a:lnTo>
                    <a:pt x="220" y="383"/>
                  </a:lnTo>
                  <a:lnTo>
                    <a:pt x="57" y="383"/>
                  </a:lnTo>
                  <a:lnTo>
                    <a:pt x="57" y="334"/>
                  </a:lnTo>
                  <a:lnTo>
                    <a:pt x="107" y="334"/>
                  </a:lnTo>
                  <a:lnTo>
                    <a:pt x="107"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8"/>
            <p:cNvSpPr>
              <a:spLocks/>
            </p:cNvSpPr>
            <p:nvPr/>
          </p:nvSpPr>
          <p:spPr bwMode="auto">
            <a:xfrm>
              <a:off x="7162800" y="4229100"/>
              <a:ext cx="349250" cy="608013"/>
            </a:xfrm>
            <a:custGeom>
              <a:avLst/>
              <a:gdLst>
                <a:gd name="T0" fmla="*/ 106 w 220"/>
                <a:gd name="T1" fmla="*/ 71 h 383"/>
                <a:gd name="T2" fmla="*/ 35 w 220"/>
                <a:gd name="T3" fmla="*/ 121 h 383"/>
                <a:gd name="T4" fmla="*/ 0 w 220"/>
                <a:gd name="T5" fmla="*/ 64 h 383"/>
                <a:gd name="T6" fmla="*/ 113 w 220"/>
                <a:gd name="T7" fmla="*/ 0 h 383"/>
                <a:gd name="T8" fmla="*/ 170 w 220"/>
                <a:gd name="T9" fmla="*/ 0 h 383"/>
                <a:gd name="T10" fmla="*/ 170 w 220"/>
                <a:gd name="T11" fmla="*/ 334 h 383"/>
                <a:gd name="T12" fmla="*/ 220 w 220"/>
                <a:gd name="T13" fmla="*/ 334 h 383"/>
                <a:gd name="T14" fmla="*/ 220 w 220"/>
                <a:gd name="T15" fmla="*/ 383 h 383"/>
                <a:gd name="T16" fmla="*/ 56 w 220"/>
                <a:gd name="T17" fmla="*/ 383 h 383"/>
                <a:gd name="T18" fmla="*/ 56 w 220"/>
                <a:gd name="T19" fmla="*/ 334 h 383"/>
                <a:gd name="T20" fmla="*/ 106 w 220"/>
                <a:gd name="T21" fmla="*/ 334 h 383"/>
                <a:gd name="T22" fmla="*/ 106 w 220"/>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3">
                  <a:moveTo>
                    <a:pt x="106" y="71"/>
                  </a:moveTo>
                  <a:lnTo>
                    <a:pt x="35" y="121"/>
                  </a:lnTo>
                  <a:lnTo>
                    <a:pt x="0" y="64"/>
                  </a:lnTo>
                  <a:lnTo>
                    <a:pt x="113" y="0"/>
                  </a:lnTo>
                  <a:lnTo>
                    <a:pt x="170" y="0"/>
                  </a:lnTo>
                  <a:lnTo>
                    <a:pt x="170" y="334"/>
                  </a:lnTo>
                  <a:lnTo>
                    <a:pt x="220" y="334"/>
                  </a:lnTo>
                  <a:lnTo>
                    <a:pt x="220" y="383"/>
                  </a:lnTo>
                  <a:lnTo>
                    <a:pt x="56" y="383"/>
                  </a:lnTo>
                  <a:lnTo>
                    <a:pt x="56" y="334"/>
                  </a:lnTo>
                  <a:lnTo>
                    <a:pt x="106" y="334"/>
                  </a:lnTo>
                  <a:lnTo>
                    <a:pt x="106"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9"/>
            <p:cNvSpPr>
              <a:spLocks noEditPoints="1"/>
            </p:cNvSpPr>
            <p:nvPr/>
          </p:nvSpPr>
          <p:spPr bwMode="auto">
            <a:xfrm>
              <a:off x="7646988" y="4217988"/>
              <a:ext cx="427038" cy="630238"/>
            </a:xfrm>
            <a:custGeom>
              <a:avLst/>
              <a:gdLst>
                <a:gd name="T0" fmla="*/ 38 w 38"/>
                <a:gd name="T1" fmla="*/ 28 h 56"/>
                <a:gd name="T2" fmla="*/ 19 w 38"/>
                <a:gd name="T3" fmla="*/ 56 h 56"/>
                <a:gd name="T4" fmla="*/ 0 w 38"/>
                <a:gd name="T5" fmla="*/ 27 h 56"/>
                <a:gd name="T6" fmla="*/ 19 w 38"/>
                <a:gd name="T7" fmla="*/ 0 h 56"/>
                <a:gd name="T8" fmla="*/ 38 w 38"/>
                <a:gd name="T9" fmla="*/ 28 h 56"/>
                <a:gd name="T10" fmla="*/ 10 w 38"/>
                <a:gd name="T11" fmla="*/ 28 h 56"/>
                <a:gd name="T12" fmla="*/ 19 w 38"/>
                <a:gd name="T13" fmla="*/ 48 h 56"/>
                <a:gd name="T14" fmla="*/ 29 w 38"/>
                <a:gd name="T15" fmla="*/ 28 h 56"/>
                <a:gd name="T16" fmla="*/ 19 w 38"/>
                <a:gd name="T17" fmla="*/ 8 h 56"/>
                <a:gd name="T18" fmla="*/ 10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7"/>
                  </a:cubicBezTo>
                  <a:cubicBezTo>
                    <a:pt x="0" y="9"/>
                    <a:pt x="7" y="0"/>
                    <a:pt x="19" y="0"/>
                  </a:cubicBezTo>
                  <a:cubicBezTo>
                    <a:pt x="32" y="0"/>
                    <a:pt x="38" y="9"/>
                    <a:pt x="38" y="28"/>
                  </a:cubicBezTo>
                  <a:close/>
                  <a:moveTo>
                    <a:pt x="10" y="28"/>
                  </a:moveTo>
                  <a:cubicBezTo>
                    <a:pt x="10" y="42"/>
                    <a:pt x="13" y="48"/>
                    <a:pt x="19" y="48"/>
                  </a:cubicBezTo>
                  <a:cubicBezTo>
                    <a:pt x="26" y="48"/>
                    <a:pt x="29" y="42"/>
                    <a:pt x="29" y="28"/>
                  </a:cubicBezTo>
                  <a:cubicBezTo>
                    <a:pt x="29" y="14"/>
                    <a:pt x="26" y="8"/>
                    <a:pt x="19" y="8"/>
                  </a:cubicBezTo>
                  <a:cubicBezTo>
                    <a:pt x="13" y="8"/>
                    <a:pt x="10" y="14"/>
                    <a:pt x="10"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0"/>
            <p:cNvSpPr>
              <a:spLocks/>
            </p:cNvSpPr>
            <p:nvPr/>
          </p:nvSpPr>
          <p:spPr bwMode="auto">
            <a:xfrm>
              <a:off x="8175625" y="4229100"/>
              <a:ext cx="360363" cy="608013"/>
            </a:xfrm>
            <a:custGeom>
              <a:avLst/>
              <a:gdLst>
                <a:gd name="T0" fmla="*/ 107 w 227"/>
                <a:gd name="T1" fmla="*/ 71 h 383"/>
                <a:gd name="T2" fmla="*/ 36 w 227"/>
                <a:gd name="T3" fmla="*/ 121 h 383"/>
                <a:gd name="T4" fmla="*/ 0 w 227"/>
                <a:gd name="T5" fmla="*/ 64 h 383"/>
                <a:gd name="T6" fmla="*/ 114 w 227"/>
                <a:gd name="T7" fmla="*/ 0 h 383"/>
                <a:gd name="T8" fmla="*/ 178 w 227"/>
                <a:gd name="T9" fmla="*/ 0 h 383"/>
                <a:gd name="T10" fmla="*/ 178 w 227"/>
                <a:gd name="T11" fmla="*/ 334 h 383"/>
                <a:gd name="T12" fmla="*/ 227 w 227"/>
                <a:gd name="T13" fmla="*/ 334 h 383"/>
                <a:gd name="T14" fmla="*/ 227 w 227"/>
                <a:gd name="T15" fmla="*/ 383 h 383"/>
                <a:gd name="T16" fmla="*/ 57 w 227"/>
                <a:gd name="T17" fmla="*/ 383 h 383"/>
                <a:gd name="T18" fmla="*/ 57 w 227"/>
                <a:gd name="T19" fmla="*/ 334 h 383"/>
                <a:gd name="T20" fmla="*/ 107 w 227"/>
                <a:gd name="T21" fmla="*/ 334 h 383"/>
                <a:gd name="T22" fmla="*/ 107 w 227"/>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83">
                  <a:moveTo>
                    <a:pt x="107" y="71"/>
                  </a:moveTo>
                  <a:lnTo>
                    <a:pt x="36" y="121"/>
                  </a:lnTo>
                  <a:lnTo>
                    <a:pt x="0" y="64"/>
                  </a:lnTo>
                  <a:lnTo>
                    <a:pt x="114" y="0"/>
                  </a:lnTo>
                  <a:lnTo>
                    <a:pt x="178" y="0"/>
                  </a:lnTo>
                  <a:lnTo>
                    <a:pt x="178" y="334"/>
                  </a:lnTo>
                  <a:lnTo>
                    <a:pt x="227" y="334"/>
                  </a:lnTo>
                  <a:lnTo>
                    <a:pt x="227" y="383"/>
                  </a:lnTo>
                  <a:lnTo>
                    <a:pt x="57" y="383"/>
                  </a:lnTo>
                  <a:lnTo>
                    <a:pt x="57" y="334"/>
                  </a:lnTo>
                  <a:lnTo>
                    <a:pt x="107" y="334"/>
                  </a:lnTo>
                  <a:lnTo>
                    <a:pt x="107"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1"/>
            <p:cNvSpPr>
              <a:spLocks noEditPoints="1"/>
            </p:cNvSpPr>
            <p:nvPr/>
          </p:nvSpPr>
          <p:spPr bwMode="auto">
            <a:xfrm>
              <a:off x="8670925" y="4217988"/>
              <a:ext cx="428625" cy="630238"/>
            </a:xfrm>
            <a:custGeom>
              <a:avLst/>
              <a:gdLst>
                <a:gd name="T0" fmla="*/ 38 w 38"/>
                <a:gd name="T1" fmla="*/ 28 h 56"/>
                <a:gd name="T2" fmla="*/ 19 w 38"/>
                <a:gd name="T3" fmla="*/ 56 h 56"/>
                <a:gd name="T4" fmla="*/ 0 w 38"/>
                <a:gd name="T5" fmla="*/ 27 h 56"/>
                <a:gd name="T6" fmla="*/ 19 w 38"/>
                <a:gd name="T7" fmla="*/ 0 h 56"/>
                <a:gd name="T8" fmla="*/ 38 w 38"/>
                <a:gd name="T9" fmla="*/ 28 h 56"/>
                <a:gd name="T10" fmla="*/ 9 w 38"/>
                <a:gd name="T11" fmla="*/ 28 h 56"/>
                <a:gd name="T12" fmla="*/ 19 w 38"/>
                <a:gd name="T13" fmla="*/ 48 h 56"/>
                <a:gd name="T14" fmla="*/ 28 w 38"/>
                <a:gd name="T15" fmla="*/ 28 h 56"/>
                <a:gd name="T16" fmla="*/ 19 w 38"/>
                <a:gd name="T17" fmla="*/ 8 h 56"/>
                <a:gd name="T18" fmla="*/ 9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1" y="56"/>
                    <a:pt x="19" y="56"/>
                  </a:cubicBezTo>
                  <a:cubicBezTo>
                    <a:pt x="6" y="56"/>
                    <a:pt x="0" y="47"/>
                    <a:pt x="0" y="27"/>
                  </a:cubicBezTo>
                  <a:cubicBezTo>
                    <a:pt x="0" y="9"/>
                    <a:pt x="6" y="0"/>
                    <a:pt x="19" y="0"/>
                  </a:cubicBezTo>
                  <a:cubicBezTo>
                    <a:pt x="31" y="0"/>
                    <a:pt x="38" y="9"/>
                    <a:pt x="38" y="28"/>
                  </a:cubicBezTo>
                  <a:close/>
                  <a:moveTo>
                    <a:pt x="9" y="28"/>
                  </a:moveTo>
                  <a:cubicBezTo>
                    <a:pt x="9" y="42"/>
                    <a:pt x="12" y="48"/>
                    <a:pt x="19" y="48"/>
                  </a:cubicBezTo>
                  <a:cubicBezTo>
                    <a:pt x="25" y="48"/>
                    <a:pt x="28" y="42"/>
                    <a:pt x="28" y="28"/>
                  </a:cubicBezTo>
                  <a:cubicBezTo>
                    <a:pt x="28" y="14"/>
                    <a:pt x="25" y="8"/>
                    <a:pt x="19" y="8"/>
                  </a:cubicBezTo>
                  <a:cubicBezTo>
                    <a:pt x="12" y="8"/>
                    <a:pt x="9" y="14"/>
                    <a:pt x="9"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2"/>
            <p:cNvSpPr>
              <a:spLocks noEditPoints="1"/>
            </p:cNvSpPr>
            <p:nvPr/>
          </p:nvSpPr>
          <p:spPr bwMode="auto">
            <a:xfrm>
              <a:off x="4899025" y="3113088"/>
              <a:ext cx="427038" cy="631825"/>
            </a:xfrm>
            <a:custGeom>
              <a:avLst/>
              <a:gdLst>
                <a:gd name="T0" fmla="*/ 38 w 38"/>
                <a:gd name="T1" fmla="*/ 28 h 56"/>
                <a:gd name="T2" fmla="*/ 19 w 38"/>
                <a:gd name="T3" fmla="*/ 56 h 56"/>
                <a:gd name="T4" fmla="*/ 0 w 38"/>
                <a:gd name="T5" fmla="*/ 28 h 56"/>
                <a:gd name="T6" fmla="*/ 19 w 38"/>
                <a:gd name="T7" fmla="*/ 0 h 56"/>
                <a:gd name="T8" fmla="*/ 38 w 38"/>
                <a:gd name="T9" fmla="*/ 28 h 56"/>
                <a:gd name="T10" fmla="*/ 9 w 38"/>
                <a:gd name="T11" fmla="*/ 28 h 56"/>
                <a:gd name="T12" fmla="*/ 19 w 38"/>
                <a:gd name="T13" fmla="*/ 48 h 56"/>
                <a:gd name="T14" fmla="*/ 28 w 38"/>
                <a:gd name="T15" fmla="*/ 28 h 56"/>
                <a:gd name="T16" fmla="*/ 19 w 38"/>
                <a:gd name="T17" fmla="*/ 8 h 56"/>
                <a:gd name="T18" fmla="*/ 9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8"/>
                  </a:cubicBezTo>
                  <a:cubicBezTo>
                    <a:pt x="0" y="9"/>
                    <a:pt x="6" y="0"/>
                    <a:pt x="19" y="0"/>
                  </a:cubicBezTo>
                  <a:cubicBezTo>
                    <a:pt x="32" y="0"/>
                    <a:pt x="38" y="9"/>
                    <a:pt x="38" y="28"/>
                  </a:cubicBezTo>
                  <a:close/>
                  <a:moveTo>
                    <a:pt x="9" y="28"/>
                  </a:moveTo>
                  <a:cubicBezTo>
                    <a:pt x="9" y="42"/>
                    <a:pt x="12" y="48"/>
                    <a:pt x="19" y="48"/>
                  </a:cubicBezTo>
                  <a:cubicBezTo>
                    <a:pt x="25" y="48"/>
                    <a:pt x="28" y="42"/>
                    <a:pt x="28" y="28"/>
                  </a:cubicBezTo>
                  <a:cubicBezTo>
                    <a:pt x="28" y="14"/>
                    <a:pt x="25" y="8"/>
                    <a:pt x="19" y="8"/>
                  </a:cubicBezTo>
                  <a:cubicBezTo>
                    <a:pt x="12" y="8"/>
                    <a:pt x="9" y="14"/>
                    <a:pt x="9"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3"/>
            <p:cNvSpPr>
              <a:spLocks/>
            </p:cNvSpPr>
            <p:nvPr/>
          </p:nvSpPr>
          <p:spPr bwMode="auto">
            <a:xfrm>
              <a:off x="5427663" y="3124200"/>
              <a:ext cx="349250" cy="609600"/>
            </a:xfrm>
            <a:custGeom>
              <a:avLst/>
              <a:gdLst>
                <a:gd name="T0" fmla="*/ 107 w 220"/>
                <a:gd name="T1" fmla="*/ 71 h 384"/>
                <a:gd name="T2" fmla="*/ 29 w 220"/>
                <a:gd name="T3" fmla="*/ 121 h 384"/>
                <a:gd name="T4" fmla="*/ 0 w 220"/>
                <a:gd name="T5" fmla="*/ 71 h 384"/>
                <a:gd name="T6" fmla="*/ 114 w 220"/>
                <a:gd name="T7" fmla="*/ 0 h 384"/>
                <a:gd name="T8" fmla="*/ 170 w 220"/>
                <a:gd name="T9" fmla="*/ 0 h 384"/>
                <a:gd name="T10" fmla="*/ 170 w 220"/>
                <a:gd name="T11" fmla="*/ 334 h 384"/>
                <a:gd name="T12" fmla="*/ 220 w 220"/>
                <a:gd name="T13" fmla="*/ 334 h 384"/>
                <a:gd name="T14" fmla="*/ 220 w 220"/>
                <a:gd name="T15" fmla="*/ 384 h 384"/>
                <a:gd name="T16" fmla="*/ 57 w 220"/>
                <a:gd name="T17" fmla="*/ 384 h 384"/>
                <a:gd name="T18" fmla="*/ 57 w 220"/>
                <a:gd name="T19" fmla="*/ 334 h 384"/>
                <a:gd name="T20" fmla="*/ 107 w 220"/>
                <a:gd name="T21" fmla="*/ 334 h 384"/>
                <a:gd name="T22" fmla="*/ 107 w 220"/>
                <a:gd name="T23" fmla="*/ 7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4">
                  <a:moveTo>
                    <a:pt x="107" y="71"/>
                  </a:moveTo>
                  <a:lnTo>
                    <a:pt x="29" y="121"/>
                  </a:lnTo>
                  <a:lnTo>
                    <a:pt x="0" y="71"/>
                  </a:lnTo>
                  <a:lnTo>
                    <a:pt x="114" y="0"/>
                  </a:lnTo>
                  <a:lnTo>
                    <a:pt x="170" y="0"/>
                  </a:lnTo>
                  <a:lnTo>
                    <a:pt x="170" y="334"/>
                  </a:lnTo>
                  <a:lnTo>
                    <a:pt x="220" y="334"/>
                  </a:lnTo>
                  <a:lnTo>
                    <a:pt x="220" y="384"/>
                  </a:lnTo>
                  <a:lnTo>
                    <a:pt x="57" y="384"/>
                  </a:lnTo>
                  <a:lnTo>
                    <a:pt x="57" y="334"/>
                  </a:lnTo>
                  <a:lnTo>
                    <a:pt x="107" y="334"/>
                  </a:lnTo>
                  <a:lnTo>
                    <a:pt x="107"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4"/>
            <p:cNvSpPr>
              <a:spLocks/>
            </p:cNvSpPr>
            <p:nvPr/>
          </p:nvSpPr>
          <p:spPr bwMode="auto">
            <a:xfrm>
              <a:off x="5934075" y="3124200"/>
              <a:ext cx="349250" cy="609600"/>
            </a:xfrm>
            <a:custGeom>
              <a:avLst/>
              <a:gdLst>
                <a:gd name="T0" fmla="*/ 107 w 220"/>
                <a:gd name="T1" fmla="*/ 71 h 384"/>
                <a:gd name="T2" fmla="*/ 29 w 220"/>
                <a:gd name="T3" fmla="*/ 121 h 384"/>
                <a:gd name="T4" fmla="*/ 0 w 220"/>
                <a:gd name="T5" fmla="*/ 71 h 384"/>
                <a:gd name="T6" fmla="*/ 114 w 220"/>
                <a:gd name="T7" fmla="*/ 0 h 384"/>
                <a:gd name="T8" fmla="*/ 171 w 220"/>
                <a:gd name="T9" fmla="*/ 0 h 384"/>
                <a:gd name="T10" fmla="*/ 171 w 220"/>
                <a:gd name="T11" fmla="*/ 334 h 384"/>
                <a:gd name="T12" fmla="*/ 220 w 220"/>
                <a:gd name="T13" fmla="*/ 334 h 384"/>
                <a:gd name="T14" fmla="*/ 220 w 220"/>
                <a:gd name="T15" fmla="*/ 384 h 384"/>
                <a:gd name="T16" fmla="*/ 57 w 220"/>
                <a:gd name="T17" fmla="*/ 384 h 384"/>
                <a:gd name="T18" fmla="*/ 57 w 220"/>
                <a:gd name="T19" fmla="*/ 334 h 384"/>
                <a:gd name="T20" fmla="*/ 107 w 220"/>
                <a:gd name="T21" fmla="*/ 334 h 384"/>
                <a:gd name="T22" fmla="*/ 107 w 220"/>
                <a:gd name="T23" fmla="*/ 7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4">
                  <a:moveTo>
                    <a:pt x="107" y="71"/>
                  </a:moveTo>
                  <a:lnTo>
                    <a:pt x="29" y="121"/>
                  </a:lnTo>
                  <a:lnTo>
                    <a:pt x="0" y="71"/>
                  </a:lnTo>
                  <a:lnTo>
                    <a:pt x="114" y="0"/>
                  </a:lnTo>
                  <a:lnTo>
                    <a:pt x="171" y="0"/>
                  </a:lnTo>
                  <a:lnTo>
                    <a:pt x="171" y="334"/>
                  </a:lnTo>
                  <a:lnTo>
                    <a:pt x="220" y="334"/>
                  </a:lnTo>
                  <a:lnTo>
                    <a:pt x="220" y="384"/>
                  </a:lnTo>
                  <a:lnTo>
                    <a:pt x="57" y="384"/>
                  </a:lnTo>
                  <a:lnTo>
                    <a:pt x="57" y="334"/>
                  </a:lnTo>
                  <a:lnTo>
                    <a:pt x="107" y="334"/>
                  </a:lnTo>
                  <a:lnTo>
                    <a:pt x="107"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5"/>
            <p:cNvSpPr>
              <a:spLocks noEditPoints="1"/>
            </p:cNvSpPr>
            <p:nvPr/>
          </p:nvSpPr>
          <p:spPr bwMode="auto">
            <a:xfrm>
              <a:off x="6418263" y="3113088"/>
              <a:ext cx="428625" cy="631825"/>
            </a:xfrm>
            <a:custGeom>
              <a:avLst/>
              <a:gdLst>
                <a:gd name="T0" fmla="*/ 38 w 38"/>
                <a:gd name="T1" fmla="*/ 28 h 56"/>
                <a:gd name="T2" fmla="*/ 19 w 38"/>
                <a:gd name="T3" fmla="*/ 56 h 56"/>
                <a:gd name="T4" fmla="*/ 0 w 38"/>
                <a:gd name="T5" fmla="*/ 28 h 56"/>
                <a:gd name="T6" fmla="*/ 19 w 38"/>
                <a:gd name="T7" fmla="*/ 0 h 56"/>
                <a:gd name="T8" fmla="*/ 38 w 38"/>
                <a:gd name="T9" fmla="*/ 28 h 56"/>
                <a:gd name="T10" fmla="*/ 9 w 38"/>
                <a:gd name="T11" fmla="*/ 28 h 56"/>
                <a:gd name="T12" fmla="*/ 19 w 38"/>
                <a:gd name="T13" fmla="*/ 48 h 56"/>
                <a:gd name="T14" fmla="*/ 28 w 38"/>
                <a:gd name="T15" fmla="*/ 28 h 56"/>
                <a:gd name="T16" fmla="*/ 19 w 38"/>
                <a:gd name="T17" fmla="*/ 8 h 56"/>
                <a:gd name="T18" fmla="*/ 9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8"/>
                  </a:cubicBezTo>
                  <a:cubicBezTo>
                    <a:pt x="0" y="9"/>
                    <a:pt x="6" y="0"/>
                    <a:pt x="19" y="0"/>
                  </a:cubicBezTo>
                  <a:cubicBezTo>
                    <a:pt x="32" y="0"/>
                    <a:pt x="38" y="9"/>
                    <a:pt x="38" y="28"/>
                  </a:cubicBezTo>
                  <a:close/>
                  <a:moveTo>
                    <a:pt x="9" y="28"/>
                  </a:moveTo>
                  <a:cubicBezTo>
                    <a:pt x="9" y="42"/>
                    <a:pt x="12" y="48"/>
                    <a:pt x="19" y="48"/>
                  </a:cubicBezTo>
                  <a:cubicBezTo>
                    <a:pt x="25" y="48"/>
                    <a:pt x="28" y="42"/>
                    <a:pt x="28" y="28"/>
                  </a:cubicBezTo>
                  <a:cubicBezTo>
                    <a:pt x="28" y="14"/>
                    <a:pt x="25" y="8"/>
                    <a:pt x="19" y="8"/>
                  </a:cubicBezTo>
                  <a:cubicBezTo>
                    <a:pt x="12" y="8"/>
                    <a:pt x="9" y="14"/>
                    <a:pt x="9"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6"/>
            <p:cNvSpPr>
              <a:spLocks noEditPoints="1"/>
            </p:cNvSpPr>
            <p:nvPr/>
          </p:nvSpPr>
          <p:spPr bwMode="auto">
            <a:xfrm>
              <a:off x="6926263" y="3113088"/>
              <a:ext cx="427038" cy="631825"/>
            </a:xfrm>
            <a:custGeom>
              <a:avLst/>
              <a:gdLst>
                <a:gd name="T0" fmla="*/ 38 w 38"/>
                <a:gd name="T1" fmla="*/ 28 h 56"/>
                <a:gd name="T2" fmla="*/ 19 w 38"/>
                <a:gd name="T3" fmla="*/ 56 h 56"/>
                <a:gd name="T4" fmla="*/ 0 w 38"/>
                <a:gd name="T5" fmla="*/ 28 h 56"/>
                <a:gd name="T6" fmla="*/ 19 w 38"/>
                <a:gd name="T7" fmla="*/ 0 h 56"/>
                <a:gd name="T8" fmla="*/ 38 w 38"/>
                <a:gd name="T9" fmla="*/ 28 h 56"/>
                <a:gd name="T10" fmla="*/ 9 w 38"/>
                <a:gd name="T11" fmla="*/ 28 h 56"/>
                <a:gd name="T12" fmla="*/ 19 w 38"/>
                <a:gd name="T13" fmla="*/ 48 h 56"/>
                <a:gd name="T14" fmla="*/ 28 w 38"/>
                <a:gd name="T15" fmla="*/ 28 h 56"/>
                <a:gd name="T16" fmla="*/ 19 w 38"/>
                <a:gd name="T17" fmla="*/ 8 h 56"/>
                <a:gd name="T18" fmla="*/ 9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8"/>
                  </a:cubicBezTo>
                  <a:cubicBezTo>
                    <a:pt x="0" y="9"/>
                    <a:pt x="6" y="0"/>
                    <a:pt x="19" y="0"/>
                  </a:cubicBezTo>
                  <a:cubicBezTo>
                    <a:pt x="32" y="0"/>
                    <a:pt x="38" y="9"/>
                    <a:pt x="38" y="28"/>
                  </a:cubicBezTo>
                  <a:close/>
                  <a:moveTo>
                    <a:pt x="9" y="28"/>
                  </a:moveTo>
                  <a:cubicBezTo>
                    <a:pt x="9" y="42"/>
                    <a:pt x="12" y="48"/>
                    <a:pt x="19" y="48"/>
                  </a:cubicBezTo>
                  <a:cubicBezTo>
                    <a:pt x="25" y="48"/>
                    <a:pt x="28" y="42"/>
                    <a:pt x="28" y="28"/>
                  </a:cubicBezTo>
                  <a:cubicBezTo>
                    <a:pt x="28" y="14"/>
                    <a:pt x="25" y="8"/>
                    <a:pt x="19" y="8"/>
                  </a:cubicBezTo>
                  <a:cubicBezTo>
                    <a:pt x="12" y="8"/>
                    <a:pt x="9" y="14"/>
                    <a:pt x="9"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7"/>
            <p:cNvSpPr>
              <a:spLocks noEditPoints="1"/>
            </p:cNvSpPr>
            <p:nvPr/>
          </p:nvSpPr>
          <p:spPr bwMode="auto">
            <a:xfrm>
              <a:off x="3952875" y="5322888"/>
              <a:ext cx="427038" cy="619125"/>
            </a:xfrm>
            <a:custGeom>
              <a:avLst/>
              <a:gdLst>
                <a:gd name="T0" fmla="*/ 38 w 38"/>
                <a:gd name="T1" fmla="*/ 28 h 55"/>
                <a:gd name="T2" fmla="*/ 19 w 38"/>
                <a:gd name="T3" fmla="*/ 55 h 55"/>
                <a:gd name="T4" fmla="*/ 0 w 38"/>
                <a:gd name="T5" fmla="*/ 27 h 55"/>
                <a:gd name="T6" fmla="*/ 19 w 38"/>
                <a:gd name="T7" fmla="*/ 0 h 55"/>
                <a:gd name="T8" fmla="*/ 38 w 38"/>
                <a:gd name="T9" fmla="*/ 28 h 55"/>
                <a:gd name="T10" fmla="*/ 9 w 38"/>
                <a:gd name="T11" fmla="*/ 27 h 55"/>
                <a:gd name="T12" fmla="*/ 19 w 38"/>
                <a:gd name="T13" fmla="*/ 48 h 55"/>
                <a:gd name="T14" fmla="*/ 28 w 38"/>
                <a:gd name="T15" fmla="*/ 28 h 55"/>
                <a:gd name="T16" fmla="*/ 19 w 38"/>
                <a:gd name="T17" fmla="*/ 7 h 55"/>
                <a:gd name="T18" fmla="*/ 9 w 38"/>
                <a:gd name="T19"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5">
                  <a:moveTo>
                    <a:pt x="38" y="28"/>
                  </a:moveTo>
                  <a:cubicBezTo>
                    <a:pt x="38" y="46"/>
                    <a:pt x="31" y="55"/>
                    <a:pt x="19" y="55"/>
                  </a:cubicBezTo>
                  <a:cubicBezTo>
                    <a:pt x="6" y="55"/>
                    <a:pt x="0" y="47"/>
                    <a:pt x="0" y="27"/>
                  </a:cubicBezTo>
                  <a:cubicBezTo>
                    <a:pt x="0" y="9"/>
                    <a:pt x="6" y="0"/>
                    <a:pt x="19" y="0"/>
                  </a:cubicBezTo>
                  <a:cubicBezTo>
                    <a:pt x="31" y="0"/>
                    <a:pt x="38" y="9"/>
                    <a:pt x="38" y="28"/>
                  </a:cubicBezTo>
                  <a:close/>
                  <a:moveTo>
                    <a:pt x="9" y="27"/>
                  </a:moveTo>
                  <a:cubicBezTo>
                    <a:pt x="9" y="41"/>
                    <a:pt x="12" y="48"/>
                    <a:pt x="19" y="48"/>
                  </a:cubicBezTo>
                  <a:cubicBezTo>
                    <a:pt x="25" y="48"/>
                    <a:pt x="28" y="41"/>
                    <a:pt x="28" y="28"/>
                  </a:cubicBezTo>
                  <a:cubicBezTo>
                    <a:pt x="28" y="14"/>
                    <a:pt x="25" y="7"/>
                    <a:pt x="19" y="7"/>
                  </a:cubicBezTo>
                  <a:cubicBezTo>
                    <a:pt x="12" y="7"/>
                    <a:pt x="9" y="14"/>
                    <a:pt x="9" y="27"/>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8"/>
            <p:cNvSpPr>
              <a:spLocks/>
            </p:cNvSpPr>
            <p:nvPr/>
          </p:nvSpPr>
          <p:spPr bwMode="auto">
            <a:xfrm>
              <a:off x="4481513" y="5334000"/>
              <a:ext cx="349250" cy="608013"/>
            </a:xfrm>
            <a:custGeom>
              <a:avLst/>
              <a:gdLst>
                <a:gd name="T0" fmla="*/ 100 w 220"/>
                <a:gd name="T1" fmla="*/ 71 h 383"/>
                <a:gd name="T2" fmla="*/ 29 w 220"/>
                <a:gd name="T3" fmla="*/ 113 h 383"/>
                <a:gd name="T4" fmla="*/ 0 w 220"/>
                <a:gd name="T5" fmla="*/ 64 h 383"/>
                <a:gd name="T6" fmla="*/ 114 w 220"/>
                <a:gd name="T7" fmla="*/ 0 h 383"/>
                <a:gd name="T8" fmla="*/ 171 w 220"/>
                <a:gd name="T9" fmla="*/ 0 h 383"/>
                <a:gd name="T10" fmla="*/ 171 w 220"/>
                <a:gd name="T11" fmla="*/ 333 h 383"/>
                <a:gd name="T12" fmla="*/ 220 w 220"/>
                <a:gd name="T13" fmla="*/ 333 h 383"/>
                <a:gd name="T14" fmla="*/ 220 w 220"/>
                <a:gd name="T15" fmla="*/ 383 h 383"/>
                <a:gd name="T16" fmla="*/ 57 w 220"/>
                <a:gd name="T17" fmla="*/ 383 h 383"/>
                <a:gd name="T18" fmla="*/ 57 w 220"/>
                <a:gd name="T19" fmla="*/ 333 h 383"/>
                <a:gd name="T20" fmla="*/ 100 w 220"/>
                <a:gd name="T21" fmla="*/ 333 h 383"/>
                <a:gd name="T22" fmla="*/ 100 w 220"/>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3">
                  <a:moveTo>
                    <a:pt x="100" y="71"/>
                  </a:moveTo>
                  <a:lnTo>
                    <a:pt x="29" y="113"/>
                  </a:lnTo>
                  <a:lnTo>
                    <a:pt x="0" y="64"/>
                  </a:lnTo>
                  <a:lnTo>
                    <a:pt x="114" y="0"/>
                  </a:lnTo>
                  <a:lnTo>
                    <a:pt x="171" y="0"/>
                  </a:lnTo>
                  <a:lnTo>
                    <a:pt x="171" y="333"/>
                  </a:lnTo>
                  <a:lnTo>
                    <a:pt x="220" y="333"/>
                  </a:lnTo>
                  <a:lnTo>
                    <a:pt x="220" y="383"/>
                  </a:lnTo>
                  <a:lnTo>
                    <a:pt x="57" y="383"/>
                  </a:lnTo>
                  <a:lnTo>
                    <a:pt x="57" y="333"/>
                  </a:lnTo>
                  <a:lnTo>
                    <a:pt x="100" y="333"/>
                  </a:lnTo>
                  <a:lnTo>
                    <a:pt x="100"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9"/>
            <p:cNvSpPr>
              <a:spLocks noEditPoints="1"/>
            </p:cNvSpPr>
            <p:nvPr/>
          </p:nvSpPr>
          <p:spPr bwMode="auto">
            <a:xfrm>
              <a:off x="4965700" y="5322888"/>
              <a:ext cx="428625" cy="619125"/>
            </a:xfrm>
            <a:custGeom>
              <a:avLst/>
              <a:gdLst>
                <a:gd name="T0" fmla="*/ 38 w 38"/>
                <a:gd name="T1" fmla="*/ 28 h 55"/>
                <a:gd name="T2" fmla="*/ 19 w 38"/>
                <a:gd name="T3" fmla="*/ 55 h 55"/>
                <a:gd name="T4" fmla="*/ 0 w 38"/>
                <a:gd name="T5" fmla="*/ 27 h 55"/>
                <a:gd name="T6" fmla="*/ 19 w 38"/>
                <a:gd name="T7" fmla="*/ 0 h 55"/>
                <a:gd name="T8" fmla="*/ 38 w 38"/>
                <a:gd name="T9" fmla="*/ 28 h 55"/>
                <a:gd name="T10" fmla="*/ 9 w 38"/>
                <a:gd name="T11" fmla="*/ 27 h 55"/>
                <a:gd name="T12" fmla="*/ 19 w 38"/>
                <a:gd name="T13" fmla="*/ 48 h 55"/>
                <a:gd name="T14" fmla="*/ 28 w 38"/>
                <a:gd name="T15" fmla="*/ 28 h 55"/>
                <a:gd name="T16" fmla="*/ 19 w 38"/>
                <a:gd name="T17" fmla="*/ 7 h 55"/>
                <a:gd name="T18" fmla="*/ 9 w 38"/>
                <a:gd name="T19"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5">
                  <a:moveTo>
                    <a:pt x="38" y="28"/>
                  </a:moveTo>
                  <a:cubicBezTo>
                    <a:pt x="38" y="46"/>
                    <a:pt x="32" y="55"/>
                    <a:pt x="19" y="55"/>
                  </a:cubicBezTo>
                  <a:cubicBezTo>
                    <a:pt x="6" y="55"/>
                    <a:pt x="0" y="47"/>
                    <a:pt x="0" y="27"/>
                  </a:cubicBezTo>
                  <a:cubicBezTo>
                    <a:pt x="0" y="9"/>
                    <a:pt x="6" y="0"/>
                    <a:pt x="19" y="0"/>
                  </a:cubicBezTo>
                  <a:cubicBezTo>
                    <a:pt x="32" y="0"/>
                    <a:pt x="38" y="9"/>
                    <a:pt x="38" y="28"/>
                  </a:cubicBezTo>
                  <a:close/>
                  <a:moveTo>
                    <a:pt x="9" y="27"/>
                  </a:moveTo>
                  <a:cubicBezTo>
                    <a:pt x="9" y="41"/>
                    <a:pt x="12" y="48"/>
                    <a:pt x="19" y="48"/>
                  </a:cubicBezTo>
                  <a:cubicBezTo>
                    <a:pt x="25" y="48"/>
                    <a:pt x="28" y="41"/>
                    <a:pt x="28" y="28"/>
                  </a:cubicBezTo>
                  <a:cubicBezTo>
                    <a:pt x="28" y="14"/>
                    <a:pt x="25" y="7"/>
                    <a:pt x="19" y="7"/>
                  </a:cubicBezTo>
                  <a:cubicBezTo>
                    <a:pt x="12" y="7"/>
                    <a:pt x="9" y="14"/>
                    <a:pt x="9" y="27"/>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0"/>
            <p:cNvSpPr>
              <a:spLocks/>
            </p:cNvSpPr>
            <p:nvPr/>
          </p:nvSpPr>
          <p:spPr bwMode="auto">
            <a:xfrm>
              <a:off x="5495925" y="5334000"/>
              <a:ext cx="349250" cy="608013"/>
            </a:xfrm>
            <a:custGeom>
              <a:avLst/>
              <a:gdLst>
                <a:gd name="T0" fmla="*/ 106 w 220"/>
                <a:gd name="T1" fmla="*/ 71 h 383"/>
                <a:gd name="T2" fmla="*/ 28 w 220"/>
                <a:gd name="T3" fmla="*/ 113 h 383"/>
                <a:gd name="T4" fmla="*/ 0 w 220"/>
                <a:gd name="T5" fmla="*/ 64 h 383"/>
                <a:gd name="T6" fmla="*/ 113 w 220"/>
                <a:gd name="T7" fmla="*/ 0 h 383"/>
                <a:gd name="T8" fmla="*/ 170 w 220"/>
                <a:gd name="T9" fmla="*/ 0 h 383"/>
                <a:gd name="T10" fmla="*/ 170 w 220"/>
                <a:gd name="T11" fmla="*/ 333 h 383"/>
                <a:gd name="T12" fmla="*/ 220 w 220"/>
                <a:gd name="T13" fmla="*/ 333 h 383"/>
                <a:gd name="T14" fmla="*/ 220 w 220"/>
                <a:gd name="T15" fmla="*/ 383 h 383"/>
                <a:gd name="T16" fmla="*/ 56 w 220"/>
                <a:gd name="T17" fmla="*/ 383 h 383"/>
                <a:gd name="T18" fmla="*/ 56 w 220"/>
                <a:gd name="T19" fmla="*/ 333 h 383"/>
                <a:gd name="T20" fmla="*/ 106 w 220"/>
                <a:gd name="T21" fmla="*/ 333 h 383"/>
                <a:gd name="T22" fmla="*/ 106 w 220"/>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3">
                  <a:moveTo>
                    <a:pt x="106" y="71"/>
                  </a:moveTo>
                  <a:lnTo>
                    <a:pt x="28" y="113"/>
                  </a:lnTo>
                  <a:lnTo>
                    <a:pt x="0" y="64"/>
                  </a:lnTo>
                  <a:lnTo>
                    <a:pt x="113" y="0"/>
                  </a:lnTo>
                  <a:lnTo>
                    <a:pt x="170" y="0"/>
                  </a:lnTo>
                  <a:lnTo>
                    <a:pt x="170" y="333"/>
                  </a:lnTo>
                  <a:lnTo>
                    <a:pt x="220" y="333"/>
                  </a:lnTo>
                  <a:lnTo>
                    <a:pt x="220" y="383"/>
                  </a:lnTo>
                  <a:lnTo>
                    <a:pt x="56" y="383"/>
                  </a:lnTo>
                  <a:lnTo>
                    <a:pt x="56" y="333"/>
                  </a:lnTo>
                  <a:lnTo>
                    <a:pt x="106" y="333"/>
                  </a:lnTo>
                  <a:lnTo>
                    <a:pt x="106"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21"/>
            <p:cNvSpPr>
              <a:spLocks/>
            </p:cNvSpPr>
            <p:nvPr/>
          </p:nvSpPr>
          <p:spPr bwMode="auto">
            <a:xfrm>
              <a:off x="6002338" y="5334000"/>
              <a:ext cx="349250" cy="608013"/>
            </a:xfrm>
            <a:custGeom>
              <a:avLst/>
              <a:gdLst>
                <a:gd name="T0" fmla="*/ 106 w 220"/>
                <a:gd name="T1" fmla="*/ 71 h 383"/>
                <a:gd name="T2" fmla="*/ 28 w 220"/>
                <a:gd name="T3" fmla="*/ 113 h 383"/>
                <a:gd name="T4" fmla="*/ 0 w 220"/>
                <a:gd name="T5" fmla="*/ 64 h 383"/>
                <a:gd name="T6" fmla="*/ 113 w 220"/>
                <a:gd name="T7" fmla="*/ 0 h 383"/>
                <a:gd name="T8" fmla="*/ 170 w 220"/>
                <a:gd name="T9" fmla="*/ 0 h 383"/>
                <a:gd name="T10" fmla="*/ 170 w 220"/>
                <a:gd name="T11" fmla="*/ 333 h 383"/>
                <a:gd name="T12" fmla="*/ 220 w 220"/>
                <a:gd name="T13" fmla="*/ 333 h 383"/>
                <a:gd name="T14" fmla="*/ 220 w 220"/>
                <a:gd name="T15" fmla="*/ 383 h 383"/>
                <a:gd name="T16" fmla="*/ 57 w 220"/>
                <a:gd name="T17" fmla="*/ 383 h 383"/>
                <a:gd name="T18" fmla="*/ 57 w 220"/>
                <a:gd name="T19" fmla="*/ 333 h 383"/>
                <a:gd name="T20" fmla="*/ 106 w 220"/>
                <a:gd name="T21" fmla="*/ 333 h 383"/>
                <a:gd name="T22" fmla="*/ 106 w 220"/>
                <a:gd name="T23" fmla="*/ 7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3">
                  <a:moveTo>
                    <a:pt x="106" y="71"/>
                  </a:moveTo>
                  <a:lnTo>
                    <a:pt x="28" y="113"/>
                  </a:lnTo>
                  <a:lnTo>
                    <a:pt x="0" y="64"/>
                  </a:lnTo>
                  <a:lnTo>
                    <a:pt x="113" y="0"/>
                  </a:lnTo>
                  <a:lnTo>
                    <a:pt x="170" y="0"/>
                  </a:lnTo>
                  <a:lnTo>
                    <a:pt x="170" y="333"/>
                  </a:lnTo>
                  <a:lnTo>
                    <a:pt x="220" y="333"/>
                  </a:lnTo>
                  <a:lnTo>
                    <a:pt x="220" y="383"/>
                  </a:lnTo>
                  <a:lnTo>
                    <a:pt x="57" y="383"/>
                  </a:lnTo>
                  <a:lnTo>
                    <a:pt x="57" y="333"/>
                  </a:lnTo>
                  <a:lnTo>
                    <a:pt x="106" y="333"/>
                  </a:lnTo>
                  <a:lnTo>
                    <a:pt x="106"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22"/>
            <p:cNvSpPr>
              <a:spLocks noEditPoints="1"/>
            </p:cNvSpPr>
            <p:nvPr/>
          </p:nvSpPr>
          <p:spPr bwMode="auto">
            <a:xfrm>
              <a:off x="6486525" y="5322888"/>
              <a:ext cx="428625" cy="619125"/>
            </a:xfrm>
            <a:custGeom>
              <a:avLst/>
              <a:gdLst>
                <a:gd name="T0" fmla="*/ 38 w 38"/>
                <a:gd name="T1" fmla="*/ 28 h 55"/>
                <a:gd name="T2" fmla="*/ 19 w 38"/>
                <a:gd name="T3" fmla="*/ 55 h 55"/>
                <a:gd name="T4" fmla="*/ 0 w 38"/>
                <a:gd name="T5" fmla="*/ 27 h 55"/>
                <a:gd name="T6" fmla="*/ 19 w 38"/>
                <a:gd name="T7" fmla="*/ 0 h 55"/>
                <a:gd name="T8" fmla="*/ 38 w 38"/>
                <a:gd name="T9" fmla="*/ 28 h 55"/>
                <a:gd name="T10" fmla="*/ 9 w 38"/>
                <a:gd name="T11" fmla="*/ 27 h 55"/>
                <a:gd name="T12" fmla="*/ 19 w 38"/>
                <a:gd name="T13" fmla="*/ 48 h 55"/>
                <a:gd name="T14" fmla="*/ 28 w 38"/>
                <a:gd name="T15" fmla="*/ 28 h 55"/>
                <a:gd name="T16" fmla="*/ 19 w 38"/>
                <a:gd name="T17" fmla="*/ 7 h 55"/>
                <a:gd name="T18" fmla="*/ 9 w 38"/>
                <a:gd name="T19"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5">
                  <a:moveTo>
                    <a:pt x="38" y="28"/>
                  </a:moveTo>
                  <a:cubicBezTo>
                    <a:pt x="38" y="46"/>
                    <a:pt x="32" y="55"/>
                    <a:pt x="19" y="55"/>
                  </a:cubicBezTo>
                  <a:cubicBezTo>
                    <a:pt x="6" y="55"/>
                    <a:pt x="0" y="47"/>
                    <a:pt x="0" y="27"/>
                  </a:cubicBezTo>
                  <a:cubicBezTo>
                    <a:pt x="0" y="9"/>
                    <a:pt x="6" y="0"/>
                    <a:pt x="19" y="0"/>
                  </a:cubicBezTo>
                  <a:cubicBezTo>
                    <a:pt x="32" y="0"/>
                    <a:pt x="38" y="9"/>
                    <a:pt x="38" y="28"/>
                  </a:cubicBezTo>
                  <a:close/>
                  <a:moveTo>
                    <a:pt x="9" y="27"/>
                  </a:moveTo>
                  <a:cubicBezTo>
                    <a:pt x="9" y="41"/>
                    <a:pt x="12" y="48"/>
                    <a:pt x="19" y="48"/>
                  </a:cubicBezTo>
                  <a:cubicBezTo>
                    <a:pt x="25" y="48"/>
                    <a:pt x="28" y="41"/>
                    <a:pt x="28" y="28"/>
                  </a:cubicBezTo>
                  <a:cubicBezTo>
                    <a:pt x="28" y="14"/>
                    <a:pt x="25" y="7"/>
                    <a:pt x="19" y="7"/>
                  </a:cubicBezTo>
                  <a:cubicBezTo>
                    <a:pt x="12" y="7"/>
                    <a:pt x="9" y="14"/>
                    <a:pt x="9" y="27"/>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23"/>
            <p:cNvSpPr>
              <a:spLocks noEditPoints="1"/>
            </p:cNvSpPr>
            <p:nvPr/>
          </p:nvSpPr>
          <p:spPr bwMode="auto">
            <a:xfrm>
              <a:off x="44450" y="3113088"/>
              <a:ext cx="428625" cy="631825"/>
            </a:xfrm>
            <a:custGeom>
              <a:avLst/>
              <a:gdLst>
                <a:gd name="T0" fmla="*/ 38 w 38"/>
                <a:gd name="T1" fmla="*/ 28 h 56"/>
                <a:gd name="T2" fmla="*/ 19 w 38"/>
                <a:gd name="T3" fmla="*/ 56 h 56"/>
                <a:gd name="T4" fmla="*/ 0 w 38"/>
                <a:gd name="T5" fmla="*/ 28 h 56"/>
                <a:gd name="T6" fmla="*/ 19 w 38"/>
                <a:gd name="T7" fmla="*/ 0 h 56"/>
                <a:gd name="T8" fmla="*/ 38 w 38"/>
                <a:gd name="T9" fmla="*/ 28 h 56"/>
                <a:gd name="T10" fmla="*/ 10 w 38"/>
                <a:gd name="T11" fmla="*/ 28 h 56"/>
                <a:gd name="T12" fmla="*/ 19 w 38"/>
                <a:gd name="T13" fmla="*/ 48 h 56"/>
                <a:gd name="T14" fmla="*/ 29 w 38"/>
                <a:gd name="T15" fmla="*/ 28 h 56"/>
                <a:gd name="T16" fmla="*/ 19 w 38"/>
                <a:gd name="T17" fmla="*/ 8 h 56"/>
                <a:gd name="T18" fmla="*/ 10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2" y="56"/>
                    <a:pt x="19" y="56"/>
                  </a:cubicBezTo>
                  <a:cubicBezTo>
                    <a:pt x="6" y="56"/>
                    <a:pt x="0" y="47"/>
                    <a:pt x="0" y="28"/>
                  </a:cubicBezTo>
                  <a:cubicBezTo>
                    <a:pt x="0" y="9"/>
                    <a:pt x="7" y="0"/>
                    <a:pt x="19" y="0"/>
                  </a:cubicBezTo>
                  <a:cubicBezTo>
                    <a:pt x="32" y="0"/>
                    <a:pt x="38" y="9"/>
                    <a:pt x="38" y="28"/>
                  </a:cubicBezTo>
                  <a:close/>
                  <a:moveTo>
                    <a:pt x="10" y="28"/>
                  </a:moveTo>
                  <a:cubicBezTo>
                    <a:pt x="10" y="42"/>
                    <a:pt x="13" y="48"/>
                    <a:pt x="19" y="48"/>
                  </a:cubicBezTo>
                  <a:cubicBezTo>
                    <a:pt x="26" y="48"/>
                    <a:pt x="29" y="42"/>
                    <a:pt x="29" y="28"/>
                  </a:cubicBezTo>
                  <a:cubicBezTo>
                    <a:pt x="29" y="14"/>
                    <a:pt x="26" y="8"/>
                    <a:pt x="19" y="8"/>
                  </a:cubicBezTo>
                  <a:cubicBezTo>
                    <a:pt x="13" y="8"/>
                    <a:pt x="10" y="14"/>
                    <a:pt x="10"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4"/>
            <p:cNvSpPr>
              <a:spLocks/>
            </p:cNvSpPr>
            <p:nvPr/>
          </p:nvSpPr>
          <p:spPr bwMode="auto">
            <a:xfrm>
              <a:off x="574675" y="3124200"/>
              <a:ext cx="360363" cy="609600"/>
            </a:xfrm>
            <a:custGeom>
              <a:avLst/>
              <a:gdLst>
                <a:gd name="T0" fmla="*/ 106 w 227"/>
                <a:gd name="T1" fmla="*/ 71 h 384"/>
                <a:gd name="T2" fmla="*/ 35 w 227"/>
                <a:gd name="T3" fmla="*/ 121 h 384"/>
                <a:gd name="T4" fmla="*/ 0 w 227"/>
                <a:gd name="T5" fmla="*/ 71 h 384"/>
                <a:gd name="T6" fmla="*/ 113 w 227"/>
                <a:gd name="T7" fmla="*/ 0 h 384"/>
                <a:gd name="T8" fmla="*/ 177 w 227"/>
                <a:gd name="T9" fmla="*/ 0 h 384"/>
                <a:gd name="T10" fmla="*/ 177 w 227"/>
                <a:gd name="T11" fmla="*/ 334 h 384"/>
                <a:gd name="T12" fmla="*/ 227 w 227"/>
                <a:gd name="T13" fmla="*/ 334 h 384"/>
                <a:gd name="T14" fmla="*/ 227 w 227"/>
                <a:gd name="T15" fmla="*/ 384 h 384"/>
                <a:gd name="T16" fmla="*/ 56 w 227"/>
                <a:gd name="T17" fmla="*/ 384 h 384"/>
                <a:gd name="T18" fmla="*/ 56 w 227"/>
                <a:gd name="T19" fmla="*/ 334 h 384"/>
                <a:gd name="T20" fmla="*/ 106 w 227"/>
                <a:gd name="T21" fmla="*/ 334 h 384"/>
                <a:gd name="T22" fmla="*/ 106 w 227"/>
                <a:gd name="T23" fmla="*/ 7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84">
                  <a:moveTo>
                    <a:pt x="106" y="71"/>
                  </a:moveTo>
                  <a:lnTo>
                    <a:pt x="35" y="121"/>
                  </a:lnTo>
                  <a:lnTo>
                    <a:pt x="0" y="71"/>
                  </a:lnTo>
                  <a:lnTo>
                    <a:pt x="113" y="0"/>
                  </a:lnTo>
                  <a:lnTo>
                    <a:pt x="177" y="0"/>
                  </a:lnTo>
                  <a:lnTo>
                    <a:pt x="177" y="334"/>
                  </a:lnTo>
                  <a:lnTo>
                    <a:pt x="227" y="334"/>
                  </a:lnTo>
                  <a:lnTo>
                    <a:pt x="227" y="384"/>
                  </a:lnTo>
                  <a:lnTo>
                    <a:pt x="56" y="384"/>
                  </a:lnTo>
                  <a:lnTo>
                    <a:pt x="56" y="334"/>
                  </a:lnTo>
                  <a:lnTo>
                    <a:pt x="106" y="334"/>
                  </a:lnTo>
                  <a:lnTo>
                    <a:pt x="106"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5"/>
            <p:cNvSpPr>
              <a:spLocks noEditPoints="1"/>
            </p:cNvSpPr>
            <p:nvPr/>
          </p:nvSpPr>
          <p:spPr bwMode="auto">
            <a:xfrm>
              <a:off x="1069975" y="3113088"/>
              <a:ext cx="427038" cy="631825"/>
            </a:xfrm>
            <a:custGeom>
              <a:avLst/>
              <a:gdLst>
                <a:gd name="T0" fmla="*/ 38 w 38"/>
                <a:gd name="T1" fmla="*/ 28 h 56"/>
                <a:gd name="T2" fmla="*/ 19 w 38"/>
                <a:gd name="T3" fmla="*/ 56 h 56"/>
                <a:gd name="T4" fmla="*/ 0 w 38"/>
                <a:gd name="T5" fmla="*/ 28 h 56"/>
                <a:gd name="T6" fmla="*/ 19 w 38"/>
                <a:gd name="T7" fmla="*/ 0 h 56"/>
                <a:gd name="T8" fmla="*/ 38 w 38"/>
                <a:gd name="T9" fmla="*/ 28 h 56"/>
                <a:gd name="T10" fmla="*/ 9 w 38"/>
                <a:gd name="T11" fmla="*/ 28 h 56"/>
                <a:gd name="T12" fmla="*/ 19 w 38"/>
                <a:gd name="T13" fmla="*/ 48 h 56"/>
                <a:gd name="T14" fmla="*/ 28 w 38"/>
                <a:gd name="T15" fmla="*/ 28 h 56"/>
                <a:gd name="T16" fmla="*/ 19 w 38"/>
                <a:gd name="T17" fmla="*/ 8 h 56"/>
                <a:gd name="T18" fmla="*/ 9 w 38"/>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6">
                  <a:moveTo>
                    <a:pt x="38" y="28"/>
                  </a:moveTo>
                  <a:cubicBezTo>
                    <a:pt x="38" y="47"/>
                    <a:pt x="31" y="56"/>
                    <a:pt x="19" y="56"/>
                  </a:cubicBezTo>
                  <a:cubicBezTo>
                    <a:pt x="6" y="56"/>
                    <a:pt x="0" y="47"/>
                    <a:pt x="0" y="28"/>
                  </a:cubicBezTo>
                  <a:cubicBezTo>
                    <a:pt x="0" y="9"/>
                    <a:pt x="6" y="0"/>
                    <a:pt x="19" y="0"/>
                  </a:cubicBezTo>
                  <a:cubicBezTo>
                    <a:pt x="31" y="0"/>
                    <a:pt x="38" y="9"/>
                    <a:pt x="38" y="28"/>
                  </a:cubicBezTo>
                  <a:close/>
                  <a:moveTo>
                    <a:pt x="9" y="28"/>
                  </a:moveTo>
                  <a:cubicBezTo>
                    <a:pt x="9" y="42"/>
                    <a:pt x="12" y="48"/>
                    <a:pt x="19" y="48"/>
                  </a:cubicBezTo>
                  <a:cubicBezTo>
                    <a:pt x="25" y="48"/>
                    <a:pt x="28" y="42"/>
                    <a:pt x="28" y="28"/>
                  </a:cubicBezTo>
                  <a:cubicBezTo>
                    <a:pt x="28" y="14"/>
                    <a:pt x="25" y="8"/>
                    <a:pt x="19" y="8"/>
                  </a:cubicBezTo>
                  <a:cubicBezTo>
                    <a:pt x="12" y="8"/>
                    <a:pt x="9" y="14"/>
                    <a:pt x="9" y="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6"/>
            <p:cNvSpPr>
              <a:spLocks/>
            </p:cNvSpPr>
            <p:nvPr/>
          </p:nvSpPr>
          <p:spPr bwMode="auto">
            <a:xfrm>
              <a:off x="1598613" y="3124200"/>
              <a:ext cx="349250" cy="609600"/>
            </a:xfrm>
            <a:custGeom>
              <a:avLst/>
              <a:gdLst>
                <a:gd name="T0" fmla="*/ 99 w 220"/>
                <a:gd name="T1" fmla="*/ 71 h 384"/>
                <a:gd name="T2" fmla="*/ 29 w 220"/>
                <a:gd name="T3" fmla="*/ 121 h 384"/>
                <a:gd name="T4" fmla="*/ 0 w 220"/>
                <a:gd name="T5" fmla="*/ 71 h 384"/>
                <a:gd name="T6" fmla="*/ 107 w 220"/>
                <a:gd name="T7" fmla="*/ 0 h 384"/>
                <a:gd name="T8" fmla="*/ 170 w 220"/>
                <a:gd name="T9" fmla="*/ 0 h 384"/>
                <a:gd name="T10" fmla="*/ 170 w 220"/>
                <a:gd name="T11" fmla="*/ 334 h 384"/>
                <a:gd name="T12" fmla="*/ 220 w 220"/>
                <a:gd name="T13" fmla="*/ 334 h 384"/>
                <a:gd name="T14" fmla="*/ 220 w 220"/>
                <a:gd name="T15" fmla="*/ 384 h 384"/>
                <a:gd name="T16" fmla="*/ 57 w 220"/>
                <a:gd name="T17" fmla="*/ 384 h 384"/>
                <a:gd name="T18" fmla="*/ 57 w 220"/>
                <a:gd name="T19" fmla="*/ 334 h 384"/>
                <a:gd name="T20" fmla="*/ 99 w 220"/>
                <a:gd name="T21" fmla="*/ 334 h 384"/>
                <a:gd name="T22" fmla="*/ 99 w 220"/>
                <a:gd name="T23" fmla="*/ 7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384">
                  <a:moveTo>
                    <a:pt x="99" y="71"/>
                  </a:moveTo>
                  <a:lnTo>
                    <a:pt x="29" y="121"/>
                  </a:lnTo>
                  <a:lnTo>
                    <a:pt x="0" y="71"/>
                  </a:lnTo>
                  <a:lnTo>
                    <a:pt x="107" y="0"/>
                  </a:lnTo>
                  <a:lnTo>
                    <a:pt x="170" y="0"/>
                  </a:lnTo>
                  <a:lnTo>
                    <a:pt x="170" y="334"/>
                  </a:lnTo>
                  <a:lnTo>
                    <a:pt x="220" y="334"/>
                  </a:lnTo>
                  <a:lnTo>
                    <a:pt x="220" y="384"/>
                  </a:lnTo>
                  <a:lnTo>
                    <a:pt x="57" y="384"/>
                  </a:lnTo>
                  <a:lnTo>
                    <a:pt x="57" y="334"/>
                  </a:lnTo>
                  <a:lnTo>
                    <a:pt x="99" y="334"/>
                  </a:lnTo>
                  <a:lnTo>
                    <a:pt x="99" y="71"/>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9" name="Rectangle 25"/>
          <p:cNvSpPr>
            <a:spLocks noChangeArrowheads="1"/>
          </p:cNvSpPr>
          <p:nvPr>
            <p:custDataLst>
              <p:tags r:id="rId20"/>
            </p:custDataLst>
          </p:nvPr>
        </p:nvSpPr>
        <p:spPr bwMode="auto">
          <a:xfrm>
            <a:off x="934954" y="5301234"/>
            <a:ext cx="2090237" cy="426352"/>
          </a:xfrm>
          <a:prstGeom prst="rect">
            <a:avLst/>
          </a:prstGeom>
          <a:gradFill rotWithShape="0">
            <a:gsLst>
              <a:gs pos="0">
                <a:srgbClr val="FFFFFF"/>
              </a:gs>
              <a:gs pos="100000">
                <a:srgbClr val="DDDDDD"/>
              </a:gs>
            </a:gsLst>
            <a:lin ang="0" scaled="1"/>
          </a:gradFill>
          <a:ln w="9525">
            <a:noFill/>
            <a:miter lim="800000"/>
            <a:headEnd/>
            <a:tailEnd/>
          </a:ln>
        </p:spPr>
        <p:txBody>
          <a:bodyPr lIns="72000" tIns="0" rIns="0" bIns="0" anchor="ctr"/>
          <a:lstStyle/>
          <a:p>
            <a:pPr>
              <a:lnSpc>
                <a:spcPct val="90000"/>
              </a:lnSpc>
              <a:buFontTx/>
              <a:buNone/>
            </a:pPr>
            <a:r>
              <a:rPr lang="en-US" sz="1400" b="1" dirty="0" smtClean="0">
                <a:solidFill>
                  <a:srgbClr val="000000"/>
                </a:solidFill>
                <a:cs typeface="Arial" charset="0"/>
              </a:rPr>
              <a:t>Digitalisation</a:t>
            </a:r>
            <a:endParaRPr lang="en-US" sz="1400" b="1" dirty="0">
              <a:solidFill>
                <a:srgbClr val="000000"/>
              </a:solidFill>
              <a:cs typeface="Arial" charset="0"/>
            </a:endParaRPr>
          </a:p>
        </p:txBody>
      </p:sp>
    </p:spTree>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C:\Users\FEEDBA~1\AppData\Local\Temp\vmware-feedbackuser\VMwareDnD\fe064ed0\Digitalization_Day_Background_blue_dark_hexadezimal_code_kor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75" y="1268413"/>
            <a:ext cx="12196800" cy="50850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GB" dirty="0" smtClean="0"/>
              <a:t>Strategy is no longer a static annual event</a:t>
            </a:r>
            <a:endParaRPr lang="en-GB" dirty="0"/>
          </a:p>
        </p:txBody>
      </p:sp>
      <p:grpSp>
        <p:nvGrpSpPr>
          <p:cNvPr id="3" name="Group 29"/>
          <p:cNvGrpSpPr/>
          <p:nvPr/>
        </p:nvGrpSpPr>
        <p:grpSpPr>
          <a:xfrm>
            <a:off x="476382" y="1589636"/>
            <a:ext cx="11083924" cy="4212958"/>
            <a:chOff x="631825" y="1547762"/>
            <a:chExt cx="11083924" cy="3459946"/>
          </a:xfrm>
        </p:grpSpPr>
        <p:sp>
          <p:nvSpPr>
            <p:cNvPr id="29" name="Rectangle 28"/>
            <p:cNvSpPr/>
            <p:nvPr/>
          </p:nvSpPr>
          <p:spPr bwMode="auto">
            <a:xfrm>
              <a:off x="631825" y="1547762"/>
              <a:ext cx="11083924" cy="3459946"/>
            </a:xfrm>
            <a:prstGeom prst="rect">
              <a:avLst/>
            </a:prstGeom>
            <a:solidFill>
              <a:schemeClr val="bg1">
                <a:alpha val="89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b="1" dirty="0" smtClean="0">
                <a:solidFill>
                  <a:schemeClr val="tx1"/>
                </a:solidFill>
              </a:endParaRPr>
            </a:p>
          </p:txBody>
        </p:sp>
        <p:pic>
          <p:nvPicPr>
            <p:cNvPr id="4" name="Grafik 4"/>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85754" y="2610690"/>
              <a:ext cx="8096781" cy="1514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6"/>
            <p:cNvSpPr>
              <a:spLocks noChangeArrowheads="1"/>
            </p:cNvSpPr>
            <p:nvPr/>
          </p:nvSpPr>
          <p:spPr bwMode="auto">
            <a:xfrm>
              <a:off x="1225881" y="2501954"/>
              <a:ext cx="265980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smtClean="0">
                  <a:solidFill>
                    <a:srgbClr val="006487"/>
                  </a:solidFill>
                </a:rPr>
                <a:t>Digitalisation , AI, AR</a:t>
              </a:r>
              <a:endParaRPr lang="en-US" altLang="en-US" b="1" dirty="0">
                <a:solidFill>
                  <a:srgbClr val="006487"/>
                </a:solidFill>
              </a:endParaRPr>
            </a:p>
          </p:txBody>
        </p:sp>
        <p:sp>
          <p:nvSpPr>
            <p:cNvPr id="7" name="Rechteck 7"/>
            <p:cNvSpPr>
              <a:spLocks noChangeArrowheads="1"/>
            </p:cNvSpPr>
            <p:nvPr/>
          </p:nvSpPr>
          <p:spPr bwMode="auto">
            <a:xfrm>
              <a:off x="947647" y="2798077"/>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2000" b="1" dirty="0">
                  <a:solidFill>
                    <a:srgbClr val="505A64"/>
                  </a:solidFill>
                </a:rPr>
                <a:t>Globalisation</a:t>
              </a:r>
            </a:p>
          </p:txBody>
        </p:sp>
        <p:sp>
          <p:nvSpPr>
            <p:cNvPr id="8" name="Rechteck 9"/>
            <p:cNvSpPr>
              <a:spLocks noChangeArrowheads="1"/>
            </p:cNvSpPr>
            <p:nvPr/>
          </p:nvSpPr>
          <p:spPr bwMode="auto">
            <a:xfrm>
              <a:off x="1153228" y="3131038"/>
              <a:ext cx="19192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a:solidFill>
                    <a:srgbClr val="AAB414"/>
                  </a:solidFill>
                  <a:ea typeface="ＭＳ Ｐゴシック" charset="-128"/>
                </a:rPr>
                <a:t>Automation</a:t>
              </a:r>
            </a:p>
          </p:txBody>
        </p:sp>
        <p:sp>
          <p:nvSpPr>
            <p:cNvPr id="9" name="Rechteck 10"/>
            <p:cNvSpPr>
              <a:spLocks noChangeArrowheads="1"/>
            </p:cNvSpPr>
            <p:nvPr/>
          </p:nvSpPr>
          <p:spPr bwMode="auto">
            <a:xfrm>
              <a:off x="760321" y="4254103"/>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smtClean="0">
                  <a:solidFill>
                    <a:srgbClr val="505A64"/>
                  </a:solidFill>
                </a:rPr>
                <a:t>Urbanization</a:t>
              </a:r>
              <a:endParaRPr lang="en-US" altLang="en-US" sz="1600" b="1" dirty="0">
                <a:solidFill>
                  <a:srgbClr val="505A64"/>
                </a:solidFill>
              </a:endParaRPr>
            </a:p>
          </p:txBody>
        </p:sp>
        <p:sp>
          <p:nvSpPr>
            <p:cNvPr id="10" name="Rechteck 11"/>
            <p:cNvSpPr>
              <a:spLocks noChangeArrowheads="1"/>
            </p:cNvSpPr>
            <p:nvPr/>
          </p:nvSpPr>
          <p:spPr bwMode="auto">
            <a:xfrm>
              <a:off x="760321" y="3466000"/>
              <a:ext cx="2187576"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a:solidFill>
                    <a:srgbClr val="505A64"/>
                  </a:solidFill>
                </a:rPr>
                <a:t>Demographic change</a:t>
              </a:r>
            </a:p>
          </p:txBody>
        </p:sp>
        <p:sp>
          <p:nvSpPr>
            <p:cNvPr id="11" name="Rechteck 13"/>
            <p:cNvSpPr>
              <a:spLocks noChangeArrowheads="1"/>
            </p:cNvSpPr>
            <p:nvPr/>
          </p:nvSpPr>
          <p:spPr bwMode="auto">
            <a:xfrm>
              <a:off x="760321" y="2228004"/>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a:solidFill>
                    <a:srgbClr val="505A64"/>
                  </a:solidFill>
                </a:rPr>
                <a:t>Climate change</a:t>
              </a:r>
            </a:p>
          </p:txBody>
        </p:sp>
        <p:sp>
          <p:nvSpPr>
            <p:cNvPr id="12" name="Rechteck 14"/>
            <p:cNvSpPr>
              <a:spLocks noChangeArrowheads="1"/>
            </p:cNvSpPr>
            <p:nvPr/>
          </p:nvSpPr>
          <p:spPr bwMode="auto">
            <a:xfrm>
              <a:off x="3885686" y="3958828"/>
              <a:ext cx="1821200" cy="393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a:solidFill>
                    <a:schemeClr val="tx2">
                      <a:lumMod val="75000"/>
                      <a:lumOff val="25000"/>
                    </a:schemeClr>
                  </a:solidFill>
                  <a:latin typeface="Siemens Sans Roman" charset="0"/>
                  <a:ea typeface="Siemens Sans Roman" charset="0"/>
                  <a:cs typeface="Siemens Sans Roman" charset="0"/>
                </a:rPr>
                <a:t>How to produce </a:t>
              </a:r>
              <a:r>
                <a:rPr lang="en-GB" altLang="en-US" sz="1600" b="1" dirty="0" smtClean="0">
                  <a:solidFill>
                    <a:schemeClr val="tx2">
                      <a:lumMod val="75000"/>
                      <a:lumOff val="25000"/>
                    </a:schemeClr>
                  </a:solidFill>
                  <a:latin typeface="Siemens Sans Roman" charset="0"/>
                  <a:ea typeface="Siemens Sans Roman" charset="0"/>
                  <a:cs typeface="Siemens Sans Roman" charset="0"/>
                </a:rPr>
                <a:t>clean energy? </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sp>
          <p:nvSpPr>
            <p:cNvPr id="13" name="Rechteck 15"/>
            <p:cNvSpPr>
              <a:spLocks noChangeArrowheads="1"/>
            </p:cNvSpPr>
            <p:nvPr/>
          </p:nvSpPr>
          <p:spPr bwMode="auto">
            <a:xfrm>
              <a:off x="7717085" y="2450000"/>
              <a:ext cx="19208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US" altLang="en-US" sz="1200" b="1" dirty="0">
                <a:solidFill>
                  <a:srgbClr val="505A64"/>
                </a:solidFill>
              </a:endParaRPr>
            </a:p>
          </p:txBody>
        </p:sp>
        <p:sp>
          <p:nvSpPr>
            <p:cNvPr id="15" name="Rechteck 17"/>
            <p:cNvSpPr>
              <a:spLocks noChangeArrowheads="1"/>
            </p:cNvSpPr>
            <p:nvPr/>
          </p:nvSpPr>
          <p:spPr bwMode="auto">
            <a:xfrm>
              <a:off x="8677522" y="3823890"/>
              <a:ext cx="220662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smtClean="0">
                  <a:solidFill>
                    <a:schemeClr val="tx2">
                      <a:lumMod val="75000"/>
                      <a:lumOff val="25000"/>
                    </a:schemeClr>
                  </a:solidFill>
                  <a:latin typeface="Siemens Sans Roman" charset="0"/>
                  <a:ea typeface="Siemens Sans Roman" charset="0"/>
                  <a:cs typeface="Siemens Sans Roman" charset="0"/>
                </a:rPr>
                <a:t>How can we improve the cost and quality of health </a:t>
              </a:r>
              <a:r>
                <a:rPr lang="en-GB" altLang="en-US" sz="1600" b="1" dirty="0">
                  <a:solidFill>
                    <a:schemeClr val="tx2">
                      <a:lumMod val="75000"/>
                      <a:lumOff val="25000"/>
                    </a:schemeClr>
                  </a:solidFill>
                  <a:latin typeface="Siemens Sans Roman" charset="0"/>
                  <a:ea typeface="Siemens Sans Roman" charset="0"/>
                  <a:cs typeface="Siemens Sans Roman" charset="0"/>
                </a:rPr>
                <a:t>care for </a:t>
              </a:r>
              <a:r>
                <a:rPr lang="en-GB" altLang="en-US" sz="1600" b="1" dirty="0" smtClean="0">
                  <a:solidFill>
                    <a:schemeClr val="tx2">
                      <a:lumMod val="75000"/>
                      <a:lumOff val="25000"/>
                    </a:schemeClr>
                  </a:solidFill>
                  <a:latin typeface="Siemens Sans Roman" charset="0"/>
                  <a:ea typeface="Siemens Sans Roman" charset="0"/>
                  <a:cs typeface="Siemens Sans Roman" charset="0"/>
                </a:rPr>
                <a:t>an ageing </a:t>
              </a:r>
              <a:r>
                <a:rPr lang="en-GB" altLang="en-US" sz="1600" b="1" dirty="0">
                  <a:solidFill>
                    <a:schemeClr val="tx2">
                      <a:lumMod val="75000"/>
                      <a:lumOff val="25000"/>
                    </a:schemeClr>
                  </a:solidFill>
                  <a:latin typeface="Siemens Sans Roman" charset="0"/>
                  <a:ea typeface="Siemens Sans Roman" charset="0"/>
                  <a:cs typeface="Siemens Sans Roman" charset="0"/>
                </a:rPr>
                <a:t>growing </a:t>
              </a:r>
              <a:r>
                <a:rPr lang="en-GB" altLang="en-US" sz="1600" b="1" dirty="0" smtClean="0">
                  <a:solidFill>
                    <a:schemeClr val="tx2">
                      <a:lumMod val="75000"/>
                      <a:lumOff val="25000"/>
                    </a:schemeClr>
                  </a:solidFill>
                  <a:latin typeface="Siemens Sans Roman" charset="0"/>
                  <a:ea typeface="Siemens Sans Roman" charset="0"/>
                  <a:cs typeface="Siemens Sans Roman" charset="0"/>
                </a:rPr>
                <a:t>population? </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sp>
          <p:nvSpPr>
            <p:cNvPr id="16" name="Rechteck 19"/>
            <p:cNvSpPr>
              <a:spLocks noChangeArrowheads="1"/>
            </p:cNvSpPr>
            <p:nvPr/>
          </p:nvSpPr>
          <p:spPr bwMode="auto">
            <a:xfrm>
              <a:off x="10583315" y="2505562"/>
              <a:ext cx="9731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006487"/>
                </a:solidFill>
              </a:endParaRPr>
            </a:p>
          </p:txBody>
        </p:sp>
        <p:sp>
          <p:nvSpPr>
            <p:cNvPr id="17" name="Rechteck 21"/>
            <p:cNvSpPr>
              <a:spLocks noChangeArrowheads="1"/>
            </p:cNvSpPr>
            <p:nvPr/>
          </p:nvSpPr>
          <p:spPr bwMode="auto">
            <a:xfrm>
              <a:off x="10583315" y="2838937"/>
              <a:ext cx="9731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AAB414"/>
                </a:solidFill>
              </a:endParaRPr>
            </a:p>
          </p:txBody>
        </p:sp>
        <p:sp>
          <p:nvSpPr>
            <p:cNvPr id="18" name="Rechteck 22"/>
            <p:cNvSpPr>
              <a:spLocks noChangeArrowheads="1"/>
            </p:cNvSpPr>
            <p:nvPr/>
          </p:nvSpPr>
          <p:spPr bwMode="auto">
            <a:xfrm>
              <a:off x="10583315" y="3151675"/>
              <a:ext cx="97313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55A0B9"/>
                </a:solidFill>
              </a:endParaRPr>
            </a:p>
          </p:txBody>
        </p:sp>
        <p:pic>
          <p:nvPicPr>
            <p:cNvPr id="19" name="Grafik 23"/>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2584359" y="2285154"/>
              <a:ext cx="963613"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24"/>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1989047" y="2899677"/>
              <a:ext cx="1255712" cy="4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5"/>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1917609" y="3415200"/>
              <a:ext cx="103028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6"/>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55784" y="3619987"/>
              <a:ext cx="55403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fik 27"/>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2112872" y="4470003"/>
              <a:ext cx="1030287"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hteck 28"/>
            <p:cNvSpPr>
              <a:spLocks noChangeArrowheads="1"/>
            </p:cNvSpPr>
            <p:nvPr/>
          </p:nvSpPr>
          <p:spPr bwMode="auto">
            <a:xfrm>
              <a:off x="698410" y="3859167"/>
              <a:ext cx="2249487" cy="19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smtClean="0">
                  <a:solidFill>
                    <a:srgbClr val="2FB8CE"/>
                  </a:solidFill>
                </a:rPr>
                <a:t>E - Electrification</a:t>
              </a:r>
              <a:endParaRPr lang="en-US" altLang="en-US" b="1" dirty="0">
                <a:solidFill>
                  <a:srgbClr val="2FB8CE"/>
                </a:solidFill>
              </a:endParaRPr>
            </a:p>
          </p:txBody>
        </p:sp>
        <p:sp>
          <p:nvSpPr>
            <p:cNvPr id="25" name="Rechteck 17"/>
            <p:cNvSpPr>
              <a:spLocks noChangeArrowheads="1"/>
            </p:cNvSpPr>
            <p:nvPr/>
          </p:nvSpPr>
          <p:spPr bwMode="auto">
            <a:xfrm>
              <a:off x="6344046" y="1867299"/>
              <a:ext cx="2442221" cy="91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a:solidFill>
                    <a:schemeClr val="tx2">
                      <a:lumMod val="75000"/>
                      <a:lumOff val="25000"/>
                    </a:schemeClr>
                  </a:solidFill>
                  <a:latin typeface="Siemens Sans Roman" charset="0"/>
                  <a:ea typeface="Siemens Sans Roman" charset="0"/>
                  <a:cs typeface="Siemens Sans Roman" charset="0"/>
                </a:rPr>
                <a:t>How to provide infrastructure </a:t>
              </a:r>
              <a:r>
                <a:rPr lang="en-GB" altLang="en-US" sz="1600" b="1" dirty="0" smtClean="0">
                  <a:solidFill>
                    <a:schemeClr val="tx2">
                      <a:lumMod val="75000"/>
                      <a:lumOff val="25000"/>
                    </a:schemeClr>
                  </a:solidFill>
                  <a:latin typeface="Siemens Sans Roman" charset="0"/>
                  <a:ea typeface="Siemens Sans Roman" charset="0"/>
                  <a:cs typeface="Siemens Sans Roman" charset="0"/>
                </a:rPr>
                <a:t>and </a:t>
              </a:r>
              <a:r>
                <a:rPr lang="en-GB" altLang="en-US" sz="1600" b="1" dirty="0">
                  <a:solidFill>
                    <a:schemeClr val="tx2">
                      <a:lumMod val="75000"/>
                      <a:lumOff val="25000"/>
                    </a:schemeClr>
                  </a:solidFill>
                  <a:latin typeface="Siemens Sans Roman" charset="0"/>
                  <a:ea typeface="Siemens Sans Roman" charset="0"/>
                  <a:cs typeface="Siemens Sans Roman" charset="0"/>
                </a:rPr>
                <a:t>technology </a:t>
              </a:r>
              <a:r>
                <a:rPr lang="en-GB" altLang="en-US" sz="1600" b="1" dirty="0" smtClean="0">
                  <a:solidFill>
                    <a:schemeClr val="tx2">
                      <a:lumMod val="75000"/>
                      <a:lumOff val="25000"/>
                    </a:schemeClr>
                  </a:solidFill>
                  <a:latin typeface="Siemens Sans Roman" charset="0"/>
                  <a:ea typeface="Siemens Sans Roman" charset="0"/>
                  <a:cs typeface="Siemens Sans Roman" charset="0"/>
                </a:rPr>
                <a:t>for mega cities  </a:t>
              </a:r>
              <a:r>
                <a:rPr lang="en-GB" altLang="en-US" sz="1600" b="1" dirty="0">
                  <a:solidFill>
                    <a:schemeClr val="tx2">
                      <a:lumMod val="75000"/>
                      <a:lumOff val="25000"/>
                    </a:schemeClr>
                  </a:solidFill>
                  <a:latin typeface="Siemens Sans Roman" charset="0"/>
                  <a:ea typeface="Siemens Sans Roman" charset="0"/>
                  <a:cs typeface="Siemens Sans Roman" charset="0"/>
                </a:rPr>
                <a:t>and smart factories </a:t>
              </a:r>
              <a:r>
                <a:rPr lang="en-GB" altLang="en-US" sz="1600" b="1" dirty="0" smtClean="0">
                  <a:solidFill>
                    <a:schemeClr val="tx2">
                      <a:lumMod val="75000"/>
                      <a:lumOff val="25000"/>
                    </a:schemeClr>
                  </a:solidFill>
                  <a:latin typeface="Siemens Sans Roman" charset="0"/>
                  <a:ea typeface="Siemens Sans Roman" charset="0"/>
                  <a:cs typeface="Siemens Sans Roman" charset="0"/>
                </a:rPr>
                <a:t>?</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grpSp>
      <p:sp>
        <p:nvSpPr>
          <p:cNvPr id="27" name="Rechteck 13"/>
          <p:cNvSpPr>
            <a:spLocks noChangeArrowheads="1"/>
          </p:cNvSpPr>
          <p:nvPr/>
        </p:nvSpPr>
        <p:spPr bwMode="auto">
          <a:xfrm>
            <a:off x="646328" y="1978716"/>
            <a:ext cx="1920875" cy="26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smtClean="0">
                <a:solidFill>
                  <a:srgbClr val="505A64"/>
                </a:solidFill>
              </a:rPr>
              <a:t>Geo shift to Asia </a:t>
            </a:r>
            <a:endParaRPr lang="en-US" altLang="en-US" sz="1600" b="1" dirty="0">
              <a:solidFill>
                <a:srgbClr val="505A64"/>
              </a:solidFill>
            </a:endParaRPr>
          </a:p>
        </p:txBody>
      </p:sp>
      <p:pic>
        <p:nvPicPr>
          <p:cNvPr id="309251"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92598" y="3450093"/>
            <a:ext cx="1035819" cy="492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125745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C:\Users\FEEDBA~1\AppData\Local\Temp\vmware-feedbackuser\VMwareDnD\fe064ed0\Digitalization_Day_Background_blue_dark_hexadezimal_code_kor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75" y="1268413"/>
            <a:ext cx="12196800" cy="50850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GB" dirty="0" smtClean="0"/>
              <a:t>Strategy is no longer a static annual event – it must continue to evolve</a:t>
            </a:r>
            <a:endParaRPr lang="en-GB" dirty="0"/>
          </a:p>
        </p:txBody>
      </p:sp>
      <p:grpSp>
        <p:nvGrpSpPr>
          <p:cNvPr id="3" name="Group 29"/>
          <p:cNvGrpSpPr/>
          <p:nvPr/>
        </p:nvGrpSpPr>
        <p:grpSpPr>
          <a:xfrm>
            <a:off x="476382" y="1589636"/>
            <a:ext cx="11083924" cy="4212958"/>
            <a:chOff x="631825" y="1547762"/>
            <a:chExt cx="11083924" cy="3459946"/>
          </a:xfrm>
        </p:grpSpPr>
        <p:sp>
          <p:nvSpPr>
            <p:cNvPr id="29" name="Rectangle 28"/>
            <p:cNvSpPr/>
            <p:nvPr/>
          </p:nvSpPr>
          <p:spPr bwMode="auto">
            <a:xfrm>
              <a:off x="631825" y="1547762"/>
              <a:ext cx="11083924" cy="3459946"/>
            </a:xfrm>
            <a:prstGeom prst="rect">
              <a:avLst/>
            </a:prstGeom>
            <a:solidFill>
              <a:schemeClr val="bg1">
                <a:alpha val="89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b="1" dirty="0" smtClean="0">
                <a:solidFill>
                  <a:schemeClr val="tx1"/>
                </a:solidFill>
              </a:endParaRPr>
            </a:p>
          </p:txBody>
        </p:sp>
        <p:pic>
          <p:nvPicPr>
            <p:cNvPr id="4" name="Grafik 4"/>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85754" y="2610690"/>
              <a:ext cx="8096781" cy="1514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6"/>
            <p:cNvSpPr>
              <a:spLocks noChangeArrowheads="1"/>
            </p:cNvSpPr>
            <p:nvPr/>
          </p:nvSpPr>
          <p:spPr bwMode="auto">
            <a:xfrm>
              <a:off x="1225881" y="2501954"/>
              <a:ext cx="265980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smtClean="0">
                  <a:solidFill>
                    <a:srgbClr val="006487"/>
                  </a:solidFill>
                </a:rPr>
                <a:t>Digitalisation ,AI,AR</a:t>
              </a:r>
              <a:endParaRPr lang="en-US" altLang="en-US" b="1" dirty="0">
                <a:solidFill>
                  <a:srgbClr val="006487"/>
                </a:solidFill>
              </a:endParaRPr>
            </a:p>
          </p:txBody>
        </p:sp>
        <p:sp>
          <p:nvSpPr>
            <p:cNvPr id="7" name="Rechteck 7"/>
            <p:cNvSpPr>
              <a:spLocks noChangeArrowheads="1"/>
            </p:cNvSpPr>
            <p:nvPr/>
          </p:nvSpPr>
          <p:spPr bwMode="auto">
            <a:xfrm>
              <a:off x="947647" y="2798077"/>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2000" b="1" dirty="0">
                  <a:solidFill>
                    <a:srgbClr val="505A64"/>
                  </a:solidFill>
                </a:rPr>
                <a:t>Globalisation</a:t>
              </a:r>
            </a:p>
          </p:txBody>
        </p:sp>
        <p:sp>
          <p:nvSpPr>
            <p:cNvPr id="8" name="Rechteck 9"/>
            <p:cNvSpPr>
              <a:spLocks noChangeArrowheads="1"/>
            </p:cNvSpPr>
            <p:nvPr/>
          </p:nvSpPr>
          <p:spPr bwMode="auto">
            <a:xfrm>
              <a:off x="1153228" y="3131038"/>
              <a:ext cx="19192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a:solidFill>
                    <a:srgbClr val="AAB414"/>
                  </a:solidFill>
                  <a:ea typeface="ＭＳ Ｐゴシック" charset="-128"/>
                </a:rPr>
                <a:t>Automation</a:t>
              </a:r>
            </a:p>
          </p:txBody>
        </p:sp>
        <p:sp>
          <p:nvSpPr>
            <p:cNvPr id="9" name="Rechteck 10"/>
            <p:cNvSpPr>
              <a:spLocks noChangeArrowheads="1"/>
            </p:cNvSpPr>
            <p:nvPr/>
          </p:nvSpPr>
          <p:spPr bwMode="auto">
            <a:xfrm>
              <a:off x="760321" y="4254103"/>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smtClean="0">
                  <a:solidFill>
                    <a:srgbClr val="505A64"/>
                  </a:solidFill>
                </a:rPr>
                <a:t>Urbanization</a:t>
              </a:r>
              <a:endParaRPr lang="en-US" altLang="en-US" sz="1600" b="1" dirty="0">
                <a:solidFill>
                  <a:srgbClr val="505A64"/>
                </a:solidFill>
              </a:endParaRPr>
            </a:p>
          </p:txBody>
        </p:sp>
        <p:sp>
          <p:nvSpPr>
            <p:cNvPr id="10" name="Rechteck 11"/>
            <p:cNvSpPr>
              <a:spLocks noChangeArrowheads="1"/>
            </p:cNvSpPr>
            <p:nvPr/>
          </p:nvSpPr>
          <p:spPr bwMode="auto">
            <a:xfrm>
              <a:off x="760321" y="3466000"/>
              <a:ext cx="2187576"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a:solidFill>
                    <a:srgbClr val="505A64"/>
                  </a:solidFill>
                </a:rPr>
                <a:t>Demographic change</a:t>
              </a:r>
            </a:p>
          </p:txBody>
        </p:sp>
        <p:sp>
          <p:nvSpPr>
            <p:cNvPr id="11" name="Rechteck 13"/>
            <p:cNvSpPr>
              <a:spLocks noChangeArrowheads="1"/>
            </p:cNvSpPr>
            <p:nvPr/>
          </p:nvSpPr>
          <p:spPr bwMode="auto">
            <a:xfrm>
              <a:off x="760321" y="2228004"/>
              <a:ext cx="19208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a:solidFill>
                    <a:srgbClr val="505A64"/>
                  </a:solidFill>
                </a:rPr>
                <a:t>Climate change</a:t>
              </a:r>
            </a:p>
          </p:txBody>
        </p:sp>
        <p:sp>
          <p:nvSpPr>
            <p:cNvPr id="12" name="Rechteck 14"/>
            <p:cNvSpPr>
              <a:spLocks noChangeArrowheads="1"/>
            </p:cNvSpPr>
            <p:nvPr/>
          </p:nvSpPr>
          <p:spPr bwMode="auto">
            <a:xfrm>
              <a:off x="3885686" y="3958828"/>
              <a:ext cx="1821200" cy="393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a:solidFill>
                    <a:schemeClr val="tx2">
                      <a:lumMod val="75000"/>
                      <a:lumOff val="25000"/>
                    </a:schemeClr>
                  </a:solidFill>
                  <a:latin typeface="Siemens Sans Roman" charset="0"/>
                  <a:ea typeface="Siemens Sans Roman" charset="0"/>
                  <a:cs typeface="Siemens Sans Roman" charset="0"/>
                </a:rPr>
                <a:t>How to produce </a:t>
              </a:r>
              <a:r>
                <a:rPr lang="en-GB" altLang="en-US" sz="1600" b="1" dirty="0" smtClean="0">
                  <a:solidFill>
                    <a:schemeClr val="tx2">
                      <a:lumMod val="75000"/>
                      <a:lumOff val="25000"/>
                    </a:schemeClr>
                  </a:solidFill>
                  <a:latin typeface="Siemens Sans Roman" charset="0"/>
                  <a:ea typeface="Siemens Sans Roman" charset="0"/>
                  <a:cs typeface="Siemens Sans Roman" charset="0"/>
                </a:rPr>
                <a:t>clean energy? </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sp>
          <p:nvSpPr>
            <p:cNvPr id="13" name="Rechteck 15"/>
            <p:cNvSpPr>
              <a:spLocks noChangeArrowheads="1"/>
            </p:cNvSpPr>
            <p:nvPr/>
          </p:nvSpPr>
          <p:spPr bwMode="auto">
            <a:xfrm>
              <a:off x="7717085" y="2450000"/>
              <a:ext cx="19208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US" altLang="en-US" sz="1200" b="1" dirty="0">
                <a:solidFill>
                  <a:srgbClr val="505A64"/>
                </a:solidFill>
              </a:endParaRPr>
            </a:p>
          </p:txBody>
        </p:sp>
        <p:sp>
          <p:nvSpPr>
            <p:cNvPr id="15" name="Rechteck 17"/>
            <p:cNvSpPr>
              <a:spLocks noChangeArrowheads="1"/>
            </p:cNvSpPr>
            <p:nvPr/>
          </p:nvSpPr>
          <p:spPr bwMode="auto">
            <a:xfrm>
              <a:off x="8677522" y="3823890"/>
              <a:ext cx="220662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smtClean="0">
                  <a:solidFill>
                    <a:schemeClr val="tx2">
                      <a:lumMod val="75000"/>
                      <a:lumOff val="25000"/>
                    </a:schemeClr>
                  </a:solidFill>
                  <a:latin typeface="Siemens Sans Roman" charset="0"/>
                  <a:ea typeface="Siemens Sans Roman" charset="0"/>
                  <a:cs typeface="Siemens Sans Roman" charset="0"/>
                </a:rPr>
                <a:t>How can we improve the cost and quality of health </a:t>
              </a:r>
              <a:r>
                <a:rPr lang="en-GB" altLang="en-US" sz="1600" b="1" dirty="0">
                  <a:solidFill>
                    <a:schemeClr val="tx2">
                      <a:lumMod val="75000"/>
                      <a:lumOff val="25000"/>
                    </a:schemeClr>
                  </a:solidFill>
                  <a:latin typeface="Siemens Sans Roman" charset="0"/>
                  <a:ea typeface="Siemens Sans Roman" charset="0"/>
                  <a:cs typeface="Siemens Sans Roman" charset="0"/>
                </a:rPr>
                <a:t>care for </a:t>
              </a:r>
              <a:r>
                <a:rPr lang="en-GB" altLang="en-US" sz="1600" b="1" dirty="0" smtClean="0">
                  <a:solidFill>
                    <a:schemeClr val="tx2">
                      <a:lumMod val="75000"/>
                      <a:lumOff val="25000"/>
                    </a:schemeClr>
                  </a:solidFill>
                  <a:latin typeface="Siemens Sans Roman" charset="0"/>
                  <a:ea typeface="Siemens Sans Roman" charset="0"/>
                  <a:cs typeface="Siemens Sans Roman" charset="0"/>
                </a:rPr>
                <a:t>an </a:t>
              </a:r>
              <a:r>
                <a:rPr lang="en-GB" altLang="en-US" sz="1600" b="1" dirty="0">
                  <a:solidFill>
                    <a:schemeClr val="tx2">
                      <a:lumMod val="75000"/>
                      <a:lumOff val="25000"/>
                    </a:schemeClr>
                  </a:solidFill>
                  <a:latin typeface="Siemens Sans Roman" charset="0"/>
                  <a:ea typeface="Siemens Sans Roman" charset="0"/>
                  <a:cs typeface="Siemens Sans Roman" charset="0"/>
                </a:rPr>
                <a:t>aging growing </a:t>
              </a:r>
              <a:r>
                <a:rPr lang="en-GB" altLang="en-US" sz="1600" b="1" dirty="0" smtClean="0">
                  <a:solidFill>
                    <a:schemeClr val="tx2">
                      <a:lumMod val="75000"/>
                      <a:lumOff val="25000"/>
                    </a:schemeClr>
                  </a:solidFill>
                  <a:latin typeface="Siemens Sans Roman" charset="0"/>
                  <a:ea typeface="Siemens Sans Roman" charset="0"/>
                  <a:cs typeface="Siemens Sans Roman" charset="0"/>
                </a:rPr>
                <a:t>population? </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sp>
          <p:nvSpPr>
            <p:cNvPr id="16" name="Rechteck 19"/>
            <p:cNvSpPr>
              <a:spLocks noChangeArrowheads="1"/>
            </p:cNvSpPr>
            <p:nvPr/>
          </p:nvSpPr>
          <p:spPr bwMode="auto">
            <a:xfrm>
              <a:off x="10583315" y="2505562"/>
              <a:ext cx="9731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006487"/>
                </a:solidFill>
              </a:endParaRPr>
            </a:p>
          </p:txBody>
        </p:sp>
        <p:sp>
          <p:nvSpPr>
            <p:cNvPr id="17" name="Rechteck 21"/>
            <p:cNvSpPr>
              <a:spLocks noChangeArrowheads="1"/>
            </p:cNvSpPr>
            <p:nvPr/>
          </p:nvSpPr>
          <p:spPr bwMode="auto">
            <a:xfrm>
              <a:off x="10583315" y="2838937"/>
              <a:ext cx="9731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AAB414"/>
                </a:solidFill>
              </a:endParaRPr>
            </a:p>
          </p:txBody>
        </p:sp>
        <p:sp>
          <p:nvSpPr>
            <p:cNvPr id="18" name="Rechteck 22"/>
            <p:cNvSpPr>
              <a:spLocks noChangeArrowheads="1"/>
            </p:cNvSpPr>
            <p:nvPr/>
          </p:nvSpPr>
          <p:spPr bwMode="auto">
            <a:xfrm>
              <a:off x="10583315" y="3151675"/>
              <a:ext cx="97313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endParaRPr lang="en-US" altLang="en-US" sz="1500" b="1" dirty="0">
                <a:solidFill>
                  <a:srgbClr val="55A0B9"/>
                </a:solidFill>
              </a:endParaRPr>
            </a:p>
          </p:txBody>
        </p:sp>
        <p:pic>
          <p:nvPicPr>
            <p:cNvPr id="19" name="Grafik 23"/>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2584359" y="2285154"/>
              <a:ext cx="963613"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24"/>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1989047" y="2899677"/>
              <a:ext cx="1255712" cy="4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5"/>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1917609" y="3415200"/>
              <a:ext cx="1030288"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6"/>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55784" y="3619987"/>
              <a:ext cx="554038" cy="4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fik 27"/>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2112872" y="4470003"/>
              <a:ext cx="1030287" cy="5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hteck 28"/>
            <p:cNvSpPr>
              <a:spLocks noChangeArrowheads="1"/>
            </p:cNvSpPr>
            <p:nvPr/>
          </p:nvSpPr>
          <p:spPr bwMode="auto">
            <a:xfrm>
              <a:off x="698410" y="3859167"/>
              <a:ext cx="2249487" cy="19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b="1" dirty="0" smtClean="0">
                  <a:solidFill>
                    <a:srgbClr val="2FB8CE"/>
                  </a:solidFill>
                </a:rPr>
                <a:t>E - Electrification</a:t>
              </a:r>
              <a:endParaRPr lang="en-US" altLang="en-US" b="1" dirty="0">
                <a:solidFill>
                  <a:srgbClr val="2FB8CE"/>
                </a:solidFill>
              </a:endParaRPr>
            </a:p>
          </p:txBody>
        </p:sp>
        <p:sp>
          <p:nvSpPr>
            <p:cNvPr id="25" name="Rechteck 17"/>
            <p:cNvSpPr>
              <a:spLocks noChangeArrowheads="1"/>
            </p:cNvSpPr>
            <p:nvPr/>
          </p:nvSpPr>
          <p:spPr bwMode="auto">
            <a:xfrm>
              <a:off x="6344046" y="1867299"/>
              <a:ext cx="2442221" cy="91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GB" altLang="en-US" sz="1600" b="1" dirty="0">
                  <a:solidFill>
                    <a:schemeClr val="tx2">
                      <a:lumMod val="75000"/>
                      <a:lumOff val="25000"/>
                    </a:schemeClr>
                  </a:solidFill>
                  <a:latin typeface="Siemens Sans Roman" charset="0"/>
                  <a:ea typeface="Siemens Sans Roman" charset="0"/>
                  <a:cs typeface="Siemens Sans Roman" charset="0"/>
                </a:rPr>
                <a:t>How to provide infrastructure </a:t>
              </a:r>
              <a:r>
                <a:rPr lang="en-GB" altLang="en-US" sz="1600" b="1" dirty="0" smtClean="0">
                  <a:solidFill>
                    <a:schemeClr val="tx2">
                      <a:lumMod val="75000"/>
                      <a:lumOff val="25000"/>
                    </a:schemeClr>
                  </a:solidFill>
                  <a:latin typeface="Siemens Sans Roman" charset="0"/>
                  <a:ea typeface="Siemens Sans Roman" charset="0"/>
                  <a:cs typeface="Siemens Sans Roman" charset="0"/>
                </a:rPr>
                <a:t>and </a:t>
              </a:r>
              <a:r>
                <a:rPr lang="en-GB" altLang="en-US" sz="1600" b="1" dirty="0">
                  <a:solidFill>
                    <a:schemeClr val="tx2">
                      <a:lumMod val="75000"/>
                      <a:lumOff val="25000"/>
                    </a:schemeClr>
                  </a:solidFill>
                  <a:latin typeface="Siemens Sans Roman" charset="0"/>
                  <a:ea typeface="Siemens Sans Roman" charset="0"/>
                  <a:cs typeface="Siemens Sans Roman" charset="0"/>
                </a:rPr>
                <a:t>technology </a:t>
              </a:r>
              <a:r>
                <a:rPr lang="en-GB" altLang="en-US" sz="1600" b="1" dirty="0" smtClean="0">
                  <a:solidFill>
                    <a:schemeClr val="tx2">
                      <a:lumMod val="75000"/>
                      <a:lumOff val="25000"/>
                    </a:schemeClr>
                  </a:solidFill>
                  <a:latin typeface="Siemens Sans Roman" charset="0"/>
                  <a:ea typeface="Siemens Sans Roman" charset="0"/>
                  <a:cs typeface="Siemens Sans Roman" charset="0"/>
                </a:rPr>
                <a:t>for mega cities  </a:t>
              </a:r>
              <a:r>
                <a:rPr lang="en-GB" altLang="en-US" sz="1600" b="1" dirty="0">
                  <a:solidFill>
                    <a:schemeClr val="tx2">
                      <a:lumMod val="75000"/>
                      <a:lumOff val="25000"/>
                    </a:schemeClr>
                  </a:solidFill>
                  <a:latin typeface="Siemens Sans Roman" charset="0"/>
                  <a:ea typeface="Siemens Sans Roman" charset="0"/>
                  <a:cs typeface="Siemens Sans Roman" charset="0"/>
                </a:rPr>
                <a:t>and smart factories </a:t>
              </a:r>
              <a:r>
                <a:rPr lang="en-GB" altLang="en-US" sz="1600" b="1" dirty="0" smtClean="0">
                  <a:solidFill>
                    <a:schemeClr val="tx2">
                      <a:lumMod val="75000"/>
                      <a:lumOff val="25000"/>
                    </a:schemeClr>
                  </a:solidFill>
                  <a:latin typeface="Siemens Sans Roman" charset="0"/>
                  <a:ea typeface="Siemens Sans Roman" charset="0"/>
                  <a:cs typeface="Siemens Sans Roman" charset="0"/>
                </a:rPr>
                <a:t>?</a:t>
              </a:r>
              <a:endParaRPr lang="en-US" altLang="en-US" sz="1600" b="1" dirty="0">
                <a:solidFill>
                  <a:schemeClr val="tx2">
                    <a:lumMod val="75000"/>
                    <a:lumOff val="25000"/>
                  </a:schemeClr>
                </a:solidFill>
                <a:latin typeface="Siemens Sans Roman" charset="0"/>
                <a:ea typeface="Siemens Sans Roman" charset="0"/>
                <a:cs typeface="Siemens Sans Roman" charset="0"/>
              </a:endParaRPr>
            </a:p>
          </p:txBody>
        </p:sp>
      </p:grpSp>
      <p:sp>
        <p:nvSpPr>
          <p:cNvPr id="27" name="Rechteck 13"/>
          <p:cNvSpPr>
            <a:spLocks noChangeArrowheads="1"/>
          </p:cNvSpPr>
          <p:nvPr/>
        </p:nvSpPr>
        <p:spPr bwMode="auto">
          <a:xfrm>
            <a:off x="646328" y="1978716"/>
            <a:ext cx="1920875" cy="26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altLang="en-US" sz="1600" b="1" dirty="0" smtClean="0">
                <a:solidFill>
                  <a:srgbClr val="505A64"/>
                </a:solidFill>
              </a:rPr>
              <a:t>Geo shift to Asia </a:t>
            </a:r>
            <a:endParaRPr lang="en-US" altLang="en-US" sz="1600" b="1" dirty="0">
              <a:solidFill>
                <a:srgbClr val="505A64"/>
              </a:solidFill>
            </a:endParaRPr>
          </a:p>
        </p:txBody>
      </p:sp>
      <p:pic>
        <p:nvPicPr>
          <p:cNvPr id="309251"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92598" y="3450093"/>
            <a:ext cx="1035819" cy="492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Group 32"/>
          <p:cNvGrpSpPr/>
          <p:nvPr/>
        </p:nvGrpSpPr>
        <p:grpSpPr>
          <a:xfrm>
            <a:off x="3563006" y="1963680"/>
            <a:ext cx="7351435" cy="3696147"/>
            <a:chOff x="3563006" y="1963680"/>
            <a:chExt cx="7351435" cy="3696147"/>
          </a:xfrm>
        </p:grpSpPr>
        <p:grpSp>
          <p:nvGrpSpPr>
            <p:cNvPr id="26" name="Group 25"/>
            <p:cNvGrpSpPr/>
            <p:nvPr/>
          </p:nvGrpSpPr>
          <p:grpSpPr>
            <a:xfrm>
              <a:off x="3563006" y="1963680"/>
              <a:ext cx="7351435" cy="3696147"/>
              <a:chOff x="3563006" y="1963680"/>
              <a:chExt cx="7351435" cy="3696147"/>
            </a:xfrm>
          </p:grpSpPr>
          <p:sp>
            <p:nvSpPr>
              <p:cNvPr id="5" name="Rectangle 4"/>
              <p:cNvSpPr/>
              <p:nvPr/>
            </p:nvSpPr>
            <p:spPr bwMode="auto">
              <a:xfrm>
                <a:off x="3563006" y="4404088"/>
                <a:ext cx="2455337" cy="61233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GB" sz="1800" b="1" dirty="0" smtClean="0">
                    <a:solidFill>
                      <a:schemeClr val="tx1"/>
                    </a:solidFill>
                  </a:rPr>
                  <a:t>How can we close the skills gap ?</a:t>
                </a:r>
              </a:p>
            </p:txBody>
          </p:sp>
          <p:sp>
            <p:nvSpPr>
              <p:cNvPr id="31" name="Rectangle 30"/>
              <p:cNvSpPr/>
              <p:nvPr/>
            </p:nvSpPr>
            <p:spPr bwMode="auto">
              <a:xfrm>
                <a:off x="6018343" y="1963680"/>
                <a:ext cx="2612481" cy="1231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GB" sz="1800" b="1" dirty="0" smtClean="0">
                    <a:solidFill>
                      <a:schemeClr val="tx1"/>
                    </a:solidFill>
                  </a:rPr>
                  <a:t>How will the work place and the nature  of work change ?</a:t>
                </a:r>
              </a:p>
            </p:txBody>
          </p:sp>
          <p:sp>
            <p:nvSpPr>
              <p:cNvPr id="32" name="Rectangle 31"/>
              <p:cNvSpPr/>
              <p:nvPr/>
            </p:nvSpPr>
            <p:spPr bwMode="auto">
              <a:xfrm>
                <a:off x="8301960" y="4116695"/>
                <a:ext cx="2612481" cy="154313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GB" sz="1800" b="1" dirty="0" smtClean="0">
                    <a:solidFill>
                      <a:schemeClr val="tx1"/>
                    </a:solidFill>
                  </a:rPr>
                  <a:t>How can we harness technology to manage complexity?</a:t>
                </a:r>
              </a:p>
            </p:txBody>
          </p:sp>
        </p:grpSp>
        <p:sp>
          <p:nvSpPr>
            <p:cNvPr id="30" name="TextBox 29"/>
            <p:cNvSpPr txBox="1"/>
            <p:nvPr/>
          </p:nvSpPr>
          <p:spPr>
            <a:xfrm>
              <a:off x="4333474" y="5178793"/>
              <a:ext cx="1094943" cy="457200"/>
            </a:xfrm>
            <a:prstGeom prst="rect">
              <a:avLst/>
            </a:prstGeom>
            <a:noFill/>
          </p:spPr>
          <p:txBody>
            <a:bodyPr wrap="none" lIns="0" tIns="0" rIns="0" bIns="0" rtlCol="0">
              <a:noAutofit/>
            </a:bodyPr>
            <a:lstStyle/>
            <a:p>
              <a:pPr>
                <a:lnSpc>
                  <a:spcPct val="110000"/>
                </a:lnSpc>
                <a:spcBef>
                  <a:spcPts val="0"/>
                </a:spcBef>
              </a:pPr>
              <a:r>
                <a:rPr lang="en-GB" sz="2800" dirty="0" smtClean="0">
                  <a:solidFill>
                    <a:schemeClr val="tx1"/>
                  </a:solidFill>
                </a:rPr>
                <a:t>20,000</a:t>
              </a:r>
            </a:p>
          </p:txBody>
        </p:sp>
        <p:sp>
          <p:nvSpPr>
            <p:cNvPr id="35" name="TextBox 34"/>
            <p:cNvSpPr txBox="1"/>
            <p:nvPr/>
          </p:nvSpPr>
          <p:spPr>
            <a:xfrm>
              <a:off x="8658517" y="2350580"/>
              <a:ext cx="1647999" cy="405309"/>
            </a:xfrm>
            <a:prstGeom prst="rect">
              <a:avLst/>
            </a:prstGeom>
            <a:noFill/>
          </p:spPr>
          <p:txBody>
            <a:bodyPr wrap="none" lIns="0" tIns="0" rIns="0" bIns="0" rtlCol="0">
              <a:noAutofit/>
            </a:bodyPr>
            <a:lstStyle/>
            <a:p>
              <a:pPr>
                <a:lnSpc>
                  <a:spcPct val="110000"/>
                </a:lnSpc>
                <a:spcBef>
                  <a:spcPts val="0"/>
                </a:spcBef>
              </a:pPr>
              <a:endParaRPr lang="en-GB" sz="2800" dirty="0" smtClean="0">
                <a:solidFill>
                  <a:schemeClr val="tx1"/>
                </a:solidFill>
              </a:endParaRPr>
            </a:p>
          </p:txBody>
        </p:sp>
      </p:grpSp>
    </p:spTree>
    <p:extLst>
      <p:ext uri="{BB962C8B-B14F-4D97-AF65-F5344CB8AC3E}">
        <p14:creationId xmlns:p14="http://schemas.microsoft.com/office/powerpoint/2010/main" val="19026573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4294967295"/>
          </p:nvPr>
        </p:nvSpPr>
        <p:spPr>
          <a:xfrm>
            <a:off x="912165" y="3932262"/>
            <a:ext cx="5379134" cy="2305050"/>
          </a:xfrm>
          <a:prstGeom prst="rect">
            <a:avLst/>
          </a:prstGeom>
          <a:solidFill>
            <a:srgbClr val="92D050"/>
          </a:solidFill>
        </p:spPr>
        <p:txBody>
          <a:bodyPr/>
          <a:lstStyle/>
          <a:p>
            <a:pPr marL="342900" indent="-342900">
              <a:lnSpc>
                <a:spcPct val="150000"/>
              </a:lnSpc>
              <a:buFont typeface="Wingdings" pitchFamily="2" charset="2"/>
              <a:buChar char="ü"/>
            </a:pPr>
            <a:r>
              <a:rPr lang="en-GB" dirty="0" smtClean="0"/>
              <a:t>Discrete single qualification delivery </a:t>
            </a:r>
          </a:p>
          <a:p>
            <a:pPr marL="342900" indent="-342900">
              <a:lnSpc>
                <a:spcPct val="150000"/>
              </a:lnSpc>
              <a:buFont typeface="Wingdings" pitchFamily="2" charset="2"/>
              <a:buChar char="ü"/>
            </a:pPr>
            <a:r>
              <a:rPr lang="en-GB" dirty="0" smtClean="0"/>
              <a:t>Combined delivery</a:t>
            </a:r>
          </a:p>
          <a:p>
            <a:pPr marL="342900" indent="-342900">
              <a:lnSpc>
                <a:spcPct val="150000"/>
              </a:lnSpc>
              <a:buFont typeface="Wingdings" pitchFamily="2" charset="2"/>
              <a:buChar char="ü"/>
            </a:pPr>
            <a:r>
              <a:rPr lang="en-GB" dirty="0" smtClean="0"/>
              <a:t>Holistic curriculum delivery</a:t>
            </a:r>
          </a:p>
          <a:p>
            <a:pPr marL="342900" lvl="1" indent="-342900">
              <a:lnSpc>
                <a:spcPct val="150000"/>
              </a:lnSpc>
              <a:buClrTx/>
              <a:buFont typeface="Wingdings" pitchFamily="2" charset="2"/>
              <a:buChar char="ü"/>
            </a:pPr>
            <a:r>
              <a:rPr lang="en-GB" dirty="0" smtClean="0"/>
              <a:t>Project approach</a:t>
            </a:r>
            <a:r>
              <a:rPr lang="en-GB" sz="2000" dirty="0" smtClean="0"/>
              <a:t>  </a:t>
            </a:r>
          </a:p>
          <a:p>
            <a:endParaRPr lang="en-US" dirty="0"/>
          </a:p>
        </p:txBody>
      </p:sp>
      <p:sp>
        <p:nvSpPr>
          <p:cNvPr id="2" name="Title 1"/>
          <p:cNvSpPr>
            <a:spLocks noGrp="1"/>
          </p:cNvSpPr>
          <p:nvPr>
            <p:ph type="title"/>
          </p:nvPr>
        </p:nvSpPr>
        <p:spPr/>
        <p:txBody>
          <a:bodyPr/>
          <a:lstStyle/>
          <a:p>
            <a:r>
              <a:rPr lang="en-GB" dirty="0" smtClean="0"/>
              <a:t/>
            </a:r>
            <a:br>
              <a:rPr lang="en-GB" dirty="0" smtClean="0"/>
            </a:br>
            <a:r>
              <a:rPr lang="en-GB" dirty="0" smtClean="0"/>
              <a:t/>
            </a:r>
            <a:br>
              <a:rPr lang="en-GB" dirty="0" smtClean="0"/>
            </a:br>
            <a:r>
              <a:rPr lang="en-GB" dirty="0" smtClean="0"/>
              <a:t/>
            </a:r>
            <a:br>
              <a:rPr lang="en-GB" dirty="0" smtClean="0"/>
            </a:br>
            <a:r>
              <a:rPr lang="en-GB" dirty="0" smtClean="0"/>
              <a:t>Our Partnership with OCR: </a:t>
            </a:r>
            <a:r>
              <a:rPr lang="en-GB" dirty="0" smtClean="0">
                <a:solidFill>
                  <a:srgbClr val="000000"/>
                </a:solidFill>
              </a:rPr>
              <a:t>Five SIEMENS inspired projects:</a:t>
            </a:r>
            <a:br>
              <a:rPr lang="en-GB" dirty="0" smtClean="0">
                <a:solidFill>
                  <a:srgbClr val="000000"/>
                </a:solidFill>
              </a:rPr>
            </a:br>
            <a:endParaRPr lang="en-US" dirty="0"/>
          </a:p>
        </p:txBody>
      </p:sp>
      <p:sp>
        <p:nvSpPr>
          <p:cNvPr id="3" name="Content Placeholder 2"/>
          <p:cNvSpPr>
            <a:spLocks noGrp="1"/>
          </p:cNvSpPr>
          <p:nvPr>
            <p:ph idx="1"/>
          </p:nvPr>
        </p:nvSpPr>
        <p:spPr>
          <a:xfrm>
            <a:off x="6483761" y="1341560"/>
            <a:ext cx="5379135" cy="2303464"/>
          </a:xfrm>
          <a:solidFill>
            <a:srgbClr val="00B0F0"/>
          </a:solidFill>
        </p:spPr>
        <p:txBody>
          <a:bodyPr/>
          <a:lstStyle/>
          <a:p>
            <a:pPr marL="342900" indent="-342900">
              <a:lnSpc>
                <a:spcPct val="150000"/>
              </a:lnSpc>
              <a:buFont typeface="Wingdings" pitchFamily="2" charset="2"/>
              <a:buChar char="ü"/>
            </a:pPr>
            <a:r>
              <a:rPr lang="en-GB" dirty="0" smtClean="0"/>
              <a:t>Industry-relevant to key sector requirements</a:t>
            </a:r>
          </a:p>
          <a:p>
            <a:pPr marL="342900" indent="-342900">
              <a:lnSpc>
                <a:spcPct val="150000"/>
              </a:lnSpc>
              <a:buFont typeface="Wingdings" pitchFamily="2" charset="2"/>
              <a:buChar char="ü"/>
            </a:pPr>
            <a:r>
              <a:rPr lang="en-GB" dirty="0" smtClean="0"/>
              <a:t>Suit a broad range of learning styles and abilities</a:t>
            </a:r>
          </a:p>
          <a:p>
            <a:pPr marL="342900" indent="-342900">
              <a:lnSpc>
                <a:spcPct val="150000"/>
              </a:lnSpc>
              <a:buFont typeface="Wingdings" pitchFamily="2" charset="2"/>
              <a:buChar char="ü"/>
            </a:pPr>
            <a:r>
              <a:rPr lang="en-GB" dirty="0" smtClean="0"/>
              <a:t>Contextualised </a:t>
            </a:r>
          </a:p>
          <a:p>
            <a:pPr marL="342900" indent="-342900">
              <a:lnSpc>
                <a:spcPct val="150000"/>
              </a:lnSpc>
              <a:buFont typeface="Wingdings" pitchFamily="2" charset="2"/>
              <a:buChar char="ü"/>
            </a:pPr>
            <a:r>
              <a:rPr lang="en-GB" dirty="0" smtClean="0"/>
              <a:t>Authentic (created with Siemens staff)</a:t>
            </a:r>
          </a:p>
          <a:p>
            <a:pPr marL="342900" indent="-342900">
              <a:lnSpc>
                <a:spcPct val="150000"/>
              </a:lnSpc>
              <a:buFont typeface="Wingdings" pitchFamily="2" charset="2"/>
              <a:buChar char="ü"/>
            </a:pPr>
            <a:r>
              <a:rPr lang="en-GB" dirty="0" smtClean="0"/>
              <a:t>Girls into STEM and </a:t>
            </a:r>
            <a:r>
              <a:rPr lang="en-GB" dirty="0" err="1" smtClean="0"/>
              <a:t>Seewomen</a:t>
            </a:r>
            <a:r>
              <a:rPr lang="en-GB" dirty="0" smtClean="0"/>
              <a:t> drive</a:t>
            </a:r>
          </a:p>
          <a:p>
            <a:endParaRPr lang="en-US" dirty="0"/>
          </a:p>
        </p:txBody>
      </p:sp>
      <p:sp>
        <p:nvSpPr>
          <p:cNvPr id="5" name="Content Placeholder 4"/>
          <p:cNvSpPr>
            <a:spLocks noGrp="1"/>
          </p:cNvSpPr>
          <p:nvPr>
            <p:ph sz="quarter" idx="4294967295"/>
          </p:nvPr>
        </p:nvSpPr>
        <p:spPr>
          <a:xfrm>
            <a:off x="911827" y="1341560"/>
            <a:ext cx="5379727" cy="2375476"/>
          </a:xfrm>
          <a:prstGeom prst="rect">
            <a:avLst/>
          </a:prstGeom>
          <a:solidFill>
            <a:srgbClr val="FFC000"/>
          </a:solidFill>
        </p:spPr>
        <p:txBody>
          <a:bodyPr/>
          <a:lstStyle/>
          <a:p>
            <a:pPr marL="342900" indent="-342900">
              <a:lnSpc>
                <a:spcPct val="100000"/>
              </a:lnSpc>
              <a:spcBef>
                <a:spcPct val="50000"/>
              </a:spcBef>
              <a:buFont typeface="Arial" charset="0"/>
              <a:buChar char="•"/>
            </a:pPr>
            <a:endParaRPr lang="en-GB" dirty="0" smtClean="0">
              <a:solidFill>
                <a:srgbClr val="000000"/>
              </a:solidFill>
            </a:endParaRPr>
          </a:p>
          <a:p>
            <a:pPr marL="342900" indent="-342900">
              <a:lnSpc>
                <a:spcPct val="100000"/>
              </a:lnSpc>
              <a:spcBef>
                <a:spcPct val="50000"/>
              </a:spcBef>
              <a:buFont typeface="Wingdings" pitchFamily="2" charset="2"/>
              <a:buChar char="ü"/>
            </a:pPr>
            <a:r>
              <a:rPr lang="en-GB" dirty="0" smtClean="0">
                <a:solidFill>
                  <a:srgbClr val="000000"/>
                </a:solidFill>
              </a:rPr>
              <a:t>One for each of the Cambridge Nationals in Engineering L1/2</a:t>
            </a:r>
          </a:p>
          <a:p>
            <a:pPr marL="342900" indent="-342900">
              <a:lnSpc>
                <a:spcPct val="100000"/>
              </a:lnSpc>
              <a:spcBef>
                <a:spcPct val="50000"/>
              </a:spcBef>
              <a:buFont typeface="Wingdings" pitchFamily="2" charset="2"/>
              <a:buChar char="ü"/>
            </a:pPr>
            <a:r>
              <a:rPr lang="en-GB" dirty="0" smtClean="0">
                <a:solidFill>
                  <a:srgbClr val="000000"/>
                </a:solidFill>
              </a:rPr>
              <a:t>One Cambridge Technical  L3</a:t>
            </a:r>
          </a:p>
          <a:p>
            <a:pPr marL="342900" indent="-342900">
              <a:lnSpc>
                <a:spcPct val="100000"/>
              </a:lnSpc>
              <a:spcBef>
                <a:spcPct val="50000"/>
              </a:spcBef>
              <a:buFont typeface="Wingdings" pitchFamily="2" charset="2"/>
              <a:buChar char="ü"/>
            </a:pPr>
            <a:r>
              <a:rPr lang="en-GB" dirty="0" smtClean="0">
                <a:solidFill>
                  <a:srgbClr val="000000"/>
                </a:solidFill>
              </a:rPr>
              <a:t>Utilising new and existing resources</a:t>
            </a:r>
          </a:p>
          <a:p>
            <a:pPr marL="342900" indent="-342900">
              <a:lnSpc>
                <a:spcPct val="100000"/>
              </a:lnSpc>
              <a:spcBef>
                <a:spcPct val="50000"/>
              </a:spcBef>
              <a:buFont typeface="Wingdings" pitchFamily="2" charset="2"/>
              <a:buChar char="ü"/>
            </a:pPr>
            <a:r>
              <a:rPr lang="en-GB" dirty="0" smtClean="0">
                <a:solidFill>
                  <a:srgbClr val="000000"/>
                </a:solidFill>
              </a:rPr>
              <a:t>Directly mapped to the curriculum</a:t>
            </a:r>
          </a:p>
          <a:p>
            <a:endParaRPr lang="en-US" dirty="0"/>
          </a:p>
        </p:txBody>
      </p:sp>
      <p:sp>
        <p:nvSpPr>
          <p:cNvPr id="6" name="Content Placeholder 5"/>
          <p:cNvSpPr>
            <a:spLocks noGrp="1"/>
          </p:cNvSpPr>
          <p:nvPr>
            <p:ph sz="quarter" idx="4294967295"/>
          </p:nvPr>
        </p:nvSpPr>
        <p:spPr>
          <a:xfrm>
            <a:off x="6552689" y="3861048"/>
            <a:ext cx="5379134" cy="2305050"/>
          </a:xfrm>
          <a:prstGeom prst="rect">
            <a:avLst/>
          </a:prstGeom>
          <a:solidFill>
            <a:srgbClr val="0070C0"/>
          </a:solidFill>
        </p:spPr>
        <p:txBody>
          <a:bodyPr/>
          <a:lstStyle/>
          <a:p>
            <a:pPr marL="800100" lvl="1" indent="-342900">
              <a:lnSpc>
                <a:spcPct val="150000"/>
              </a:lnSpc>
              <a:buClrTx/>
              <a:buFont typeface="Wingdings" pitchFamily="2" charset="2"/>
              <a:buChar char="ü"/>
            </a:pPr>
            <a:r>
              <a:rPr lang="en-GB" dirty="0" smtClean="0"/>
              <a:t>Soft skills: Communication,</a:t>
            </a:r>
          </a:p>
          <a:p>
            <a:pPr marL="800100" lvl="1" indent="-342900">
              <a:lnSpc>
                <a:spcPct val="150000"/>
              </a:lnSpc>
              <a:buClrTx/>
              <a:buFont typeface="Wingdings" pitchFamily="2" charset="2"/>
              <a:buChar char="ü"/>
            </a:pPr>
            <a:r>
              <a:rPr lang="en-GB" dirty="0" smtClean="0"/>
              <a:t>Presentation &amp; Team work </a:t>
            </a:r>
          </a:p>
          <a:p>
            <a:pPr marL="800100" lvl="1" indent="-342900">
              <a:lnSpc>
                <a:spcPct val="150000"/>
              </a:lnSpc>
              <a:buClrTx/>
              <a:buFont typeface="Wingdings" pitchFamily="2" charset="2"/>
              <a:buChar char="ü"/>
            </a:pPr>
            <a:r>
              <a:rPr lang="en-GB" dirty="0" smtClean="0"/>
              <a:t>Practical skills</a:t>
            </a:r>
          </a:p>
          <a:p>
            <a:pPr marL="800100" lvl="1" indent="-342900">
              <a:lnSpc>
                <a:spcPct val="150000"/>
              </a:lnSpc>
              <a:buClrTx/>
              <a:buFont typeface="Wingdings" pitchFamily="2" charset="2"/>
              <a:buChar char="ü"/>
            </a:pPr>
            <a:r>
              <a:rPr lang="en-GB" dirty="0" smtClean="0"/>
              <a:t>Mapping to other curriculum areas in Maths, Science, English &amp; ICT</a:t>
            </a:r>
          </a:p>
          <a:p>
            <a:endParaRPr lang="en-US" dirty="0"/>
          </a:p>
        </p:txBody>
      </p:sp>
      <p:pic>
        <p:nvPicPr>
          <p:cNvPr id="11" name="Picture 3"/>
          <p:cNvPicPr>
            <a:picLocks noChangeAspect="1" noChangeArrowheads="1"/>
          </p:cNvPicPr>
          <p:nvPr/>
        </p:nvPicPr>
        <p:blipFill>
          <a:blip r:embed="rId3" cstate="print"/>
          <a:srcRect/>
          <a:stretch>
            <a:fillRect/>
          </a:stretch>
        </p:blipFill>
        <p:spPr bwMode="auto">
          <a:xfrm>
            <a:off x="3985811" y="5301235"/>
            <a:ext cx="1725367" cy="1439355"/>
          </a:xfrm>
          <a:prstGeom prst="rect">
            <a:avLst/>
          </a:prstGeom>
          <a:noFill/>
          <a:ln w="9525">
            <a:noFill/>
            <a:miter lim="800000"/>
            <a:headEnd/>
            <a:tailEnd/>
          </a:ln>
        </p:spPr>
      </p:pic>
      <p:pic>
        <p:nvPicPr>
          <p:cNvPr id="9" name="Picture 6"/>
          <p:cNvPicPr>
            <a:picLocks noChangeAspect="1" noChangeArrowheads="1"/>
          </p:cNvPicPr>
          <p:nvPr/>
        </p:nvPicPr>
        <p:blipFill>
          <a:blip r:embed="rId4" cstate="print"/>
          <a:srcRect/>
          <a:stretch>
            <a:fillRect/>
          </a:stretch>
        </p:blipFill>
        <p:spPr bwMode="auto">
          <a:xfrm>
            <a:off x="5330680" y="4869180"/>
            <a:ext cx="1559045" cy="1682892"/>
          </a:xfrm>
          <a:prstGeom prst="rect">
            <a:avLst/>
          </a:prstGeom>
          <a:noFill/>
          <a:ln w="9525">
            <a:noFill/>
            <a:miter lim="800000"/>
            <a:headEnd/>
            <a:tailEnd/>
          </a:ln>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7061" y="5685718"/>
            <a:ext cx="1199666" cy="1199666"/>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79695" y="5633841"/>
            <a:ext cx="1224159" cy="1224159"/>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p:cNvPicPr>
            <a:picLocks noGrp="1" noChangeAspect="1"/>
          </p:cNvPicPr>
          <p:nvPr>
            <p:ph idx="1"/>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0543" y="260648"/>
            <a:ext cx="1944216" cy="790802"/>
          </a:xfrm>
        </p:spPr>
      </p:pic>
      <p:sp>
        <p:nvSpPr>
          <p:cNvPr id="28" name="TextBox 27"/>
          <p:cNvSpPr txBox="1"/>
          <p:nvPr/>
        </p:nvSpPr>
        <p:spPr>
          <a:xfrm>
            <a:off x="3577921" y="2937138"/>
            <a:ext cx="7420348" cy="707886"/>
          </a:xfrm>
          <a:prstGeom prst="rect">
            <a:avLst/>
          </a:prstGeom>
          <a:solidFill>
            <a:srgbClr val="AF235F"/>
          </a:solidFill>
        </p:spPr>
        <p:txBody>
          <a:bodyPr wrap="square" rtlCol="0">
            <a:spAutoFit/>
          </a:bodyPr>
          <a:lstStyle/>
          <a:p>
            <a:pPr algn="ctr" fontAlgn="auto">
              <a:spcBef>
                <a:spcPts val="0"/>
              </a:spcBef>
              <a:spcAft>
                <a:spcPts val="0"/>
              </a:spcAft>
            </a:pPr>
            <a:r>
              <a:rPr lang="en-GB" sz="2000" dirty="0" smtClean="0">
                <a:solidFill>
                  <a:schemeClr val="bg1"/>
                </a:solidFill>
                <a:cs typeface="Arial" pitchFamily="34" charset="0"/>
              </a:rPr>
              <a:t>Powering the future Linked to</a:t>
            </a:r>
          </a:p>
          <a:p>
            <a:pPr algn="ctr" fontAlgn="auto">
              <a:spcBef>
                <a:spcPts val="0"/>
              </a:spcBef>
              <a:spcAft>
                <a:spcPts val="0"/>
              </a:spcAft>
            </a:pPr>
            <a:r>
              <a:rPr lang="en-GB" sz="2000" dirty="0" smtClean="0">
                <a:solidFill>
                  <a:schemeClr val="bg1"/>
                </a:solidFill>
                <a:cs typeface="Arial" pitchFamily="34" charset="0"/>
              </a:rPr>
              <a:t>Principles in Engineering and Engineering Business</a:t>
            </a:r>
            <a:endParaRPr lang="en-GB" sz="2000" dirty="0">
              <a:solidFill>
                <a:schemeClr val="bg1"/>
              </a:solidFill>
              <a:cs typeface="Arial" pitchFamily="34" charset="0"/>
            </a:endParaRPr>
          </a:p>
        </p:txBody>
      </p:sp>
      <p:sp>
        <p:nvSpPr>
          <p:cNvPr id="29" name="TextBox 28"/>
          <p:cNvSpPr txBox="1"/>
          <p:nvPr/>
        </p:nvSpPr>
        <p:spPr>
          <a:xfrm>
            <a:off x="3577921" y="3873242"/>
            <a:ext cx="7420348" cy="707886"/>
          </a:xfrm>
          <a:prstGeom prst="rect">
            <a:avLst/>
          </a:prstGeom>
          <a:solidFill>
            <a:srgbClr val="FFC000"/>
          </a:solidFill>
        </p:spPr>
        <p:txBody>
          <a:bodyPr wrap="square" rtlCol="0">
            <a:spAutoFit/>
          </a:bodyPr>
          <a:lstStyle/>
          <a:p>
            <a:pPr lvl="1" algn="ctr" fontAlgn="auto">
              <a:spcBef>
                <a:spcPts val="0"/>
              </a:spcBef>
              <a:spcAft>
                <a:spcPts val="0"/>
              </a:spcAft>
            </a:pPr>
            <a:r>
              <a:rPr lang="en-GB" sz="2000" dirty="0" smtClean="0">
                <a:solidFill>
                  <a:schemeClr val="bg1"/>
                </a:solidFill>
                <a:cs typeface="Arial" pitchFamily="34" charset="0"/>
              </a:rPr>
              <a:t>Energy Transformation Linked to</a:t>
            </a:r>
          </a:p>
          <a:p>
            <a:pPr lvl="1" algn="ctr" fontAlgn="auto">
              <a:spcBef>
                <a:spcPts val="0"/>
              </a:spcBef>
              <a:spcAft>
                <a:spcPts val="0"/>
              </a:spcAft>
            </a:pPr>
            <a:r>
              <a:rPr lang="en-GB" sz="2000" dirty="0" smtClean="0">
                <a:solidFill>
                  <a:schemeClr val="bg1"/>
                </a:solidFill>
                <a:cs typeface="Arial" pitchFamily="34" charset="0"/>
              </a:rPr>
              <a:t>Engineering Manufacture</a:t>
            </a:r>
            <a:endParaRPr lang="en-US" dirty="0">
              <a:solidFill>
                <a:schemeClr val="bg1"/>
              </a:solidFill>
              <a:cs typeface="Arial" pitchFamily="34" charset="0"/>
            </a:endParaRPr>
          </a:p>
        </p:txBody>
      </p:sp>
      <p:sp>
        <p:nvSpPr>
          <p:cNvPr id="30" name="TextBox 29"/>
          <p:cNvSpPr txBox="1"/>
          <p:nvPr/>
        </p:nvSpPr>
        <p:spPr>
          <a:xfrm>
            <a:off x="3577922" y="4809346"/>
            <a:ext cx="7420347" cy="707886"/>
          </a:xfrm>
          <a:prstGeom prst="rect">
            <a:avLst/>
          </a:prstGeom>
          <a:solidFill>
            <a:srgbClr val="92D050"/>
          </a:solidFill>
        </p:spPr>
        <p:txBody>
          <a:bodyPr wrap="square" rtlCol="0">
            <a:spAutoFit/>
          </a:bodyPr>
          <a:lstStyle/>
          <a:p>
            <a:pPr lvl="1" algn="ctr" fontAlgn="auto">
              <a:spcBef>
                <a:spcPts val="0"/>
              </a:spcBef>
              <a:spcAft>
                <a:spcPts val="0"/>
              </a:spcAft>
            </a:pPr>
            <a:r>
              <a:rPr lang="en-GB" sz="2000" dirty="0" smtClean="0">
                <a:solidFill>
                  <a:schemeClr val="bg1"/>
                </a:solidFill>
                <a:cs typeface="Arial" pitchFamily="34" charset="0"/>
              </a:rPr>
              <a:t>Energy Recovery Linked to</a:t>
            </a:r>
          </a:p>
          <a:p>
            <a:pPr lvl="1" algn="ctr" fontAlgn="auto">
              <a:spcBef>
                <a:spcPts val="0"/>
              </a:spcBef>
              <a:spcAft>
                <a:spcPts val="0"/>
              </a:spcAft>
            </a:pPr>
            <a:r>
              <a:rPr lang="en-GB" sz="2000" dirty="0" smtClean="0">
                <a:solidFill>
                  <a:schemeClr val="bg1"/>
                </a:solidFill>
                <a:cs typeface="Arial" pitchFamily="34" charset="0"/>
              </a:rPr>
              <a:t>Engineering Design</a:t>
            </a:r>
            <a:endParaRPr lang="en-US" dirty="0">
              <a:solidFill>
                <a:schemeClr val="bg1"/>
              </a:solidFill>
              <a:cs typeface="Arial" pitchFamily="34" charset="0"/>
            </a:endParaRPr>
          </a:p>
        </p:txBody>
      </p:sp>
      <p:sp>
        <p:nvSpPr>
          <p:cNvPr id="31" name="TextBox 30"/>
          <p:cNvSpPr txBox="1"/>
          <p:nvPr/>
        </p:nvSpPr>
        <p:spPr>
          <a:xfrm>
            <a:off x="3577921" y="5745450"/>
            <a:ext cx="7420348" cy="707886"/>
          </a:xfrm>
          <a:prstGeom prst="rect">
            <a:avLst/>
          </a:prstGeom>
          <a:solidFill>
            <a:srgbClr val="00B0F0"/>
          </a:solidFill>
        </p:spPr>
        <p:txBody>
          <a:bodyPr wrap="square" rtlCol="0">
            <a:spAutoFit/>
          </a:bodyPr>
          <a:lstStyle/>
          <a:p>
            <a:pPr lvl="1" algn="ctr" fontAlgn="auto">
              <a:spcBef>
                <a:spcPts val="0"/>
              </a:spcBef>
              <a:spcAft>
                <a:spcPts val="0"/>
              </a:spcAft>
            </a:pPr>
            <a:r>
              <a:rPr lang="en-GB" sz="2000" dirty="0" smtClean="0">
                <a:solidFill>
                  <a:schemeClr val="bg1"/>
                </a:solidFill>
                <a:cs typeface="Arial" pitchFamily="34" charset="0"/>
              </a:rPr>
              <a:t>SMART Homes Linked to</a:t>
            </a:r>
          </a:p>
          <a:p>
            <a:pPr lvl="1" algn="ctr" fontAlgn="auto">
              <a:spcBef>
                <a:spcPts val="0"/>
              </a:spcBef>
              <a:spcAft>
                <a:spcPts val="0"/>
              </a:spcAft>
            </a:pPr>
            <a:r>
              <a:rPr lang="en-GB" sz="2000" dirty="0" smtClean="0">
                <a:solidFill>
                  <a:schemeClr val="bg1"/>
                </a:solidFill>
                <a:cs typeface="Arial" pitchFamily="34" charset="0"/>
              </a:rPr>
              <a:t>Systems Control in Engineering</a:t>
            </a:r>
          </a:p>
        </p:txBody>
      </p:sp>
      <p:sp>
        <p:nvSpPr>
          <p:cNvPr id="32" name="TextBox 31"/>
          <p:cNvSpPr txBox="1"/>
          <p:nvPr/>
        </p:nvSpPr>
        <p:spPr>
          <a:xfrm>
            <a:off x="3577921" y="1412776"/>
            <a:ext cx="7420348" cy="707886"/>
          </a:xfrm>
          <a:prstGeom prst="rect">
            <a:avLst/>
          </a:prstGeom>
          <a:solidFill>
            <a:srgbClr val="0070C0"/>
          </a:solidFill>
        </p:spPr>
        <p:txBody>
          <a:bodyPr wrap="square" rtlCol="0">
            <a:spAutoFit/>
          </a:bodyPr>
          <a:lstStyle/>
          <a:p>
            <a:pPr algn="ctr" fontAlgn="auto">
              <a:spcBef>
                <a:spcPts val="0"/>
              </a:spcBef>
              <a:spcAft>
                <a:spcPts val="0"/>
              </a:spcAft>
            </a:pPr>
            <a:r>
              <a:rPr lang="en-US" sz="2000" dirty="0" smtClean="0"/>
              <a:t>A PROJECT APPROACH TO DELIVERY – </a:t>
            </a:r>
          </a:p>
          <a:p>
            <a:pPr algn="ctr" fontAlgn="auto">
              <a:spcBef>
                <a:spcPts val="0"/>
              </a:spcBef>
              <a:spcAft>
                <a:spcPts val="0"/>
              </a:spcAft>
            </a:pPr>
            <a:r>
              <a:rPr lang="en-US" sz="2000" dirty="0" smtClean="0"/>
              <a:t>WIND TURBINE CONTROL – Technical Level 3</a:t>
            </a:r>
            <a:endParaRPr lang="en-GB" sz="2000" dirty="0">
              <a:solidFill>
                <a:schemeClr val="bg1"/>
              </a:solidFill>
              <a:cs typeface="Arial" pitchFamily="34" charset="0"/>
            </a:endParaRPr>
          </a:p>
        </p:txBody>
      </p:sp>
      <p:sp>
        <p:nvSpPr>
          <p:cNvPr id="33" name="Rectangle 32"/>
          <p:cNvSpPr/>
          <p:nvPr/>
        </p:nvSpPr>
        <p:spPr>
          <a:xfrm>
            <a:off x="3453086" y="436602"/>
            <a:ext cx="3942233" cy="400110"/>
          </a:xfrm>
          <a:prstGeom prst="rect">
            <a:avLst/>
          </a:prstGeom>
        </p:spPr>
        <p:txBody>
          <a:bodyPr wrap="none">
            <a:spAutoFit/>
          </a:bodyPr>
          <a:lstStyle/>
          <a:p>
            <a:pPr fontAlgn="auto">
              <a:spcBef>
                <a:spcPts val="0"/>
              </a:spcBef>
              <a:spcAft>
                <a:spcPts val="0"/>
              </a:spcAft>
            </a:pPr>
            <a:r>
              <a:rPr lang="en-GB" sz="2000" b="1" dirty="0">
                <a:solidFill>
                  <a:prstClr val="black"/>
                </a:solidFill>
                <a:latin typeface="Calibri"/>
                <a:ea typeface="+mn-ea"/>
              </a:rPr>
              <a:t>SIEMENS and the </a:t>
            </a:r>
            <a:r>
              <a:rPr lang="en-GB" sz="2000" b="1" dirty="0" smtClean="0">
                <a:solidFill>
                  <a:prstClr val="black"/>
                </a:solidFill>
                <a:latin typeface="Calibri"/>
                <a:ea typeface="+mn-ea"/>
              </a:rPr>
              <a:t>project approach </a:t>
            </a:r>
            <a:endParaRPr lang="en-GB" sz="2000" b="1" dirty="0">
              <a:solidFill>
                <a:prstClr val="black"/>
              </a:solidFill>
              <a:latin typeface="Calibri"/>
              <a:ea typeface="+mn-ea"/>
            </a:endParaRPr>
          </a:p>
        </p:txBody>
      </p:sp>
    </p:spTree>
    <p:extLst>
      <p:ext uri="{BB962C8B-B14F-4D97-AF65-F5344CB8AC3E}">
        <p14:creationId xmlns:p14="http://schemas.microsoft.com/office/powerpoint/2010/main" val="3534324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p:cNvPicPr>
            <a:picLocks noChangeAspect="1" noChangeArrowheads="1"/>
          </p:cNvPicPr>
          <p:nvPr/>
        </p:nvPicPr>
        <p:blipFill>
          <a:blip r:embed="rId3" cstate="print"/>
          <a:srcRect/>
          <a:stretch>
            <a:fillRect/>
          </a:stretch>
        </p:blipFill>
        <p:spPr bwMode="auto">
          <a:xfrm>
            <a:off x="9508997" y="3140960"/>
            <a:ext cx="2288350" cy="3242275"/>
          </a:xfrm>
          <a:prstGeom prst="rect">
            <a:avLst/>
          </a:prstGeom>
          <a:noFill/>
          <a:ln w="9525">
            <a:noFill/>
            <a:miter lim="800000"/>
            <a:headEnd/>
            <a:tailEnd/>
          </a:ln>
        </p:spPr>
      </p:pic>
      <p:sp>
        <p:nvSpPr>
          <p:cNvPr id="2" name="Title 1"/>
          <p:cNvSpPr>
            <a:spLocks noGrp="1"/>
          </p:cNvSpPr>
          <p:nvPr>
            <p:ph type="title"/>
          </p:nvPr>
        </p:nvSpPr>
        <p:spPr/>
        <p:txBody>
          <a:bodyPr/>
          <a:lstStyle/>
          <a:p>
            <a:r>
              <a:rPr lang="en-GB" dirty="0" smtClean="0"/>
              <a:t>Our Challenge –  Our </a:t>
            </a:r>
            <a:r>
              <a:rPr lang="en-GB" dirty="0"/>
              <a:t>O</a:t>
            </a:r>
            <a:r>
              <a:rPr lang="en-GB" dirty="0" smtClean="0"/>
              <a:t>pportunity </a:t>
            </a:r>
            <a:br>
              <a:rPr lang="en-GB" dirty="0" smtClean="0"/>
            </a:br>
            <a:r>
              <a:rPr lang="en-GB" dirty="0" smtClean="0"/>
              <a:t>The UK (and the World) needs more Engineers</a:t>
            </a:r>
            <a:endParaRPr lang="en-GB" b="0" dirty="0"/>
          </a:p>
        </p:txBody>
      </p:sp>
      <p:sp>
        <p:nvSpPr>
          <p:cNvPr id="3" name="Content Placeholder 2"/>
          <p:cNvSpPr>
            <a:spLocks noGrp="1"/>
          </p:cNvSpPr>
          <p:nvPr>
            <p:ph idx="1"/>
          </p:nvPr>
        </p:nvSpPr>
        <p:spPr>
          <a:xfrm>
            <a:off x="2714705" y="1412720"/>
            <a:ext cx="3312460" cy="1296180"/>
          </a:xfrm>
        </p:spPr>
        <p:txBody>
          <a:bodyPr/>
          <a:lstStyle/>
          <a:p>
            <a:r>
              <a:rPr lang="en-GB" sz="1400" dirty="0" smtClean="0"/>
              <a:t>Each year</a:t>
            </a:r>
          </a:p>
          <a:p>
            <a:r>
              <a:rPr lang="en-GB" sz="2800" b="1" dirty="0" smtClean="0"/>
              <a:t>87,000</a:t>
            </a:r>
            <a:r>
              <a:rPr lang="en-GB" dirty="0" smtClean="0"/>
              <a:t> engineers needed</a:t>
            </a:r>
          </a:p>
          <a:p>
            <a:r>
              <a:rPr lang="en-GB" sz="2800" b="1" dirty="0" smtClean="0"/>
              <a:t>51,000</a:t>
            </a:r>
            <a:r>
              <a:rPr lang="en-GB" dirty="0" smtClean="0"/>
              <a:t> coming on stream</a:t>
            </a:r>
            <a:endParaRPr lang="en-GB" dirty="0"/>
          </a:p>
        </p:txBody>
      </p:sp>
      <p:cxnSp>
        <p:nvCxnSpPr>
          <p:cNvPr id="9" name="Straight Connector 8"/>
          <p:cNvCxnSpPr/>
          <p:nvPr/>
        </p:nvCxnSpPr>
        <p:spPr bwMode="auto">
          <a:xfrm flipV="1">
            <a:off x="6171185" y="1629410"/>
            <a:ext cx="0" cy="4752000"/>
          </a:xfrm>
          <a:prstGeom prst="line">
            <a:avLst/>
          </a:prstGeom>
          <a:solidFill>
            <a:schemeClr val="tx2"/>
          </a:solidFill>
          <a:ln w="381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029" name="Picture 5"/>
          <p:cNvPicPr>
            <a:picLocks noChangeAspect="1" noChangeArrowheads="1"/>
          </p:cNvPicPr>
          <p:nvPr/>
        </p:nvPicPr>
        <p:blipFill>
          <a:blip r:embed="rId4" cstate="print"/>
          <a:srcRect/>
          <a:stretch>
            <a:fillRect/>
          </a:stretch>
        </p:blipFill>
        <p:spPr bwMode="auto">
          <a:xfrm>
            <a:off x="6531235" y="1988800"/>
            <a:ext cx="2520349" cy="3587996"/>
          </a:xfrm>
          <a:prstGeom prst="rect">
            <a:avLst/>
          </a:prstGeom>
          <a:ln>
            <a:noFill/>
          </a:ln>
          <a:effectLst>
            <a:outerShdw blurRad="292100" dist="139700" dir="2700000" algn="tl" rotWithShape="0">
              <a:srgbClr val="333333">
                <a:alpha val="65000"/>
              </a:srgbClr>
            </a:outerShdw>
          </a:effectLst>
        </p:spPr>
      </p:pic>
      <p:pic>
        <p:nvPicPr>
          <p:cNvPr id="1031" name="Picture 7"/>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9123595" y="1412720"/>
            <a:ext cx="2448340" cy="2268217"/>
          </a:xfrm>
          <a:prstGeom prst="rect">
            <a:avLst/>
          </a:prstGeom>
          <a:noFill/>
          <a:ln w="9525">
            <a:noFill/>
            <a:miter lim="800000"/>
            <a:headEnd/>
            <a:tailEnd/>
          </a:ln>
        </p:spPr>
      </p:pic>
      <p:pic>
        <p:nvPicPr>
          <p:cNvPr id="15361" name="Picture 1"/>
          <p:cNvPicPr>
            <a:picLocks noChangeAspect="1" noChangeArrowheads="1"/>
          </p:cNvPicPr>
          <p:nvPr/>
        </p:nvPicPr>
        <p:blipFill>
          <a:blip r:embed="rId6" cstate="print"/>
          <a:srcRect r="8889"/>
          <a:stretch>
            <a:fillRect/>
          </a:stretch>
        </p:blipFill>
        <p:spPr bwMode="auto">
          <a:xfrm>
            <a:off x="2552358" y="2759068"/>
            <a:ext cx="3474807" cy="957972"/>
          </a:xfrm>
          <a:prstGeom prst="rect">
            <a:avLst/>
          </a:prstGeom>
          <a:noFill/>
          <a:ln w="9525">
            <a:noFill/>
            <a:miter lim="800000"/>
            <a:headEnd/>
            <a:tailEnd/>
          </a:ln>
        </p:spPr>
      </p:pic>
      <p:pic>
        <p:nvPicPr>
          <p:cNvPr id="15362" name="Picture 2"/>
          <p:cNvPicPr>
            <a:picLocks noChangeAspect="1" noChangeArrowheads="1"/>
          </p:cNvPicPr>
          <p:nvPr/>
        </p:nvPicPr>
        <p:blipFill>
          <a:blip r:embed="rId7" cstate="print"/>
          <a:srcRect t="9570" r="6989"/>
          <a:stretch>
            <a:fillRect/>
          </a:stretch>
        </p:blipFill>
        <p:spPr bwMode="auto">
          <a:xfrm>
            <a:off x="194355" y="5085230"/>
            <a:ext cx="3863559" cy="936130"/>
          </a:xfrm>
          <a:prstGeom prst="rect">
            <a:avLst/>
          </a:prstGeom>
          <a:noFill/>
          <a:ln w="9525">
            <a:noFill/>
            <a:miter lim="800000"/>
            <a:headEnd/>
            <a:tailEnd/>
          </a:ln>
        </p:spPr>
      </p:pic>
      <p:pic>
        <p:nvPicPr>
          <p:cNvPr id="15364" name="Picture 4"/>
          <p:cNvPicPr>
            <a:picLocks noChangeAspect="1" noChangeArrowheads="1"/>
          </p:cNvPicPr>
          <p:nvPr/>
        </p:nvPicPr>
        <p:blipFill>
          <a:blip r:embed="rId8" cstate="print"/>
          <a:srcRect/>
          <a:stretch>
            <a:fillRect/>
          </a:stretch>
        </p:blipFill>
        <p:spPr bwMode="auto">
          <a:xfrm>
            <a:off x="216030" y="1484730"/>
            <a:ext cx="2210635" cy="3133488"/>
          </a:xfrm>
          <a:prstGeom prst="rect">
            <a:avLst/>
          </a:prstGeom>
          <a:ln>
            <a:noFill/>
          </a:ln>
          <a:effectLst>
            <a:outerShdw blurRad="292100" dist="139700" dir="2700000" algn="tl" rotWithShape="0">
              <a:srgbClr val="333333">
                <a:alpha val="65000"/>
              </a:srgbClr>
            </a:outerShdw>
          </a:effectLst>
        </p:spPr>
      </p:pic>
      <p:pic>
        <p:nvPicPr>
          <p:cNvPr id="307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1905" y="1443761"/>
            <a:ext cx="2084759" cy="312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1690" y="3528820"/>
            <a:ext cx="1629966" cy="2852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9300126"/>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 sz="2700" dirty="0" smtClean="0">
                <a:latin typeface="Siemens Sans"/>
              </a:rPr>
              <a:t/>
            </a:r>
            <a:br>
              <a:rPr lang="en" sz="2700" dirty="0" smtClean="0">
                <a:latin typeface="Siemens Sans"/>
              </a:rPr>
            </a:br>
            <a:r>
              <a:rPr lang="en" sz="2700" dirty="0" smtClean="0">
                <a:latin typeface="Siemens Sans"/>
              </a:rPr>
              <a:t> </a:t>
            </a:r>
            <a:br>
              <a:rPr lang="en" sz="2700" dirty="0" smtClean="0">
                <a:latin typeface="Siemens Sans"/>
              </a:rPr>
            </a:br>
            <a:r>
              <a:rPr lang="en" sz="2700" dirty="0" smtClean="0">
                <a:latin typeface="Siemens Sans"/>
              </a:rPr>
              <a:t>Emerging skills requirements for Entry Level Talent.... </a:t>
            </a:r>
            <a:br>
              <a:rPr lang="en" sz="2700" dirty="0" smtClean="0">
                <a:latin typeface="Siemens Sans"/>
              </a:rPr>
            </a:br>
            <a:endParaRPr lang="en-US" sz="2700" dirty="0">
              <a:latin typeface="Siemens Sans"/>
            </a:endParaRPr>
          </a:p>
        </p:txBody>
      </p:sp>
      <p:sp>
        <p:nvSpPr>
          <p:cNvPr id="5" name="Content Placeholder 4"/>
          <p:cNvSpPr>
            <a:spLocks noGrp="1"/>
          </p:cNvSpPr>
          <p:nvPr>
            <p:ph idx="1"/>
          </p:nvPr>
        </p:nvSpPr>
        <p:spPr>
          <a:xfrm>
            <a:off x="435987" y="1337629"/>
            <a:ext cx="5159593" cy="4752975"/>
          </a:xfrm>
        </p:spPr>
        <p:txBody>
          <a:bodyPr/>
          <a:lstStyle/>
          <a:p>
            <a:r>
              <a:rPr lang="en-GB" sz="1900" dirty="0" smtClean="0">
                <a:latin typeface="Siemens Sans"/>
              </a:rPr>
              <a:t>Beyond the traditional ‘engineering’ and ‘business’ skills.... </a:t>
            </a:r>
          </a:p>
          <a:p>
            <a:pPr>
              <a:buFont typeface="Arial" pitchFamily="34" charset="0"/>
              <a:buChar char="•"/>
            </a:pPr>
            <a:r>
              <a:rPr lang="en-GB" sz="1900" dirty="0" smtClean="0">
                <a:latin typeface="Siemens Sans"/>
              </a:rPr>
              <a:t>Digitalisation – Engineering meets IT.</a:t>
            </a:r>
          </a:p>
          <a:p>
            <a:pPr>
              <a:buFont typeface="Arial" pitchFamily="34" charset="0"/>
              <a:buChar char="•"/>
            </a:pPr>
            <a:r>
              <a:rPr lang="en-GB" sz="1900" dirty="0" smtClean="0">
                <a:latin typeface="Siemens Sans"/>
              </a:rPr>
              <a:t>Innovation and Creativity – Inclusive culture and diversity of thinking.</a:t>
            </a:r>
          </a:p>
          <a:p>
            <a:pPr>
              <a:buFont typeface="Arial" pitchFamily="34" charset="0"/>
              <a:buChar char="•"/>
            </a:pPr>
            <a:r>
              <a:rPr lang="en-GB" sz="1900" dirty="0" smtClean="0">
                <a:latin typeface="Siemens Sans"/>
              </a:rPr>
              <a:t>The rise of the analytic –  more systems generated data and management Information.</a:t>
            </a:r>
          </a:p>
          <a:p>
            <a:pPr>
              <a:buFont typeface="Arial" pitchFamily="34" charset="0"/>
              <a:buChar char="•"/>
            </a:pPr>
            <a:endParaRPr lang="en-GB" dirty="0" smtClean="0">
              <a:latin typeface="Siemens Sans"/>
            </a:endParaRPr>
          </a:p>
          <a:p>
            <a:pPr>
              <a:buFont typeface="Arial" pitchFamily="34" charset="0"/>
              <a:buChar char="•"/>
            </a:pPr>
            <a:endParaRPr lang="en-GB" dirty="0" smtClean="0">
              <a:latin typeface="Siemens Sans"/>
            </a:endParaRPr>
          </a:p>
          <a:p>
            <a:pPr>
              <a:buFont typeface="Arial" pitchFamily="34" charset="0"/>
              <a:buChar char="•"/>
            </a:pPr>
            <a:endParaRPr lang="en-GB" dirty="0" smtClean="0">
              <a:latin typeface="Siemens Sans"/>
            </a:endParaRPr>
          </a:p>
          <a:p>
            <a:pPr>
              <a:buFont typeface="Arial" pitchFamily="34" charset="0"/>
              <a:buChar char="•"/>
            </a:pPr>
            <a:endParaRPr lang="en-GB" dirty="0" smtClean="0">
              <a:latin typeface="Siemens Sans"/>
            </a:endParaRPr>
          </a:p>
          <a:p>
            <a:pPr>
              <a:buFont typeface="Arial" pitchFamily="34" charset="0"/>
              <a:buChar char="•"/>
            </a:pPr>
            <a:endParaRPr lang="en-GB" dirty="0" smtClean="0">
              <a:latin typeface="Siemens Sans"/>
            </a:endParaRPr>
          </a:p>
          <a:p>
            <a:r>
              <a:rPr lang="en-GB" dirty="0" smtClean="0">
                <a:latin typeface="Siemens Sans"/>
              </a:rPr>
              <a:t> </a:t>
            </a:r>
          </a:p>
          <a:p>
            <a:pPr>
              <a:buFont typeface="Arial" pitchFamily="34" charset="0"/>
              <a:buChar char="•"/>
            </a:pPr>
            <a:endParaRPr lang="en-GB" dirty="0" smtClean="0">
              <a:latin typeface="Siemens Sans"/>
            </a:endParaRPr>
          </a:p>
          <a:p>
            <a:pPr>
              <a:buFont typeface="Arial" pitchFamily="34" charset="0"/>
              <a:buChar char="•"/>
            </a:pPr>
            <a:endParaRPr lang="en-GB" dirty="0" smtClean="0">
              <a:latin typeface="Siemens Sans"/>
            </a:endParaRPr>
          </a:p>
          <a:p>
            <a:endParaRPr lang="en-GB" dirty="0" smtClean="0">
              <a:latin typeface="Siemens Sans"/>
            </a:endParaRPr>
          </a:p>
          <a:p>
            <a:endParaRPr lang="en-GB" dirty="0" smtClean="0">
              <a:latin typeface="Siemens Sans"/>
            </a:endParaRPr>
          </a:p>
          <a:p>
            <a:pPr algn="ctr"/>
            <a:endParaRPr lang="en-GB" dirty="0" smtClean="0">
              <a:latin typeface="Siemens Sans"/>
            </a:endParaRPr>
          </a:p>
        </p:txBody>
      </p:sp>
      <p:sp>
        <p:nvSpPr>
          <p:cNvPr id="7" name="Rectangle 6"/>
          <p:cNvSpPr/>
          <p:nvPr/>
        </p:nvSpPr>
        <p:spPr>
          <a:xfrm>
            <a:off x="658479" y="6074202"/>
            <a:ext cx="11389744" cy="400072"/>
          </a:xfrm>
          <a:prstGeom prst="rect">
            <a:avLst/>
          </a:prstGeom>
        </p:spPr>
        <p:txBody>
          <a:bodyPr wrap="square" lIns="91429" tIns="45714" rIns="91429" bIns="45714">
            <a:spAutoFit/>
          </a:bodyPr>
          <a:lstStyle/>
          <a:p>
            <a:pPr algn="r"/>
            <a:r>
              <a:rPr lang="en-US" b="1" dirty="0" smtClean="0">
                <a:solidFill>
                  <a:schemeClr val="tx1"/>
                </a:solidFill>
                <a:latin typeface="Siemens Sans"/>
              </a:rPr>
              <a:t>….</a:t>
            </a:r>
            <a:r>
              <a:rPr lang="en-US" sz="2000" b="1" dirty="0" smtClean="0">
                <a:solidFill>
                  <a:schemeClr val="tx1"/>
                </a:solidFill>
                <a:latin typeface="Siemens Sans"/>
              </a:rPr>
              <a:t>but it’s not just JOB Fit </a:t>
            </a:r>
            <a:r>
              <a:rPr lang="en-GB" sz="2000" b="1" dirty="0" smtClean="0">
                <a:solidFill>
                  <a:schemeClr val="tx1"/>
                </a:solidFill>
                <a:latin typeface="Siemens Sans"/>
              </a:rPr>
              <a:t>that is important – SIEMENS Fit is crucial</a:t>
            </a:r>
            <a:r>
              <a:rPr lang="en-GB" sz="2000" b="1" dirty="0" smtClean="0">
                <a:latin typeface="Siemens Sans"/>
              </a:rPr>
              <a:t>.</a:t>
            </a:r>
            <a:endParaRPr lang="en-US" sz="2000" b="1" dirty="0">
              <a:latin typeface="Siemens Sans"/>
            </a:endParaRPr>
          </a:p>
        </p:txBody>
      </p:sp>
      <p:pic>
        <p:nvPicPr>
          <p:cNvPr id="8" name="Picture 2"/>
          <p:cNvPicPr>
            <a:picLocks noChangeAspect="1" noChangeArrowheads="1"/>
          </p:cNvPicPr>
          <p:nvPr/>
        </p:nvPicPr>
        <p:blipFill>
          <a:blip r:embed="rId3" cstate="print"/>
          <a:srcRect/>
          <a:stretch>
            <a:fillRect/>
          </a:stretch>
        </p:blipFill>
        <p:spPr bwMode="auto">
          <a:xfrm>
            <a:off x="5830026" y="1363949"/>
            <a:ext cx="6218197" cy="4362455"/>
          </a:xfrm>
          <a:prstGeom prst="rect">
            <a:avLst/>
          </a:prstGeom>
          <a:noFill/>
          <a:ln w="9525">
            <a:solidFill>
              <a:schemeClr val="accent1"/>
            </a:solidFill>
            <a:miter lim="800000"/>
            <a:headEnd/>
            <a:tailEnd/>
          </a:ln>
        </p:spPr>
      </p:pic>
      <p:sp>
        <p:nvSpPr>
          <p:cNvPr id="6" name="Cloud 5"/>
          <p:cNvSpPr/>
          <p:nvPr/>
        </p:nvSpPr>
        <p:spPr bwMode="auto">
          <a:xfrm>
            <a:off x="197207" y="3943256"/>
            <a:ext cx="2518698" cy="1038177"/>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87" tIns="53994" rIns="107987" bIns="53994" numCol="1" spcCol="71990" rtlCol="0" anchor="ctr">
            <a:noAutofit/>
          </a:bodyPr>
          <a:lstStyle/>
          <a:p>
            <a:pPr algn="ctr">
              <a:lnSpc>
                <a:spcPct val="110000"/>
              </a:lnSpc>
              <a:spcBef>
                <a:spcPct val="0"/>
              </a:spcBef>
              <a:buFont typeface="Wingdings" charset="0"/>
              <a:buNone/>
            </a:pPr>
            <a:r>
              <a:rPr lang="en-GB" sz="1700" b="1" dirty="0" smtClean="0">
                <a:solidFill>
                  <a:schemeClr val="tx1"/>
                </a:solidFill>
                <a:latin typeface="Siemens Sans"/>
              </a:rPr>
              <a:t>Problem solver</a:t>
            </a:r>
            <a:endParaRPr lang="en-US" sz="1700" b="1" dirty="0" smtClean="0">
              <a:solidFill>
                <a:schemeClr val="tx1"/>
              </a:solidFill>
              <a:latin typeface="Siemens Sans"/>
            </a:endParaRPr>
          </a:p>
        </p:txBody>
      </p:sp>
      <p:sp>
        <p:nvSpPr>
          <p:cNvPr id="9" name="Cloud 8"/>
          <p:cNvSpPr/>
          <p:nvPr/>
        </p:nvSpPr>
        <p:spPr bwMode="auto">
          <a:xfrm>
            <a:off x="3090529" y="3861368"/>
            <a:ext cx="2518698" cy="1038177"/>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87" tIns="53994" rIns="107987" bIns="53994" numCol="1" spcCol="71990" rtlCol="0" anchor="ctr">
            <a:noAutofit/>
          </a:bodyPr>
          <a:lstStyle/>
          <a:p>
            <a:pPr algn="ctr">
              <a:lnSpc>
                <a:spcPct val="110000"/>
              </a:lnSpc>
              <a:spcBef>
                <a:spcPct val="0"/>
              </a:spcBef>
              <a:buFont typeface="Wingdings" charset="0"/>
              <a:buNone/>
            </a:pPr>
            <a:r>
              <a:rPr lang="en-GB" sz="1700" b="1" dirty="0" smtClean="0">
                <a:solidFill>
                  <a:schemeClr val="tx1"/>
                </a:solidFill>
                <a:latin typeface="Siemens Sans"/>
              </a:rPr>
              <a:t>Inquisitive mindset</a:t>
            </a:r>
            <a:endParaRPr lang="en-US" sz="1700" b="1" dirty="0" smtClean="0">
              <a:solidFill>
                <a:schemeClr val="tx1"/>
              </a:solidFill>
              <a:latin typeface="Siemens Sans"/>
            </a:endParaRPr>
          </a:p>
        </p:txBody>
      </p:sp>
      <p:sp>
        <p:nvSpPr>
          <p:cNvPr id="10" name="Cloud 9"/>
          <p:cNvSpPr/>
          <p:nvPr/>
        </p:nvSpPr>
        <p:spPr bwMode="auto">
          <a:xfrm>
            <a:off x="197207" y="5161129"/>
            <a:ext cx="2518698" cy="1038177"/>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87" tIns="53994" rIns="107987" bIns="53994" numCol="1" spcCol="71990" rtlCol="0" anchor="ctr">
            <a:noAutofit/>
          </a:bodyPr>
          <a:lstStyle/>
          <a:p>
            <a:pPr algn="ctr">
              <a:lnSpc>
                <a:spcPct val="110000"/>
              </a:lnSpc>
              <a:spcBef>
                <a:spcPct val="0"/>
              </a:spcBef>
              <a:buFont typeface="Wingdings" charset="0"/>
              <a:buNone/>
            </a:pPr>
            <a:r>
              <a:rPr lang="en-GB" sz="1700" b="1" dirty="0" smtClean="0">
                <a:solidFill>
                  <a:schemeClr val="tx1"/>
                </a:solidFill>
                <a:latin typeface="Siemens Sans"/>
              </a:rPr>
              <a:t>Collaborator </a:t>
            </a:r>
            <a:endParaRPr lang="en-US" sz="1700" b="1" dirty="0" smtClean="0">
              <a:solidFill>
                <a:schemeClr val="tx1"/>
              </a:solidFill>
              <a:latin typeface="Siemens Sans"/>
            </a:endParaRPr>
          </a:p>
        </p:txBody>
      </p:sp>
      <p:sp>
        <p:nvSpPr>
          <p:cNvPr id="11" name="Cloud 10"/>
          <p:cNvSpPr/>
          <p:nvPr/>
        </p:nvSpPr>
        <p:spPr bwMode="auto">
          <a:xfrm>
            <a:off x="3104177" y="5036025"/>
            <a:ext cx="2518698" cy="1038177"/>
          </a:xfrm>
          <a:prstGeom prst="cloud">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87" tIns="53994" rIns="107987" bIns="53994" numCol="1" spcCol="71990" rtlCol="0" anchor="ctr">
            <a:noAutofit/>
          </a:bodyPr>
          <a:lstStyle/>
          <a:p>
            <a:pPr algn="ctr">
              <a:lnSpc>
                <a:spcPct val="110000"/>
              </a:lnSpc>
              <a:spcBef>
                <a:spcPct val="0"/>
              </a:spcBef>
              <a:buFont typeface="Wingdings" charset="0"/>
              <a:buNone/>
            </a:pPr>
            <a:r>
              <a:rPr lang="en-GB" b="1" dirty="0" smtClean="0">
                <a:solidFill>
                  <a:schemeClr val="tx1"/>
                </a:solidFill>
                <a:latin typeface="Siemens Sans"/>
              </a:rPr>
              <a:t>Ability to learn and adapt</a:t>
            </a:r>
            <a:endParaRPr lang="en-US" sz="1700" b="1" dirty="0" smtClean="0">
              <a:latin typeface="Siemens Sans"/>
            </a:endParaRPr>
          </a:p>
        </p:txBody>
      </p:sp>
      <p:sp>
        <p:nvSpPr>
          <p:cNvPr id="12" name="TextBox 11"/>
          <p:cNvSpPr txBox="1"/>
          <p:nvPr/>
        </p:nvSpPr>
        <p:spPr>
          <a:xfrm>
            <a:off x="1705967" y="4844952"/>
            <a:ext cx="2388358" cy="304699"/>
          </a:xfrm>
          <a:prstGeom prst="rect">
            <a:avLst/>
          </a:prstGeom>
          <a:noFill/>
        </p:spPr>
        <p:txBody>
          <a:bodyPr wrap="square" lIns="0" tIns="0" rIns="0" bIns="0" rtlCol="0">
            <a:spAutoFit/>
          </a:bodyPr>
          <a:lstStyle/>
          <a:p>
            <a:pPr algn="ctr">
              <a:lnSpc>
                <a:spcPct val="110000"/>
              </a:lnSpc>
            </a:pPr>
            <a:r>
              <a:rPr lang="en-GB" b="1" dirty="0" smtClean="0">
                <a:solidFill>
                  <a:schemeClr val="tx1"/>
                </a:solidFill>
                <a:latin typeface="Siemens Sans"/>
              </a:rPr>
              <a:t>Characteristics</a:t>
            </a:r>
            <a:endParaRPr lang="en-US" b="1" dirty="0" smtClean="0">
              <a:solidFill>
                <a:schemeClr val="tx1"/>
              </a:solidFill>
              <a:latin typeface="Siemens Sans"/>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32285900"/>
              </p:ext>
            </p:extLst>
          </p:nvPr>
        </p:nvGraphicFramePr>
        <p:xfrm>
          <a:off x="431595" y="2060848"/>
          <a:ext cx="11527281" cy="41922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9" name="Straight Arrow Connector 148"/>
          <p:cNvCxnSpPr/>
          <p:nvPr/>
        </p:nvCxnSpPr>
        <p:spPr>
          <a:xfrm flipH="1" flipV="1">
            <a:off x="10026478" y="3573016"/>
            <a:ext cx="11184" cy="288032"/>
          </a:xfrm>
          <a:prstGeom prst="straightConnector1">
            <a:avLst/>
          </a:prstGeom>
          <a:ln>
            <a:tailEnd type="arrow"/>
          </a:ln>
        </p:spPr>
        <p:style>
          <a:lnRef idx="3">
            <a:schemeClr val="accent6"/>
          </a:lnRef>
          <a:fillRef idx="0">
            <a:schemeClr val="accent6"/>
          </a:fillRef>
          <a:effectRef idx="2">
            <a:schemeClr val="accent6"/>
          </a:effectRef>
          <a:fontRef idx="minor">
            <a:schemeClr val="tx1"/>
          </a:fontRef>
        </p:style>
      </p:cxnSp>
      <p:grpSp>
        <p:nvGrpSpPr>
          <p:cNvPr id="2" name="Group 108"/>
          <p:cNvGrpSpPr/>
          <p:nvPr/>
        </p:nvGrpSpPr>
        <p:grpSpPr>
          <a:xfrm>
            <a:off x="2256748" y="2780928"/>
            <a:ext cx="10278492" cy="1224136"/>
            <a:chOff x="1691680" y="2420888"/>
            <a:chExt cx="7704856" cy="1224136"/>
          </a:xfrm>
        </p:grpSpPr>
        <p:cxnSp>
          <p:nvCxnSpPr>
            <p:cNvPr id="17" name="Straight Arrow Connector 16"/>
            <p:cNvCxnSpPr/>
            <p:nvPr/>
          </p:nvCxnSpPr>
          <p:spPr>
            <a:xfrm flipV="1">
              <a:off x="5580112" y="2780928"/>
              <a:ext cx="0" cy="720080"/>
            </a:xfrm>
            <a:prstGeom prst="straightConnector1">
              <a:avLst/>
            </a:prstGeom>
            <a:ln>
              <a:tailEnd type="arrow"/>
            </a:ln>
          </p:spPr>
          <p:style>
            <a:lnRef idx="3">
              <a:schemeClr val="accent6"/>
            </a:lnRef>
            <a:fillRef idx="0">
              <a:schemeClr val="accent6"/>
            </a:fillRef>
            <a:effectRef idx="2">
              <a:schemeClr val="accent6"/>
            </a:effectRef>
            <a:fontRef idx="minor">
              <a:schemeClr val="tx1"/>
            </a:fontRef>
          </p:style>
        </p:cxnSp>
        <p:sp>
          <p:nvSpPr>
            <p:cNvPr id="16" name="TextBox 15"/>
            <p:cNvSpPr txBox="1"/>
            <p:nvPr/>
          </p:nvSpPr>
          <p:spPr>
            <a:xfrm>
              <a:off x="8172400" y="2492896"/>
              <a:ext cx="1224136" cy="430887"/>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Post Graduate Opportunities</a:t>
              </a:r>
              <a:endParaRPr lang="en-US" sz="1100" dirty="0">
                <a:solidFill>
                  <a:prstClr val="white"/>
                </a:solidFill>
                <a:latin typeface="Calibri"/>
              </a:endParaRPr>
            </a:p>
          </p:txBody>
        </p:sp>
        <p:cxnSp>
          <p:nvCxnSpPr>
            <p:cNvPr id="6" name="Straight Arrow Connector 5"/>
            <p:cNvCxnSpPr/>
            <p:nvPr/>
          </p:nvCxnSpPr>
          <p:spPr>
            <a:xfrm flipV="1">
              <a:off x="2339752" y="2780928"/>
              <a:ext cx="0" cy="864096"/>
            </a:xfrm>
            <a:prstGeom prst="straightConnector1">
              <a:avLst/>
            </a:prstGeom>
            <a:ln>
              <a:solidFill>
                <a:schemeClr val="bg2"/>
              </a:solidFill>
              <a:tailEnd type="arrow"/>
            </a:ln>
          </p:spPr>
          <p:style>
            <a:lnRef idx="2">
              <a:schemeClr val="accent3"/>
            </a:lnRef>
            <a:fillRef idx="0">
              <a:schemeClr val="accent3"/>
            </a:fillRef>
            <a:effectRef idx="1">
              <a:schemeClr val="accent3"/>
            </a:effectRef>
            <a:fontRef idx="minor">
              <a:schemeClr val="tx1"/>
            </a:fontRef>
          </p:style>
        </p:cxnSp>
        <p:sp>
          <p:nvSpPr>
            <p:cNvPr id="7" name="TextBox 6"/>
            <p:cNvSpPr txBox="1"/>
            <p:nvPr/>
          </p:nvSpPr>
          <p:spPr>
            <a:xfrm>
              <a:off x="1691680" y="2492896"/>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Work Experience</a:t>
              </a:r>
              <a:endParaRPr lang="en-US" sz="1100" dirty="0">
                <a:solidFill>
                  <a:prstClr val="white"/>
                </a:solidFill>
                <a:latin typeface="Calibri"/>
              </a:endParaRPr>
            </a:p>
          </p:txBody>
        </p:sp>
        <p:cxnSp>
          <p:nvCxnSpPr>
            <p:cNvPr id="8" name="Straight Arrow Connector 7"/>
            <p:cNvCxnSpPr/>
            <p:nvPr/>
          </p:nvCxnSpPr>
          <p:spPr>
            <a:xfrm flipV="1">
              <a:off x="3491880" y="2780928"/>
              <a:ext cx="0" cy="79208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9" name="TextBox 8"/>
            <p:cNvSpPr txBox="1"/>
            <p:nvPr/>
          </p:nvSpPr>
          <p:spPr>
            <a:xfrm>
              <a:off x="2987824" y="2492896"/>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Apprenticeships</a:t>
              </a:r>
              <a:endParaRPr lang="en-US" sz="1100" dirty="0">
                <a:solidFill>
                  <a:prstClr val="white"/>
                </a:solidFill>
                <a:latin typeface="Calibri"/>
              </a:endParaRPr>
            </a:p>
          </p:txBody>
        </p:sp>
        <p:cxnSp>
          <p:nvCxnSpPr>
            <p:cNvPr id="10" name="Straight Arrow Connector 9"/>
            <p:cNvCxnSpPr/>
            <p:nvPr/>
          </p:nvCxnSpPr>
          <p:spPr>
            <a:xfrm flipV="1">
              <a:off x="4572000" y="2852936"/>
              <a:ext cx="0" cy="720080"/>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11" name="TextBox 10"/>
            <p:cNvSpPr txBox="1"/>
            <p:nvPr/>
          </p:nvSpPr>
          <p:spPr>
            <a:xfrm>
              <a:off x="4283968" y="2420888"/>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Higher Apprenticeships</a:t>
              </a:r>
              <a:endParaRPr lang="en-US" sz="1100" dirty="0">
                <a:solidFill>
                  <a:prstClr val="white"/>
                </a:solidFill>
                <a:latin typeface="Calibri"/>
              </a:endParaRPr>
            </a:p>
          </p:txBody>
        </p:sp>
        <p:sp>
          <p:nvSpPr>
            <p:cNvPr id="12" name="TextBox 11"/>
            <p:cNvSpPr txBox="1"/>
            <p:nvPr/>
          </p:nvSpPr>
          <p:spPr>
            <a:xfrm>
              <a:off x="5292080" y="2420888"/>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Degree Sponsorships</a:t>
              </a:r>
              <a:endParaRPr lang="en-US" sz="1100" dirty="0">
                <a:solidFill>
                  <a:prstClr val="white"/>
                </a:solidFill>
                <a:latin typeface="Calibri"/>
              </a:endParaRPr>
            </a:p>
          </p:txBody>
        </p:sp>
        <p:sp>
          <p:nvSpPr>
            <p:cNvPr id="13" name="TextBox 12"/>
            <p:cNvSpPr txBox="1"/>
            <p:nvPr/>
          </p:nvSpPr>
          <p:spPr>
            <a:xfrm>
              <a:off x="6156176" y="2564904"/>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Internships</a:t>
              </a:r>
              <a:endParaRPr lang="en-US" sz="1100" dirty="0">
                <a:solidFill>
                  <a:prstClr val="white"/>
                </a:solidFill>
                <a:latin typeface="Calibri"/>
              </a:endParaRPr>
            </a:p>
          </p:txBody>
        </p:sp>
        <p:sp>
          <p:nvSpPr>
            <p:cNvPr id="14" name="TextBox 13"/>
            <p:cNvSpPr txBox="1"/>
            <p:nvPr/>
          </p:nvSpPr>
          <p:spPr>
            <a:xfrm>
              <a:off x="6948264" y="2782089"/>
              <a:ext cx="122413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Graduate Opportunities</a:t>
              </a:r>
              <a:endParaRPr lang="en-US" sz="1100" dirty="0">
                <a:solidFill>
                  <a:prstClr val="white"/>
                </a:solidFill>
                <a:latin typeface="Calibri"/>
              </a:endParaRPr>
            </a:p>
          </p:txBody>
        </p:sp>
        <p:cxnSp>
          <p:nvCxnSpPr>
            <p:cNvPr id="18" name="Straight Arrow Connector 17"/>
            <p:cNvCxnSpPr/>
            <p:nvPr/>
          </p:nvCxnSpPr>
          <p:spPr>
            <a:xfrm flipV="1">
              <a:off x="6588224" y="2780928"/>
              <a:ext cx="0" cy="720080"/>
            </a:xfrm>
            <a:prstGeom prst="straightConnector1">
              <a:avLst/>
            </a:prstGeom>
            <a:ln>
              <a:tailEnd type="arrow"/>
            </a:ln>
          </p:spPr>
          <p:style>
            <a:lnRef idx="3">
              <a:schemeClr val="accent6"/>
            </a:lnRef>
            <a:fillRef idx="0">
              <a:schemeClr val="accent6"/>
            </a:fillRef>
            <a:effectRef idx="2">
              <a:schemeClr val="accent6"/>
            </a:effectRef>
            <a:fontRef idx="minor">
              <a:schemeClr val="tx1"/>
            </a:fontRef>
          </p:style>
        </p:cxnSp>
        <p:cxnSp>
          <p:nvCxnSpPr>
            <p:cNvPr id="21" name="Elbow Connector 20"/>
            <p:cNvCxnSpPr/>
            <p:nvPr/>
          </p:nvCxnSpPr>
          <p:spPr>
            <a:xfrm rot="16200000" flipH="1">
              <a:off x="7020272" y="2348880"/>
              <a:ext cx="216024" cy="792088"/>
            </a:xfrm>
            <a:prstGeom prst="bentConnector3">
              <a:avLst>
                <a:gd name="adj1" fmla="val -53726"/>
              </a:avLst>
            </a:prstGeom>
            <a:ln>
              <a:tailEnd type="arrow"/>
            </a:ln>
          </p:spPr>
          <p:style>
            <a:lnRef idx="3">
              <a:schemeClr val="accent6"/>
            </a:lnRef>
            <a:fillRef idx="0">
              <a:schemeClr val="accent6"/>
            </a:fillRef>
            <a:effectRef idx="2">
              <a:schemeClr val="accent6"/>
            </a:effectRef>
            <a:fontRef idx="minor">
              <a:schemeClr val="tx1"/>
            </a:fontRef>
          </p:style>
        </p:cxnSp>
        <p:cxnSp>
          <p:nvCxnSpPr>
            <p:cNvPr id="34" name="Elbow Connector 33"/>
            <p:cNvCxnSpPr/>
            <p:nvPr/>
          </p:nvCxnSpPr>
          <p:spPr>
            <a:xfrm rot="5400000" flipH="1" flipV="1">
              <a:off x="8316416" y="3068960"/>
              <a:ext cx="648072" cy="216024"/>
            </a:xfrm>
            <a:prstGeom prst="bentConnector3">
              <a:avLst>
                <a:gd name="adj1" fmla="val 50000"/>
              </a:avLst>
            </a:prstGeom>
            <a:ln>
              <a:tailEnd type="arrow"/>
            </a:ln>
          </p:spPr>
          <p:style>
            <a:lnRef idx="3">
              <a:schemeClr val="accent2"/>
            </a:lnRef>
            <a:fillRef idx="0">
              <a:schemeClr val="accent2"/>
            </a:fillRef>
            <a:effectRef idx="2">
              <a:schemeClr val="accent2"/>
            </a:effectRef>
            <a:fontRef idx="minor">
              <a:schemeClr val="tx1"/>
            </a:fontRef>
          </p:style>
        </p:cxnSp>
      </p:grpSp>
      <p:sp>
        <p:nvSpPr>
          <p:cNvPr id="45" name="TextBox 44"/>
          <p:cNvSpPr txBox="1"/>
          <p:nvPr/>
        </p:nvSpPr>
        <p:spPr>
          <a:xfrm rot="16200000">
            <a:off x="-851528" y="3563144"/>
            <a:ext cx="2016224" cy="307777"/>
          </a:xfrm>
          <a:prstGeom prst="rect">
            <a:avLst/>
          </a:prstGeom>
          <a:noFill/>
        </p:spPr>
        <p:txBody>
          <a:bodyPr wrap="square" rtlCol="0">
            <a:spAutoFit/>
          </a:bodyPr>
          <a:lstStyle/>
          <a:p>
            <a:pPr fontAlgn="auto">
              <a:spcBef>
                <a:spcPts val="0"/>
              </a:spcBef>
              <a:spcAft>
                <a:spcPts val="0"/>
              </a:spcAft>
            </a:pPr>
            <a:r>
              <a:rPr lang="en-GB" sz="1400" dirty="0" smtClean="0">
                <a:solidFill>
                  <a:schemeClr val="tx1"/>
                </a:solidFill>
                <a:latin typeface="Calibri"/>
              </a:rPr>
              <a:t>UK</a:t>
            </a:r>
            <a:r>
              <a:rPr lang="en-GB" sz="1400" dirty="0" smtClean="0">
                <a:solidFill>
                  <a:prstClr val="white"/>
                </a:solidFill>
                <a:latin typeface="Calibri"/>
              </a:rPr>
              <a:t> </a:t>
            </a:r>
            <a:r>
              <a:rPr lang="en-GB" sz="1400" dirty="0" smtClean="0">
                <a:solidFill>
                  <a:schemeClr val="tx1"/>
                </a:solidFill>
                <a:latin typeface="Calibri"/>
              </a:rPr>
              <a:t>Education</a:t>
            </a:r>
            <a:r>
              <a:rPr lang="en-GB" sz="1400" dirty="0" smtClean="0">
                <a:solidFill>
                  <a:prstClr val="white"/>
                </a:solidFill>
                <a:latin typeface="Calibri"/>
              </a:rPr>
              <a:t> </a:t>
            </a:r>
            <a:r>
              <a:rPr lang="en-GB" sz="1400" dirty="0" smtClean="0">
                <a:solidFill>
                  <a:schemeClr val="tx1"/>
                </a:solidFill>
                <a:latin typeface="Calibri"/>
              </a:rPr>
              <a:t>Pipeline</a:t>
            </a:r>
            <a:endParaRPr lang="en-US" sz="1400" dirty="0">
              <a:solidFill>
                <a:schemeClr val="tx1"/>
              </a:solidFill>
              <a:latin typeface="Calibri"/>
            </a:endParaRPr>
          </a:p>
        </p:txBody>
      </p:sp>
      <p:sp>
        <p:nvSpPr>
          <p:cNvPr id="46" name="TextBox 45"/>
          <p:cNvSpPr txBox="1"/>
          <p:nvPr/>
        </p:nvSpPr>
        <p:spPr>
          <a:xfrm rot="16200000">
            <a:off x="-833614" y="1546920"/>
            <a:ext cx="2016224" cy="307777"/>
          </a:xfrm>
          <a:prstGeom prst="rect">
            <a:avLst/>
          </a:prstGeom>
          <a:noFill/>
        </p:spPr>
        <p:txBody>
          <a:bodyPr wrap="square" rtlCol="0">
            <a:spAutoFit/>
          </a:bodyPr>
          <a:lstStyle/>
          <a:p>
            <a:pPr fontAlgn="auto">
              <a:spcBef>
                <a:spcPts val="0"/>
              </a:spcBef>
              <a:spcAft>
                <a:spcPts val="0"/>
              </a:spcAft>
            </a:pPr>
            <a:r>
              <a:rPr lang="en-GB" sz="1400" dirty="0" smtClean="0">
                <a:solidFill>
                  <a:schemeClr val="tx1"/>
                </a:solidFill>
                <a:latin typeface="Calibri"/>
              </a:rPr>
              <a:t>Working</a:t>
            </a:r>
            <a:r>
              <a:rPr lang="en-GB" sz="1400" dirty="0" smtClean="0">
                <a:solidFill>
                  <a:prstClr val="white"/>
                </a:solidFill>
                <a:latin typeface="Calibri"/>
              </a:rPr>
              <a:t> </a:t>
            </a:r>
            <a:r>
              <a:rPr lang="en-GB" sz="1400" dirty="0" smtClean="0">
                <a:solidFill>
                  <a:schemeClr val="tx1"/>
                </a:solidFill>
                <a:latin typeface="Calibri"/>
              </a:rPr>
              <a:t>for</a:t>
            </a:r>
            <a:r>
              <a:rPr lang="en-GB" sz="1400" dirty="0" smtClean="0">
                <a:solidFill>
                  <a:prstClr val="white"/>
                </a:solidFill>
                <a:latin typeface="Calibri"/>
              </a:rPr>
              <a:t> </a:t>
            </a:r>
            <a:r>
              <a:rPr lang="en-GB" sz="1400" dirty="0" smtClean="0">
                <a:solidFill>
                  <a:schemeClr val="tx1"/>
                </a:solidFill>
                <a:latin typeface="Calibri"/>
              </a:rPr>
              <a:t>Us</a:t>
            </a:r>
            <a:endParaRPr lang="en-US" sz="1400" dirty="0">
              <a:solidFill>
                <a:schemeClr val="tx1"/>
              </a:solidFill>
              <a:latin typeface="Calibri"/>
            </a:endParaRPr>
          </a:p>
        </p:txBody>
      </p:sp>
      <p:sp>
        <p:nvSpPr>
          <p:cNvPr id="112" name="TextBox 111"/>
          <p:cNvSpPr txBox="1"/>
          <p:nvPr/>
        </p:nvSpPr>
        <p:spPr>
          <a:xfrm>
            <a:off x="239474" y="548681"/>
            <a:ext cx="2593638" cy="584775"/>
          </a:xfrm>
          <a:prstGeom prst="rect">
            <a:avLst/>
          </a:prstGeom>
          <a:noFill/>
        </p:spPr>
        <p:txBody>
          <a:bodyPr wrap="square" rtlCol="0">
            <a:spAutoFit/>
          </a:bodyPr>
          <a:lstStyle/>
          <a:p>
            <a:pPr fontAlgn="auto">
              <a:spcBef>
                <a:spcPts val="0"/>
              </a:spcBef>
              <a:spcAft>
                <a:spcPts val="0"/>
              </a:spcAft>
            </a:pPr>
            <a:endParaRPr lang="en-GB" dirty="0" smtClean="0">
              <a:solidFill>
                <a:schemeClr val="tx1"/>
              </a:solidFill>
              <a:latin typeface="Calibri"/>
            </a:endParaRPr>
          </a:p>
          <a:p>
            <a:pPr fontAlgn="auto">
              <a:spcBef>
                <a:spcPts val="0"/>
              </a:spcBef>
              <a:spcAft>
                <a:spcPts val="0"/>
              </a:spcAft>
            </a:pPr>
            <a:r>
              <a:rPr lang="en-GB" sz="1400" dirty="0" smtClean="0">
                <a:solidFill>
                  <a:schemeClr val="tx1"/>
                </a:solidFill>
                <a:latin typeface="Calibri"/>
              </a:rPr>
              <a:t>Entry Level Talent Landscape</a:t>
            </a:r>
            <a:endParaRPr lang="en-US" sz="1400" dirty="0">
              <a:solidFill>
                <a:schemeClr val="tx1"/>
              </a:solidFill>
              <a:latin typeface="Calibri"/>
            </a:endParaRPr>
          </a:p>
        </p:txBody>
      </p:sp>
      <p:grpSp>
        <p:nvGrpSpPr>
          <p:cNvPr id="3" name="Group 152"/>
          <p:cNvGrpSpPr/>
          <p:nvPr/>
        </p:nvGrpSpPr>
        <p:grpSpPr>
          <a:xfrm>
            <a:off x="2833112" y="116632"/>
            <a:ext cx="9365238" cy="2664296"/>
            <a:chOff x="2123728" y="332656"/>
            <a:chExt cx="7020272" cy="2664296"/>
          </a:xfrm>
        </p:grpSpPr>
        <p:sp>
          <p:nvSpPr>
            <p:cNvPr id="88" name="Rectangle 87"/>
            <p:cNvSpPr/>
            <p:nvPr/>
          </p:nvSpPr>
          <p:spPr>
            <a:xfrm>
              <a:off x="2123728" y="332656"/>
              <a:ext cx="1512168" cy="2664296"/>
            </a:xfrm>
            <a:prstGeom prst="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58" name="TextBox 57"/>
            <p:cNvSpPr txBox="1"/>
            <p:nvPr/>
          </p:nvSpPr>
          <p:spPr>
            <a:xfrm>
              <a:off x="2123728" y="692696"/>
              <a:ext cx="1584176"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Mechanical Engineering</a:t>
              </a:r>
              <a:endParaRPr lang="en-US" sz="1100" dirty="0">
                <a:solidFill>
                  <a:prstClr val="white"/>
                </a:solidFill>
                <a:latin typeface="Calibri"/>
              </a:endParaRPr>
            </a:p>
          </p:txBody>
        </p:sp>
        <p:sp>
          <p:nvSpPr>
            <p:cNvPr id="60" name="TextBox 59"/>
            <p:cNvSpPr txBox="1"/>
            <p:nvPr/>
          </p:nvSpPr>
          <p:spPr>
            <a:xfrm>
              <a:off x="2123728" y="1124744"/>
              <a:ext cx="1512168" cy="430887"/>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Electrical/</a:t>
              </a:r>
            </a:p>
            <a:p>
              <a:pPr fontAlgn="auto">
                <a:spcBef>
                  <a:spcPts val="0"/>
                </a:spcBef>
                <a:spcAft>
                  <a:spcPts val="0"/>
                </a:spcAft>
              </a:pPr>
              <a:r>
                <a:rPr lang="en-GB" sz="1100" dirty="0" smtClean="0">
                  <a:solidFill>
                    <a:prstClr val="white"/>
                  </a:solidFill>
                  <a:latin typeface="Calibri"/>
                </a:rPr>
                <a:t>Electronic Engineering  </a:t>
              </a:r>
              <a:endParaRPr lang="en-US" sz="1100" dirty="0">
                <a:solidFill>
                  <a:prstClr val="white"/>
                </a:solidFill>
                <a:latin typeface="Calibri"/>
              </a:endParaRPr>
            </a:p>
          </p:txBody>
        </p:sp>
        <p:sp>
          <p:nvSpPr>
            <p:cNvPr id="81" name="TextBox 80"/>
            <p:cNvSpPr txBox="1"/>
            <p:nvPr/>
          </p:nvSpPr>
          <p:spPr>
            <a:xfrm>
              <a:off x="2123728" y="2492896"/>
              <a:ext cx="1224136" cy="430887"/>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Servicing Medical Equipment</a:t>
              </a:r>
              <a:endParaRPr lang="en-US" sz="1100" dirty="0">
                <a:solidFill>
                  <a:prstClr val="white"/>
                </a:solidFill>
                <a:latin typeface="Calibri"/>
              </a:endParaRPr>
            </a:p>
          </p:txBody>
        </p:sp>
        <p:sp>
          <p:nvSpPr>
            <p:cNvPr id="90" name="TextBox 89"/>
            <p:cNvSpPr txBox="1"/>
            <p:nvPr/>
          </p:nvSpPr>
          <p:spPr>
            <a:xfrm>
              <a:off x="2123728" y="1629961"/>
              <a:ext cx="1512168"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Engineering Maintenance</a:t>
              </a:r>
              <a:endParaRPr lang="en-US" sz="1100" dirty="0">
                <a:solidFill>
                  <a:prstClr val="white"/>
                </a:solidFill>
                <a:latin typeface="Calibri"/>
              </a:endParaRPr>
            </a:p>
          </p:txBody>
        </p:sp>
        <p:sp>
          <p:nvSpPr>
            <p:cNvPr id="91" name="TextBox 90"/>
            <p:cNvSpPr txBox="1"/>
            <p:nvPr/>
          </p:nvSpPr>
          <p:spPr>
            <a:xfrm>
              <a:off x="2123728" y="2060848"/>
              <a:ext cx="1512168"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Electrical Power Engineering</a:t>
              </a:r>
              <a:endParaRPr lang="en-US" sz="1100" dirty="0">
                <a:solidFill>
                  <a:prstClr val="white"/>
                </a:solidFill>
                <a:latin typeface="Calibri"/>
              </a:endParaRPr>
            </a:p>
          </p:txBody>
        </p:sp>
        <p:sp>
          <p:nvSpPr>
            <p:cNvPr id="98" name="Rectangle 97"/>
            <p:cNvSpPr/>
            <p:nvPr/>
          </p:nvSpPr>
          <p:spPr>
            <a:xfrm>
              <a:off x="5076056" y="332656"/>
              <a:ext cx="864096" cy="2664296"/>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99" name="TextBox 98"/>
            <p:cNvSpPr txBox="1"/>
            <p:nvPr/>
          </p:nvSpPr>
          <p:spPr>
            <a:xfrm>
              <a:off x="5076056" y="764704"/>
              <a:ext cx="792088" cy="261610"/>
            </a:xfrm>
            <a:prstGeom prst="rect">
              <a:avLst/>
            </a:prstGeom>
            <a:noFill/>
            <a:ln>
              <a:noFill/>
            </a:ln>
          </p:spPr>
          <p:txBody>
            <a:bodyPr wrap="square" rtlCol="0">
              <a:spAutoFit/>
            </a:bodyPr>
            <a:lstStyle/>
            <a:p>
              <a:pPr fontAlgn="auto">
                <a:spcBef>
                  <a:spcPts val="0"/>
                </a:spcBef>
                <a:spcAft>
                  <a:spcPts val="0"/>
                </a:spcAft>
              </a:pPr>
              <a:r>
                <a:rPr lang="en-GB" sz="1100" dirty="0" smtClean="0">
                  <a:solidFill>
                    <a:prstClr val="white"/>
                  </a:solidFill>
                  <a:latin typeface="Calibri"/>
                </a:rPr>
                <a:t>E3 Academy</a:t>
              </a:r>
            </a:p>
          </p:txBody>
        </p:sp>
        <p:sp>
          <p:nvSpPr>
            <p:cNvPr id="101" name="TextBox 100"/>
            <p:cNvSpPr txBox="1"/>
            <p:nvPr/>
          </p:nvSpPr>
          <p:spPr>
            <a:xfrm>
              <a:off x="5076056" y="1700808"/>
              <a:ext cx="864096" cy="432048"/>
            </a:xfrm>
            <a:prstGeom prst="rect">
              <a:avLst/>
            </a:prstGeom>
            <a:noFill/>
            <a:ln>
              <a:noFill/>
            </a:ln>
          </p:spPr>
          <p:txBody>
            <a:bodyPr wrap="square" rtlCol="0">
              <a:spAutoFit/>
            </a:bodyPr>
            <a:lstStyle/>
            <a:p>
              <a:pPr fontAlgn="auto">
                <a:spcBef>
                  <a:spcPts val="0"/>
                </a:spcBef>
                <a:spcAft>
                  <a:spcPts val="0"/>
                </a:spcAft>
              </a:pPr>
              <a:r>
                <a:rPr lang="en-GB" sz="1100" dirty="0" smtClean="0">
                  <a:solidFill>
                    <a:prstClr val="white"/>
                  </a:solidFill>
                  <a:latin typeface="Calibri"/>
                </a:rPr>
                <a:t>Cambridge Bursary</a:t>
              </a:r>
            </a:p>
          </p:txBody>
        </p:sp>
        <p:sp>
          <p:nvSpPr>
            <p:cNvPr id="102" name="TextBox 101"/>
            <p:cNvSpPr txBox="1"/>
            <p:nvPr/>
          </p:nvSpPr>
          <p:spPr>
            <a:xfrm>
              <a:off x="5076056" y="2132856"/>
              <a:ext cx="936104" cy="261610"/>
            </a:xfrm>
            <a:prstGeom prst="rect">
              <a:avLst/>
            </a:prstGeom>
            <a:noFill/>
            <a:ln>
              <a:noFill/>
            </a:ln>
          </p:spPr>
          <p:txBody>
            <a:bodyPr wrap="square" rtlCol="0">
              <a:spAutoFit/>
            </a:bodyPr>
            <a:lstStyle/>
            <a:p>
              <a:pPr fontAlgn="auto">
                <a:spcBef>
                  <a:spcPts val="0"/>
                </a:spcBef>
                <a:spcAft>
                  <a:spcPts val="0"/>
                </a:spcAft>
              </a:pPr>
              <a:r>
                <a:rPr lang="en-GB" sz="1100" dirty="0" smtClean="0">
                  <a:solidFill>
                    <a:prstClr val="white"/>
                  </a:solidFill>
                  <a:latin typeface="Calibri"/>
                </a:rPr>
                <a:t>Lincoln Bursary</a:t>
              </a:r>
              <a:endParaRPr lang="en-US" sz="1100" dirty="0">
                <a:solidFill>
                  <a:prstClr val="white"/>
                </a:solidFill>
                <a:latin typeface="Calibri"/>
              </a:endParaRPr>
            </a:p>
          </p:txBody>
        </p:sp>
        <p:sp>
          <p:nvSpPr>
            <p:cNvPr id="100" name="TextBox 99"/>
            <p:cNvSpPr txBox="1"/>
            <p:nvPr/>
          </p:nvSpPr>
          <p:spPr>
            <a:xfrm>
              <a:off x="5076056" y="1268760"/>
              <a:ext cx="1080120" cy="261610"/>
            </a:xfrm>
            <a:prstGeom prst="rect">
              <a:avLst/>
            </a:prstGeom>
            <a:noFill/>
            <a:ln>
              <a:noFill/>
            </a:ln>
          </p:spPr>
          <p:txBody>
            <a:bodyPr wrap="square" rtlCol="0">
              <a:spAutoFit/>
            </a:bodyPr>
            <a:lstStyle/>
            <a:p>
              <a:pPr fontAlgn="auto">
                <a:spcBef>
                  <a:spcPts val="0"/>
                </a:spcBef>
                <a:spcAft>
                  <a:spcPts val="0"/>
                </a:spcAft>
              </a:pPr>
              <a:r>
                <a:rPr lang="en-GB" sz="1100" dirty="0" smtClean="0">
                  <a:solidFill>
                    <a:prstClr val="white"/>
                  </a:solidFill>
                  <a:latin typeface="Calibri"/>
                </a:rPr>
                <a:t>Power Academy</a:t>
              </a:r>
            </a:p>
          </p:txBody>
        </p:sp>
        <p:sp>
          <p:nvSpPr>
            <p:cNvPr id="110" name="Rectangle 109"/>
            <p:cNvSpPr/>
            <p:nvPr/>
          </p:nvSpPr>
          <p:spPr>
            <a:xfrm>
              <a:off x="6012160" y="332656"/>
              <a:ext cx="1224136" cy="2664296"/>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fontAlgn="auto">
                <a:lnSpc>
                  <a:spcPct val="150000"/>
                </a:lnSpc>
                <a:spcBef>
                  <a:spcPts val="0"/>
                </a:spcBef>
                <a:spcAft>
                  <a:spcPts val="0"/>
                </a:spcAft>
              </a:pPr>
              <a:r>
                <a:rPr lang="en-GB" sz="1100" b="1" dirty="0" smtClean="0">
                  <a:solidFill>
                    <a:prstClr val="white"/>
                  </a:solidFill>
                </a:rPr>
                <a:t>Engineering:</a:t>
              </a:r>
            </a:p>
            <a:p>
              <a:pPr fontAlgn="auto">
                <a:lnSpc>
                  <a:spcPct val="150000"/>
                </a:lnSpc>
                <a:spcBef>
                  <a:spcPts val="0"/>
                </a:spcBef>
                <a:spcAft>
                  <a:spcPts val="0"/>
                </a:spcAft>
              </a:pPr>
              <a:r>
                <a:rPr lang="en-GB" sz="1100" dirty="0" smtClean="0">
                  <a:solidFill>
                    <a:prstClr val="white"/>
                  </a:solidFill>
                </a:rPr>
                <a:t>Electrical</a:t>
              </a:r>
            </a:p>
            <a:p>
              <a:pPr fontAlgn="auto">
                <a:lnSpc>
                  <a:spcPct val="150000"/>
                </a:lnSpc>
                <a:spcBef>
                  <a:spcPts val="0"/>
                </a:spcBef>
                <a:spcAft>
                  <a:spcPts val="0"/>
                </a:spcAft>
              </a:pPr>
              <a:r>
                <a:rPr lang="en-GB" sz="1100" dirty="0" smtClean="0">
                  <a:solidFill>
                    <a:prstClr val="white"/>
                  </a:solidFill>
                </a:rPr>
                <a:t>Electronic</a:t>
              </a:r>
            </a:p>
            <a:p>
              <a:pPr fontAlgn="auto">
                <a:lnSpc>
                  <a:spcPct val="150000"/>
                </a:lnSpc>
                <a:spcBef>
                  <a:spcPts val="0"/>
                </a:spcBef>
                <a:spcAft>
                  <a:spcPts val="0"/>
                </a:spcAft>
              </a:pPr>
              <a:r>
                <a:rPr lang="en-GB" sz="1100" dirty="0" smtClean="0">
                  <a:solidFill>
                    <a:prstClr val="white"/>
                  </a:solidFill>
                </a:rPr>
                <a:t>Mechanical</a:t>
              </a:r>
            </a:p>
            <a:p>
              <a:pPr fontAlgn="auto">
                <a:lnSpc>
                  <a:spcPct val="150000"/>
                </a:lnSpc>
                <a:spcBef>
                  <a:spcPts val="0"/>
                </a:spcBef>
                <a:spcAft>
                  <a:spcPts val="0"/>
                </a:spcAft>
              </a:pPr>
              <a:r>
                <a:rPr lang="en-GB" sz="1100" dirty="0" smtClean="0">
                  <a:solidFill>
                    <a:prstClr val="white"/>
                  </a:solidFill>
                </a:rPr>
                <a:t>Field Service</a:t>
              </a:r>
            </a:p>
            <a:p>
              <a:pPr fontAlgn="auto">
                <a:lnSpc>
                  <a:spcPct val="150000"/>
                </a:lnSpc>
                <a:spcBef>
                  <a:spcPts val="0"/>
                </a:spcBef>
                <a:spcAft>
                  <a:spcPts val="0"/>
                </a:spcAft>
              </a:pPr>
              <a:r>
                <a:rPr lang="en-GB" sz="1100" dirty="0" smtClean="0">
                  <a:solidFill>
                    <a:prstClr val="white"/>
                  </a:solidFill>
                </a:rPr>
                <a:t>Materials</a:t>
              </a:r>
            </a:p>
            <a:p>
              <a:pPr fontAlgn="auto">
                <a:spcBef>
                  <a:spcPts val="0"/>
                </a:spcBef>
                <a:spcAft>
                  <a:spcPts val="0"/>
                </a:spcAft>
              </a:pPr>
              <a:r>
                <a:rPr lang="en-GB" sz="1100" dirty="0" smtClean="0">
                  <a:solidFill>
                    <a:prstClr val="white"/>
                  </a:solidFill>
                </a:rPr>
                <a:t>Manufacturing</a:t>
              </a:r>
            </a:p>
            <a:p>
              <a:pPr fontAlgn="auto">
                <a:spcBef>
                  <a:spcPts val="0"/>
                </a:spcBef>
                <a:spcAft>
                  <a:spcPts val="0"/>
                </a:spcAft>
              </a:pPr>
              <a:r>
                <a:rPr lang="en-GB" sz="1100" dirty="0" smtClean="0">
                  <a:solidFill>
                    <a:prstClr val="white"/>
                  </a:solidFill>
                </a:rPr>
                <a:t>Production</a:t>
              </a:r>
            </a:p>
            <a:p>
              <a:pPr fontAlgn="auto">
                <a:lnSpc>
                  <a:spcPct val="150000"/>
                </a:lnSpc>
                <a:spcBef>
                  <a:spcPts val="0"/>
                </a:spcBef>
                <a:spcAft>
                  <a:spcPts val="0"/>
                </a:spcAft>
              </a:pPr>
              <a:r>
                <a:rPr lang="en-GB" sz="1100" dirty="0" smtClean="0">
                  <a:solidFill>
                    <a:prstClr val="white"/>
                  </a:solidFill>
                </a:rPr>
                <a:t>Software</a:t>
              </a:r>
            </a:p>
            <a:p>
              <a:pPr fontAlgn="auto">
                <a:spcBef>
                  <a:spcPts val="0"/>
                </a:spcBef>
                <a:spcAft>
                  <a:spcPts val="0"/>
                </a:spcAft>
              </a:pPr>
              <a:r>
                <a:rPr lang="en-GB" sz="1100" dirty="0" smtClean="0">
                  <a:solidFill>
                    <a:prstClr val="white"/>
                  </a:solidFill>
                </a:rPr>
                <a:t>Systems Application </a:t>
              </a:r>
              <a:endParaRPr lang="en-GB" sz="1100" dirty="0">
                <a:solidFill>
                  <a:prstClr val="white"/>
                </a:solidFill>
              </a:endParaRPr>
            </a:p>
          </p:txBody>
        </p:sp>
        <p:sp>
          <p:nvSpPr>
            <p:cNvPr id="111" name="Rectangle 110"/>
            <p:cNvSpPr/>
            <p:nvPr/>
          </p:nvSpPr>
          <p:spPr>
            <a:xfrm>
              <a:off x="7308304" y="332656"/>
              <a:ext cx="1080120" cy="2664296"/>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fontAlgn="auto">
                <a:lnSpc>
                  <a:spcPct val="150000"/>
                </a:lnSpc>
                <a:spcBef>
                  <a:spcPts val="0"/>
                </a:spcBef>
                <a:spcAft>
                  <a:spcPts val="0"/>
                </a:spcAft>
              </a:pPr>
              <a:r>
                <a:rPr lang="en-GB" sz="1100" b="1" dirty="0" smtClean="0">
                  <a:solidFill>
                    <a:prstClr val="white"/>
                  </a:solidFill>
                </a:rPr>
                <a:t>Business:</a:t>
              </a:r>
            </a:p>
            <a:p>
              <a:pPr fontAlgn="auto">
                <a:lnSpc>
                  <a:spcPct val="150000"/>
                </a:lnSpc>
                <a:spcBef>
                  <a:spcPts val="0"/>
                </a:spcBef>
                <a:spcAft>
                  <a:spcPts val="0"/>
                </a:spcAft>
              </a:pPr>
              <a:r>
                <a:rPr lang="en-GB" sz="1100" dirty="0" smtClean="0">
                  <a:solidFill>
                    <a:prstClr val="white"/>
                  </a:solidFill>
                </a:rPr>
                <a:t>Business</a:t>
              </a:r>
            </a:p>
            <a:p>
              <a:pPr fontAlgn="auto">
                <a:lnSpc>
                  <a:spcPct val="150000"/>
                </a:lnSpc>
                <a:spcBef>
                  <a:spcPts val="0"/>
                </a:spcBef>
                <a:spcAft>
                  <a:spcPts val="0"/>
                </a:spcAft>
              </a:pPr>
              <a:r>
                <a:rPr lang="en-GB" sz="1100" dirty="0" smtClean="0">
                  <a:solidFill>
                    <a:prstClr val="white"/>
                  </a:solidFill>
                </a:rPr>
                <a:t>Finance</a:t>
              </a:r>
            </a:p>
            <a:p>
              <a:pPr fontAlgn="auto">
                <a:lnSpc>
                  <a:spcPct val="150000"/>
                </a:lnSpc>
                <a:spcBef>
                  <a:spcPts val="0"/>
                </a:spcBef>
                <a:spcAft>
                  <a:spcPts val="0"/>
                </a:spcAft>
              </a:pPr>
              <a:r>
                <a:rPr lang="en-GB" sz="1100" dirty="0" smtClean="0">
                  <a:solidFill>
                    <a:prstClr val="white"/>
                  </a:solidFill>
                </a:rPr>
                <a:t>Supply Chain &amp; Procurement</a:t>
              </a:r>
            </a:p>
            <a:p>
              <a:pPr fontAlgn="auto">
                <a:lnSpc>
                  <a:spcPct val="150000"/>
                </a:lnSpc>
                <a:spcBef>
                  <a:spcPts val="0"/>
                </a:spcBef>
                <a:spcAft>
                  <a:spcPts val="0"/>
                </a:spcAft>
              </a:pPr>
              <a:r>
                <a:rPr lang="en-GB" sz="1100" dirty="0" smtClean="0">
                  <a:solidFill>
                    <a:prstClr val="white"/>
                  </a:solidFill>
                </a:rPr>
                <a:t>Product Management</a:t>
              </a:r>
              <a:endParaRPr lang="en-US" sz="1100" dirty="0">
                <a:solidFill>
                  <a:prstClr val="white"/>
                </a:solidFill>
              </a:endParaRPr>
            </a:p>
          </p:txBody>
        </p:sp>
        <p:sp>
          <p:nvSpPr>
            <p:cNvPr id="89" name="Rectangle 88"/>
            <p:cNvSpPr/>
            <p:nvPr/>
          </p:nvSpPr>
          <p:spPr>
            <a:xfrm>
              <a:off x="3707904" y="332656"/>
              <a:ext cx="1296144" cy="2664296"/>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78" name="TextBox 77"/>
            <p:cNvSpPr txBox="1"/>
            <p:nvPr/>
          </p:nvSpPr>
          <p:spPr>
            <a:xfrm>
              <a:off x="3707904" y="1268760"/>
              <a:ext cx="1296144"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Railway Signalling Design</a:t>
              </a:r>
              <a:endParaRPr lang="en-US" sz="1100" dirty="0">
                <a:solidFill>
                  <a:prstClr val="white"/>
                </a:solidFill>
                <a:latin typeface="Calibri"/>
              </a:endParaRPr>
            </a:p>
          </p:txBody>
        </p:sp>
        <p:sp>
          <p:nvSpPr>
            <p:cNvPr id="82" name="TextBox 81"/>
            <p:cNvSpPr txBox="1"/>
            <p:nvPr/>
          </p:nvSpPr>
          <p:spPr>
            <a:xfrm>
              <a:off x="3707904" y="1700808"/>
              <a:ext cx="1440160"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Technical Sales</a:t>
              </a:r>
              <a:endParaRPr lang="en-US" sz="1100" dirty="0">
                <a:solidFill>
                  <a:prstClr val="white"/>
                </a:solidFill>
                <a:latin typeface="Calibri"/>
              </a:endParaRPr>
            </a:p>
          </p:txBody>
        </p:sp>
        <p:sp>
          <p:nvSpPr>
            <p:cNvPr id="83" name="TextBox 82"/>
            <p:cNvSpPr txBox="1"/>
            <p:nvPr/>
          </p:nvSpPr>
          <p:spPr>
            <a:xfrm>
              <a:off x="3707904" y="1916832"/>
              <a:ext cx="1008112"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IT</a:t>
              </a:r>
              <a:endParaRPr lang="en-US" sz="1100" dirty="0">
                <a:solidFill>
                  <a:prstClr val="white"/>
                </a:solidFill>
                <a:latin typeface="Calibri"/>
              </a:endParaRPr>
            </a:p>
          </p:txBody>
        </p:sp>
        <p:sp>
          <p:nvSpPr>
            <p:cNvPr id="86" name="TextBox 85"/>
            <p:cNvSpPr txBox="1"/>
            <p:nvPr/>
          </p:nvSpPr>
          <p:spPr>
            <a:xfrm>
              <a:off x="3707904" y="620688"/>
              <a:ext cx="1440160" cy="430887"/>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Project </a:t>
              </a:r>
            </a:p>
            <a:p>
              <a:pPr fontAlgn="auto">
                <a:spcBef>
                  <a:spcPts val="0"/>
                </a:spcBef>
                <a:spcAft>
                  <a:spcPts val="0"/>
                </a:spcAft>
              </a:pPr>
              <a:r>
                <a:rPr lang="en-GB" sz="1100" dirty="0" smtClean="0">
                  <a:solidFill>
                    <a:prstClr val="white"/>
                  </a:solidFill>
                  <a:latin typeface="Calibri"/>
                </a:rPr>
                <a:t>Management</a:t>
              </a:r>
              <a:endParaRPr lang="en-US" sz="1100" dirty="0">
                <a:solidFill>
                  <a:prstClr val="white"/>
                </a:solidFill>
                <a:latin typeface="Calibri"/>
              </a:endParaRPr>
            </a:p>
          </p:txBody>
        </p:sp>
        <p:sp>
          <p:nvSpPr>
            <p:cNvPr id="87" name="TextBox 86"/>
            <p:cNvSpPr txBox="1"/>
            <p:nvPr/>
          </p:nvSpPr>
          <p:spPr>
            <a:xfrm>
              <a:off x="3707904" y="2204864"/>
              <a:ext cx="1440160" cy="430887"/>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Advanced manufacturing Engineering</a:t>
              </a:r>
              <a:endParaRPr lang="en-US" sz="1100" dirty="0">
                <a:solidFill>
                  <a:prstClr val="white"/>
                </a:solidFill>
                <a:latin typeface="Calibri"/>
              </a:endParaRPr>
            </a:p>
          </p:txBody>
        </p:sp>
        <p:sp>
          <p:nvSpPr>
            <p:cNvPr id="95" name="TextBox 94"/>
            <p:cNvSpPr txBox="1"/>
            <p:nvPr/>
          </p:nvSpPr>
          <p:spPr>
            <a:xfrm>
              <a:off x="3707904" y="1052736"/>
              <a:ext cx="1512168" cy="261610"/>
            </a:xfrm>
            <a:prstGeom prst="rect">
              <a:avLst/>
            </a:prstGeom>
            <a:noFill/>
          </p:spPr>
          <p:txBody>
            <a:bodyPr wrap="square" rtlCol="0">
              <a:spAutoFit/>
            </a:bodyPr>
            <a:lstStyle/>
            <a:p>
              <a:pPr fontAlgn="auto">
                <a:spcBef>
                  <a:spcPts val="0"/>
                </a:spcBef>
                <a:spcAft>
                  <a:spcPts val="0"/>
                </a:spcAft>
              </a:pPr>
              <a:r>
                <a:rPr lang="en-GB" sz="1100" dirty="0" smtClean="0">
                  <a:solidFill>
                    <a:prstClr val="white"/>
                  </a:solidFill>
                  <a:latin typeface="Calibri"/>
                </a:rPr>
                <a:t>Finance</a:t>
              </a:r>
              <a:endParaRPr lang="en-US" sz="1100" dirty="0">
                <a:solidFill>
                  <a:prstClr val="white"/>
                </a:solidFill>
                <a:latin typeface="Calibri"/>
              </a:endParaRPr>
            </a:p>
          </p:txBody>
        </p:sp>
        <p:sp>
          <p:nvSpPr>
            <p:cNvPr id="116" name="Rectangle 115"/>
            <p:cNvSpPr/>
            <p:nvPr/>
          </p:nvSpPr>
          <p:spPr>
            <a:xfrm>
              <a:off x="8388424" y="332656"/>
              <a:ext cx="755576" cy="2664296"/>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fontAlgn="auto">
                <a:spcBef>
                  <a:spcPts val="0"/>
                </a:spcBef>
                <a:spcAft>
                  <a:spcPts val="0"/>
                </a:spcAft>
              </a:pPr>
              <a:r>
                <a:rPr lang="en-GB" sz="1100" dirty="0" smtClean="0">
                  <a:solidFill>
                    <a:schemeClr val="tx1"/>
                  </a:solidFill>
                </a:rPr>
                <a:t>Siemens Global Graduate Programme (SGP)</a:t>
              </a:r>
              <a:endParaRPr lang="en-US" sz="1100" dirty="0">
                <a:solidFill>
                  <a:schemeClr val="tx1"/>
                </a:solidFill>
              </a:endParaRPr>
            </a:p>
          </p:txBody>
        </p:sp>
      </p:grpSp>
      <p:sp>
        <p:nvSpPr>
          <p:cNvPr id="117" name="TextBox 116"/>
          <p:cNvSpPr txBox="1"/>
          <p:nvPr/>
        </p:nvSpPr>
        <p:spPr>
          <a:xfrm rot="16200000">
            <a:off x="-877870" y="5579369"/>
            <a:ext cx="2016224" cy="307777"/>
          </a:xfrm>
          <a:prstGeom prst="rect">
            <a:avLst/>
          </a:prstGeom>
          <a:noFill/>
        </p:spPr>
        <p:txBody>
          <a:bodyPr wrap="square" rtlCol="0">
            <a:spAutoFit/>
          </a:bodyPr>
          <a:lstStyle/>
          <a:p>
            <a:pPr fontAlgn="auto">
              <a:spcBef>
                <a:spcPts val="0"/>
              </a:spcBef>
              <a:spcAft>
                <a:spcPts val="0"/>
              </a:spcAft>
            </a:pPr>
            <a:r>
              <a:rPr lang="en-GB" sz="1400" dirty="0" smtClean="0">
                <a:solidFill>
                  <a:schemeClr val="tx1"/>
                </a:solidFill>
                <a:latin typeface="Calibri"/>
              </a:rPr>
              <a:t>Events &amp; Initiatives </a:t>
            </a:r>
            <a:endParaRPr lang="en-US" sz="1400" dirty="0">
              <a:solidFill>
                <a:schemeClr val="tx1"/>
              </a:solidFill>
              <a:latin typeface="Calibri"/>
            </a:endParaRPr>
          </a:p>
        </p:txBody>
      </p:sp>
      <p:sp>
        <p:nvSpPr>
          <p:cNvPr id="118" name="Rectangle 117"/>
          <p:cNvSpPr/>
          <p:nvPr/>
        </p:nvSpPr>
        <p:spPr>
          <a:xfrm>
            <a:off x="335535" y="4509120"/>
            <a:ext cx="4034548" cy="936104"/>
          </a:xfrm>
          <a:prstGeom prst="rect">
            <a:avLst/>
          </a:prstGeom>
          <a:gradFill>
            <a:gsLst>
              <a:gs pos="0">
                <a:srgbClr val="7D2D1E"/>
              </a:gs>
              <a:gs pos="100000">
                <a:schemeClr val="accent4">
                  <a:tint val="50000"/>
                  <a:shade val="100000"/>
                  <a:satMod val="350000"/>
                </a:schemeClr>
              </a:gs>
            </a:gsLst>
          </a:gradFill>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endParaRPr lang="en-GB" sz="1100" b="1" dirty="0" smtClean="0">
              <a:solidFill>
                <a:prstClr val="white"/>
              </a:solidFill>
            </a:endParaRPr>
          </a:p>
          <a:p>
            <a:pPr algn="ctr" fontAlgn="auto">
              <a:spcBef>
                <a:spcPts val="0"/>
              </a:spcBef>
              <a:spcAft>
                <a:spcPts val="0"/>
              </a:spcAft>
            </a:pPr>
            <a:r>
              <a:rPr lang="en-GB" sz="1100" dirty="0" smtClean="0">
                <a:solidFill>
                  <a:prstClr val="white"/>
                </a:solidFill>
              </a:rPr>
              <a:t>Education Portal (Core Curiosity Project)</a:t>
            </a:r>
          </a:p>
          <a:p>
            <a:pPr fontAlgn="auto">
              <a:spcBef>
                <a:spcPts val="0"/>
              </a:spcBef>
              <a:spcAft>
                <a:spcPts val="0"/>
              </a:spcAft>
            </a:pPr>
            <a:r>
              <a:rPr lang="en-GB" sz="1100" dirty="0" smtClean="0">
                <a:solidFill>
                  <a:prstClr val="white"/>
                </a:solidFill>
              </a:rPr>
              <a:t>Schemes of Work</a:t>
            </a:r>
          </a:p>
          <a:p>
            <a:pPr fontAlgn="auto">
              <a:spcBef>
                <a:spcPts val="0"/>
              </a:spcBef>
              <a:spcAft>
                <a:spcPts val="0"/>
              </a:spcAft>
            </a:pPr>
            <a:r>
              <a:rPr lang="en-GB" sz="1100" dirty="0" smtClean="0">
                <a:solidFill>
                  <a:prstClr val="white"/>
                </a:solidFill>
              </a:rPr>
              <a:t>Interactive Learning Tools and Games</a:t>
            </a:r>
          </a:p>
          <a:p>
            <a:pPr fontAlgn="auto">
              <a:spcBef>
                <a:spcPts val="0"/>
              </a:spcBef>
              <a:spcAft>
                <a:spcPts val="0"/>
              </a:spcAft>
            </a:pPr>
            <a:r>
              <a:rPr lang="en-GB" sz="1100" dirty="0" smtClean="0">
                <a:solidFill>
                  <a:prstClr val="white"/>
                </a:solidFill>
              </a:rPr>
              <a:t>Free Software for Schools                    UTC Support</a:t>
            </a:r>
          </a:p>
          <a:p>
            <a:pPr fontAlgn="auto">
              <a:spcBef>
                <a:spcPts val="0"/>
              </a:spcBef>
              <a:spcAft>
                <a:spcPts val="0"/>
              </a:spcAft>
            </a:pPr>
            <a:r>
              <a:rPr lang="en-GB" sz="1100" dirty="0" smtClean="0">
                <a:solidFill>
                  <a:prstClr val="white"/>
                </a:solidFill>
              </a:rPr>
              <a:t>Employee Working with Schools (Stem Ambassadors/ad hoc)</a:t>
            </a:r>
          </a:p>
          <a:p>
            <a:pPr algn="ctr" fontAlgn="auto">
              <a:spcBef>
                <a:spcPts val="0"/>
              </a:spcBef>
              <a:spcAft>
                <a:spcPts val="0"/>
              </a:spcAft>
            </a:pPr>
            <a:endParaRPr lang="en-US" sz="1100" dirty="0">
              <a:solidFill>
                <a:prstClr val="white"/>
              </a:solidFill>
            </a:endParaRPr>
          </a:p>
        </p:txBody>
      </p:sp>
      <p:sp>
        <p:nvSpPr>
          <p:cNvPr id="119" name="Rectangle 118"/>
          <p:cNvSpPr/>
          <p:nvPr/>
        </p:nvSpPr>
        <p:spPr>
          <a:xfrm>
            <a:off x="2064571" y="5805264"/>
            <a:ext cx="4034604" cy="44782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Awarding </a:t>
            </a:r>
            <a:r>
              <a:rPr lang="en-GB" sz="1100" dirty="0" err="1" smtClean="0">
                <a:solidFill>
                  <a:prstClr val="white"/>
                </a:solidFill>
              </a:rPr>
              <a:t>bodies:Cambridge</a:t>
            </a:r>
            <a:r>
              <a:rPr lang="en-GB" sz="1100" dirty="0" smtClean="0">
                <a:solidFill>
                  <a:prstClr val="white"/>
                </a:solidFill>
              </a:rPr>
              <a:t> Nationals and </a:t>
            </a:r>
            <a:r>
              <a:rPr lang="en-GB" sz="1100" dirty="0" err="1" smtClean="0">
                <a:solidFill>
                  <a:prstClr val="white"/>
                </a:solidFill>
              </a:rPr>
              <a:t>Technicals</a:t>
            </a:r>
            <a:r>
              <a:rPr lang="en-GB" sz="1100" dirty="0" smtClean="0">
                <a:solidFill>
                  <a:prstClr val="white"/>
                </a:solidFill>
              </a:rPr>
              <a:t>, </a:t>
            </a:r>
          </a:p>
          <a:p>
            <a:pPr algn="ctr" fontAlgn="auto">
              <a:spcBef>
                <a:spcPts val="0"/>
              </a:spcBef>
              <a:spcAft>
                <a:spcPts val="0"/>
              </a:spcAft>
            </a:pPr>
            <a:endParaRPr lang="en-US" sz="1100" dirty="0">
              <a:solidFill>
                <a:prstClr val="white"/>
              </a:solidFill>
            </a:endParaRPr>
          </a:p>
        </p:txBody>
      </p:sp>
      <p:sp>
        <p:nvSpPr>
          <p:cNvPr id="122" name="Rectangle 121"/>
          <p:cNvSpPr/>
          <p:nvPr/>
        </p:nvSpPr>
        <p:spPr>
          <a:xfrm>
            <a:off x="4466144" y="4464496"/>
            <a:ext cx="1633031" cy="47667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Sir William Siemens Certificate</a:t>
            </a:r>
            <a:endParaRPr lang="en-US" sz="1100" dirty="0">
              <a:solidFill>
                <a:prstClr val="white"/>
              </a:solidFill>
            </a:endParaRPr>
          </a:p>
        </p:txBody>
      </p:sp>
      <p:sp>
        <p:nvSpPr>
          <p:cNvPr id="123" name="Rectangle 122"/>
          <p:cNvSpPr/>
          <p:nvPr/>
        </p:nvSpPr>
        <p:spPr>
          <a:xfrm>
            <a:off x="4466144" y="5013176"/>
            <a:ext cx="1633031" cy="47667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SEMTA Skills Awards</a:t>
            </a:r>
            <a:endParaRPr lang="en-US" sz="1100" dirty="0">
              <a:solidFill>
                <a:prstClr val="white"/>
              </a:solidFill>
            </a:endParaRPr>
          </a:p>
        </p:txBody>
      </p:sp>
      <p:sp>
        <p:nvSpPr>
          <p:cNvPr id="124" name="Rectangle 123"/>
          <p:cNvSpPr/>
          <p:nvPr/>
        </p:nvSpPr>
        <p:spPr>
          <a:xfrm>
            <a:off x="6291296" y="4797152"/>
            <a:ext cx="5571519"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Employer Presentations &amp; Career Fairs</a:t>
            </a:r>
            <a:endParaRPr lang="en-US" sz="1100" dirty="0">
              <a:solidFill>
                <a:prstClr val="white"/>
              </a:solidFill>
            </a:endParaRPr>
          </a:p>
        </p:txBody>
      </p:sp>
      <p:sp>
        <p:nvSpPr>
          <p:cNvPr id="125" name="Rectangle 124"/>
          <p:cNvSpPr/>
          <p:nvPr/>
        </p:nvSpPr>
        <p:spPr>
          <a:xfrm>
            <a:off x="335533" y="6237312"/>
            <a:ext cx="5763641" cy="360084"/>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Curiosity Project Partners-eg. Big Bang , Primary Engineer, Arkwright Trust, </a:t>
            </a:r>
            <a:r>
              <a:rPr lang="en-GB" sz="1100" dirty="0" err="1" smtClean="0">
                <a:solidFill>
                  <a:prstClr val="white"/>
                </a:solidFill>
              </a:rPr>
              <a:t>Greenpower</a:t>
            </a:r>
            <a:r>
              <a:rPr lang="en-GB" sz="1100" dirty="0" smtClean="0">
                <a:solidFill>
                  <a:prstClr val="white"/>
                </a:solidFill>
              </a:rPr>
              <a:t>, </a:t>
            </a:r>
            <a:r>
              <a:rPr lang="en-GB" sz="1100" dirty="0" err="1" smtClean="0">
                <a:solidFill>
                  <a:prstClr val="white"/>
                </a:solidFill>
              </a:rPr>
              <a:t>PTI,Teach</a:t>
            </a:r>
            <a:r>
              <a:rPr lang="en-GB" sz="1100" dirty="0" smtClean="0">
                <a:solidFill>
                  <a:prstClr val="white"/>
                </a:solidFill>
              </a:rPr>
              <a:t> First , Rock Assembly, </a:t>
            </a:r>
            <a:r>
              <a:rPr lang="en-GB" sz="1100" dirty="0" err="1" smtClean="0">
                <a:solidFill>
                  <a:prstClr val="white"/>
                </a:solidFill>
              </a:rPr>
              <a:t>Digikids</a:t>
            </a:r>
            <a:r>
              <a:rPr lang="en-GB" sz="1100" dirty="0" smtClean="0">
                <a:solidFill>
                  <a:prstClr val="white"/>
                </a:solidFill>
              </a:rPr>
              <a:t>, Royal </a:t>
            </a:r>
            <a:r>
              <a:rPr lang="en-GB" sz="1100" dirty="0" err="1" smtClean="0">
                <a:solidFill>
                  <a:prstClr val="white"/>
                </a:solidFill>
              </a:rPr>
              <a:t>AcademyEtc</a:t>
            </a:r>
            <a:endParaRPr lang="en-US" sz="1100" dirty="0">
              <a:solidFill>
                <a:prstClr val="white"/>
              </a:solidFill>
            </a:endParaRPr>
          </a:p>
        </p:txBody>
      </p:sp>
      <p:sp>
        <p:nvSpPr>
          <p:cNvPr id="127" name="Rectangle 126"/>
          <p:cNvSpPr/>
          <p:nvPr/>
        </p:nvSpPr>
        <p:spPr>
          <a:xfrm>
            <a:off x="7636146" y="5877272"/>
            <a:ext cx="2689699"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Employability Skills Sessions</a:t>
            </a:r>
            <a:endParaRPr lang="en-US" sz="1100" dirty="0">
              <a:solidFill>
                <a:prstClr val="white"/>
              </a:solidFill>
            </a:endParaRPr>
          </a:p>
        </p:txBody>
      </p:sp>
      <p:sp>
        <p:nvSpPr>
          <p:cNvPr id="128" name="Rectangle 127"/>
          <p:cNvSpPr/>
          <p:nvPr/>
        </p:nvSpPr>
        <p:spPr>
          <a:xfrm>
            <a:off x="6291296" y="6237312"/>
            <a:ext cx="1825153" cy="36004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Sir William Siemens Medal </a:t>
            </a:r>
            <a:endParaRPr lang="en-US" sz="1100" dirty="0">
              <a:solidFill>
                <a:prstClr val="white"/>
              </a:solidFill>
            </a:endParaRPr>
          </a:p>
        </p:txBody>
      </p:sp>
      <p:sp>
        <p:nvSpPr>
          <p:cNvPr id="129" name="Rectangle 128"/>
          <p:cNvSpPr/>
          <p:nvPr/>
        </p:nvSpPr>
        <p:spPr>
          <a:xfrm>
            <a:off x="6291296" y="5517232"/>
            <a:ext cx="4034548"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National Student Challenge</a:t>
            </a:r>
            <a:endParaRPr lang="en-US" sz="1100" dirty="0">
              <a:solidFill>
                <a:prstClr val="white"/>
              </a:solidFill>
            </a:endParaRPr>
          </a:p>
        </p:txBody>
      </p:sp>
      <p:sp>
        <p:nvSpPr>
          <p:cNvPr id="130" name="Rectangle 129"/>
          <p:cNvSpPr/>
          <p:nvPr/>
        </p:nvSpPr>
        <p:spPr>
          <a:xfrm>
            <a:off x="6291296" y="5157192"/>
            <a:ext cx="5571519"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Curriculum Engagement – E.g. Engineering You’re Hired</a:t>
            </a:r>
            <a:endParaRPr lang="en-US" sz="1100" dirty="0">
              <a:solidFill>
                <a:prstClr val="white"/>
              </a:solidFill>
            </a:endParaRPr>
          </a:p>
        </p:txBody>
      </p:sp>
      <p:sp>
        <p:nvSpPr>
          <p:cNvPr id="131" name="Rectangle 130"/>
          <p:cNvSpPr/>
          <p:nvPr/>
        </p:nvSpPr>
        <p:spPr>
          <a:xfrm>
            <a:off x="8212510" y="6237312"/>
            <a:ext cx="2113335" cy="36004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 Internship Campaign</a:t>
            </a:r>
            <a:endParaRPr lang="en-US" sz="1100" dirty="0">
              <a:solidFill>
                <a:prstClr val="white"/>
              </a:solidFill>
            </a:endParaRPr>
          </a:p>
        </p:txBody>
      </p:sp>
      <p:sp>
        <p:nvSpPr>
          <p:cNvPr id="154" name="Rectangle 153"/>
          <p:cNvSpPr/>
          <p:nvPr/>
        </p:nvSpPr>
        <p:spPr>
          <a:xfrm>
            <a:off x="6291296" y="4437112"/>
            <a:ext cx="5571519"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smtClean="0">
                <a:solidFill>
                  <a:prstClr val="white"/>
                </a:solidFill>
              </a:rPr>
              <a:t>Principal &amp; Partner University Engagement</a:t>
            </a:r>
            <a:endParaRPr lang="en-US" sz="1100" dirty="0">
              <a:solidFill>
                <a:prstClr val="white"/>
              </a:solidFill>
            </a:endParaRPr>
          </a:p>
        </p:txBody>
      </p:sp>
      <p:pic>
        <p:nvPicPr>
          <p:cNvPr id="155" name="cdtPicture 7 Id7" descr="sie_logo_layer_petrol_rgb"/>
          <p:cNvPicPr>
            <a:picLocks noChangeAspect="1" noChangeArrowheads="1"/>
          </p:cNvPicPr>
          <p:nvPr/>
        </p:nvPicPr>
        <p:blipFill>
          <a:blip r:embed="rId8" cstate="print"/>
          <a:srcRect/>
          <a:stretch>
            <a:fillRect/>
          </a:stretch>
        </p:blipFill>
        <p:spPr bwMode="auto">
          <a:xfrm>
            <a:off x="335535" y="1"/>
            <a:ext cx="1920817" cy="804863"/>
          </a:xfrm>
          <a:prstGeom prst="rect">
            <a:avLst/>
          </a:prstGeom>
          <a:noFill/>
        </p:spPr>
      </p:pic>
      <p:sp>
        <p:nvSpPr>
          <p:cNvPr id="59" name="Oval 58"/>
          <p:cNvSpPr/>
          <p:nvPr/>
        </p:nvSpPr>
        <p:spPr>
          <a:xfrm>
            <a:off x="2524124" y="5756523"/>
            <a:ext cx="2852771" cy="55279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338535" y="5517232"/>
            <a:ext cx="5571519" cy="288032"/>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auto">
              <a:spcBef>
                <a:spcPts val="0"/>
              </a:spcBef>
              <a:spcAft>
                <a:spcPts val="0"/>
              </a:spcAft>
            </a:pPr>
            <a:r>
              <a:rPr lang="en-GB" sz="1100" dirty="0" err="1" smtClean="0">
                <a:solidFill>
                  <a:prstClr val="white"/>
                </a:solidFill>
              </a:rPr>
              <a:t>GiSTEM</a:t>
            </a:r>
            <a:r>
              <a:rPr lang="en-GB" sz="1100" smtClean="0">
                <a:solidFill>
                  <a:prstClr val="white"/>
                </a:solidFill>
              </a:rPr>
              <a:t>                                                                            Seewomen</a:t>
            </a:r>
            <a:endParaRPr lang="en-US" sz="1100" dirty="0">
              <a:solidFill>
                <a:prstClr val="white"/>
              </a:solidFill>
            </a:endParaRPr>
          </a:p>
        </p:txBody>
      </p:sp>
    </p:spTree>
    <p:extLst>
      <p:ext uri="{BB962C8B-B14F-4D97-AF65-F5344CB8AC3E}">
        <p14:creationId xmlns:p14="http://schemas.microsoft.com/office/powerpoint/2010/main" val="51814813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amond(in)">
                                      <p:cBhvr>
                                        <p:cTn id="7" dur="2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nk to our ‘Digital’ credentials </a:t>
            </a:r>
            <a:endParaRPr lang="en-GB" dirty="0"/>
          </a:p>
        </p:txBody>
      </p:sp>
      <p:sp>
        <p:nvSpPr>
          <p:cNvPr id="3" name="Content Placeholder 2"/>
          <p:cNvSpPr>
            <a:spLocks noGrp="1"/>
          </p:cNvSpPr>
          <p:nvPr>
            <p:ph idx="1"/>
          </p:nvPr>
        </p:nvSpPr>
        <p:spPr>
          <a:xfrm>
            <a:off x="304800" y="1412874"/>
            <a:ext cx="11787807" cy="647974"/>
          </a:xfrm>
        </p:spPr>
        <p:txBody>
          <a:bodyPr/>
          <a:lstStyle/>
          <a:p>
            <a:pPr marL="171450" indent="-171450">
              <a:buClr>
                <a:srgbClr val="879BAA"/>
              </a:buClr>
              <a:buFont typeface="Arial" panose="020B0604020202020204" pitchFamily="34" charset="0"/>
              <a:buChar char="•"/>
              <a:defRPr/>
            </a:pPr>
            <a:r>
              <a:rPr lang="en-GB" dirty="0"/>
              <a:t>Content developed to link to </a:t>
            </a:r>
            <a:r>
              <a:rPr lang="en-GB" dirty="0" smtClean="0"/>
              <a:t>Siemens Digital </a:t>
            </a:r>
            <a:r>
              <a:rPr lang="en-GB" dirty="0"/>
              <a:t>Badge Scheme </a:t>
            </a:r>
            <a:r>
              <a:rPr lang="en-GB" dirty="0" smtClean="0"/>
              <a:t>and to evidence learning .</a:t>
            </a:r>
          </a:p>
          <a:p>
            <a:pPr marL="171450" indent="-171450">
              <a:buClr>
                <a:srgbClr val="879BAA"/>
              </a:buClr>
              <a:buFont typeface="Arial" panose="020B0604020202020204" pitchFamily="34" charset="0"/>
              <a:buChar char="•"/>
              <a:defRPr/>
            </a:pPr>
            <a:r>
              <a:rPr lang="en-GB" dirty="0" smtClean="0"/>
              <a:t>Digital badges are agile, responsive and a track-able means of showcasing soft or hard skills developed.</a:t>
            </a:r>
          </a:p>
          <a:p>
            <a:pPr marL="171450" indent="-171450">
              <a:buClr>
                <a:srgbClr val="879BAA"/>
              </a:buClr>
              <a:buFont typeface="Arial" panose="020B0604020202020204" pitchFamily="34" charset="0"/>
              <a:buChar char="•"/>
              <a:defRPr/>
            </a:pPr>
            <a:r>
              <a:rPr lang="en-GB" dirty="0" smtClean="0"/>
              <a:t>Siemens digital badges were developed based on a unique </a:t>
            </a:r>
            <a:r>
              <a:rPr lang="en-GB" b="1" dirty="0"/>
              <a:t>skills framework </a:t>
            </a:r>
            <a:r>
              <a:rPr lang="en-GB" dirty="0"/>
              <a:t>linked to </a:t>
            </a:r>
            <a:r>
              <a:rPr lang="en-GB" b="1" dirty="0"/>
              <a:t>core behavioural </a:t>
            </a:r>
          </a:p>
          <a:p>
            <a:r>
              <a:rPr lang="en-GB" b="1" dirty="0" smtClean="0"/>
              <a:t>   characteristics </a:t>
            </a:r>
            <a:r>
              <a:rPr lang="en-GB" dirty="0" smtClean="0"/>
              <a:t>and </a:t>
            </a:r>
            <a:r>
              <a:rPr lang="en-GB" b="1" dirty="0" smtClean="0"/>
              <a:t>project cycle processes </a:t>
            </a:r>
            <a:r>
              <a:rPr lang="en-US" u="sng" dirty="0" smtClean="0">
                <a:hlinkClick r:id="rId3"/>
              </a:rPr>
              <a:t>http://www.siemens.co.uk/education/en/digitalbadges.htm</a:t>
            </a:r>
            <a:endParaRPr lang="en-GB" dirty="0"/>
          </a:p>
        </p:txBody>
      </p:sp>
      <p:pic>
        <p:nvPicPr>
          <p:cNvPr id="4" name="Picture 2" descr="H:\Work\Clients\Siemens\DIGITAL BADGES\YEAR 6_2016-17\A3_SiemensDigitalBadgePP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8535" y="2817801"/>
            <a:ext cx="11143517" cy="3491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810549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descr="C:\Users\FEEDBA~1\AppData\Local\Temp\vmware-feedbackuser\VMwareDnD\fe064ed0\Digitalization_Day_Background_blue_dark_hexadezimal_code_kor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845" y="1281113"/>
            <a:ext cx="12196800" cy="508509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44"/>
          <p:cNvGrpSpPr/>
          <p:nvPr/>
        </p:nvGrpSpPr>
        <p:grpSpPr>
          <a:xfrm>
            <a:off x="2933820" y="1342779"/>
            <a:ext cx="6484770" cy="1334925"/>
            <a:chOff x="2933820" y="1342779"/>
            <a:chExt cx="6484770" cy="1334925"/>
          </a:xfrm>
        </p:grpSpPr>
        <p:sp>
          <p:nvSpPr>
            <p:cNvPr id="53" name="Left-Right-Up Arrow 52"/>
            <p:cNvSpPr/>
            <p:nvPr/>
          </p:nvSpPr>
          <p:spPr>
            <a:xfrm rot="10800000">
              <a:off x="2933820" y="1611288"/>
              <a:ext cx="6484770" cy="1066416"/>
            </a:xfrm>
            <a:prstGeom prst="leftRightUpArrow">
              <a:avLst/>
            </a:prstGeom>
            <a:solidFill>
              <a:srgbClr val="D2D74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a:p>
          </p:txBody>
        </p:sp>
        <p:sp>
          <p:nvSpPr>
            <p:cNvPr id="10" name="TextBox 9"/>
            <p:cNvSpPr txBox="1"/>
            <p:nvPr/>
          </p:nvSpPr>
          <p:spPr>
            <a:xfrm>
              <a:off x="3792827" y="1342779"/>
              <a:ext cx="4602707" cy="1077218"/>
            </a:xfrm>
            <a:prstGeom prst="rect">
              <a:avLst/>
            </a:prstGeom>
            <a:solidFill>
              <a:srgbClr val="D2D741"/>
            </a:solidFill>
            <a:ln>
              <a:noFill/>
            </a:ln>
            <a:effectLst>
              <a:outerShdw blurRad="44450" dist="27940" dir="5400000" algn="ctr">
                <a:srgbClr val="000000">
                  <a:alpha val="32000"/>
                </a:srgbClr>
              </a:outerShdw>
              <a:softEdge rad="12700"/>
            </a:effectLst>
            <a:scene3d>
              <a:camera prst="orthographicFront">
                <a:rot lat="0" lon="0" rev="0"/>
              </a:camera>
              <a:lightRig rig="balanced" dir="t">
                <a:rot lat="0" lon="0" rev="8700000"/>
              </a:lightRig>
            </a:scene3d>
            <a:sp3d/>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r>
                <a:rPr lang="en-GB" sz="1600" b="1" dirty="0" smtClean="0">
                  <a:solidFill>
                    <a:schemeClr val="bg1"/>
                  </a:solidFill>
                </a:rPr>
                <a:t>Global transparency of talent</a:t>
              </a:r>
            </a:p>
            <a:p>
              <a:pPr algn="ctr"/>
              <a:r>
                <a:rPr lang="en-GB" sz="1600" b="1" dirty="0" smtClean="0">
                  <a:solidFill>
                    <a:schemeClr val="bg1"/>
                  </a:solidFill>
                </a:rPr>
                <a:t>Global transparency of opportunities</a:t>
              </a:r>
            </a:p>
            <a:p>
              <a:pPr algn="ctr"/>
              <a:r>
                <a:rPr lang="en-GB" sz="1600" b="1" dirty="0" smtClean="0">
                  <a:solidFill>
                    <a:schemeClr val="bg1"/>
                  </a:solidFill>
                </a:rPr>
                <a:t>Vertical boundary-less working</a:t>
              </a:r>
              <a:endParaRPr lang="en-US" sz="1600" b="1" dirty="0">
                <a:solidFill>
                  <a:schemeClr val="bg1"/>
                </a:solidFill>
              </a:endParaRPr>
            </a:p>
          </p:txBody>
        </p:sp>
      </p:grpSp>
      <p:cxnSp>
        <p:nvCxnSpPr>
          <p:cNvPr id="57" name="Straight Arrow Connector 56"/>
          <p:cNvCxnSpPr/>
          <p:nvPr/>
        </p:nvCxnSpPr>
        <p:spPr>
          <a:xfrm>
            <a:off x="-9261474" y="2362076"/>
            <a:ext cx="288182" cy="21602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59" name="Straight Arrow Connector 58"/>
          <p:cNvCxnSpPr/>
          <p:nvPr/>
        </p:nvCxnSpPr>
        <p:spPr>
          <a:xfrm>
            <a:off x="-1981401" y="3492376"/>
            <a:ext cx="288182" cy="14401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grpSp>
        <p:nvGrpSpPr>
          <p:cNvPr id="3" name="Group 51"/>
          <p:cNvGrpSpPr/>
          <p:nvPr/>
        </p:nvGrpSpPr>
        <p:grpSpPr>
          <a:xfrm>
            <a:off x="3223379" y="2293393"/>
            <a:ext cx="5542250" cy="3717827"/>
            <a:chOff x="3223379" y="2293393"/>
            <a:chExt cx="5542250" cy="3717827"/>
          </a:xfrm>
        </p:grpSpPr>
        <p:sp>
          <p:nvSpPr>
            <p:cNvPr id="42" name="Left Arrow 41"/>
            <p:cNvSpPr/>
            <p:nvPr/>
          </p:nvSpPr>
          <p:spPr>
            <a:xfrm>
              <a:off x="7931725" y="3467348"/>
              <a:ext cx="833904" cy="635001"/>
            </a:xfrm>
            <a:prstGeom prst="leftArrow">
              <a:avLst/>
            </a:prstGeom>
            <a:solidFill>
              <a:srgbClr val="BECD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rot="17501554">
              <a:off x="4506947" y="2058200"/>
              <a:ext cx="3717827" cy="4188213"/>
            </a:xfrm>
            <a:prstGeom prst="rect">
              <a:avLst/>
            </a:prstGeom>
            <a:noFill/>
          </p:spPr>
          <p:txBody>
            <a:bodyPr wrap="square" lIns="91440" tIns="45720" rIns="91440" bIns="45720">
              <a:prstTxWarp prst="textArchUp">
                <a:avLst/>
              </a:prstTxWarp>
              <a:noAutofit/>
            </a:bodyPr>
            <a:lstStyle/>
            <a:p>
              <a:pPr algn="ctr"/>
              <a:r>
                <a:rPr lang="en-US" sz="2000" b="1" dirty="0" smtClean="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rPr>
                <a:t>What has to change</a:t>
              </a:r>
              <a:endParaRPr lang="en-US" sz="2000" b="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endParaRPr>
            </a:p>
          </p:txBody>
        </p:sp>
        <p:sp>
          <p:nvSpPr>
            <p:cNvPr id="37" name="Left Arrow 36"/>
            <p:cNvSpPr/>
            <p:nvPr/>
          </p:nvSpPr>
          <p:spPr>
            <a:xfrm rot="10800000">
              <a:off x="3223379" y="3492376"/>
              <a:ext cx="932855" cy="609972"/>
            </a:xfrm>
            <a:prstGeom prst="leftArrow">
              <a:avLst/>
            </a:prstGeom>
            <a:solidFill>
              <a:srgbClr val="BECD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p:cNvSpPr/>
            <p:nvPr/>
          </p:nvSpPr>
          <p:spPr>
            <a:xfrm>
              <a:off x="4631562" y="2590800"/>
              <a:ext cx="3060000" cy="2616200"/>
            </a:xfrm>
            <a:prstGeom prst="ellipse">
              <a:avLst/>
            </a:prstGeom>
            <a:solidFill>
              <a:srgbClr val="02CED8"/>
            </a:solidFill>
            <a:ln>
              <a:noFill/>
            </a:ln>
            <a:effectLst>
              <a:outerShdw blurRad="40000" dist="20000" dir="5400000" rotWithShape="0">
                <a:schemeClr val="accent5">
                  <a:lumMod val="75000"/>
                  <a:alpha val="38000"/>
                </a:schemeClr>
              </a:outerShdw>
            </a:effectLst>
          </p:spPr>
          <p:style>
            <a:lnRef idx="1">
              <a:schemeClr val="dk1"/>
            </a:lnRef>
            <a:fillRef idx="2">
              <a:schemeClr val="dk1"/>
            </a:fillRef>
            <a:effectRef idx="1">
              <a:schemeClr val="dk1"/>
            </a:effectRef>
            <a:fontRef idx="minor">
              <a:schemeClr val="dk1"/>
            </a:fontRef>
          </p:style>
          <p:txBody>
            <a:bodyPr wrap="none" lIns="0" tIns="0" rIns="0" bIns="0" rtlCol="0" anchor="ctr"/>
            <a:lstStyle/>
            <a:p>
              <a:pPr algn="ctr"/>
              <a:r>
                <a:rPr lang="en-GB" sz="1600" b="1" dirty="0" smtClean="0">
                  <a:solidFill>
                    <a:schemeClr val="tx1"/>
                  </a:solidFill>
                </a:rPr>
                <a:t>Agile Ways of Working</a:t>
              </a:r>
            </a:p>
            <a:p>
              <a:pPr algn="ctr"/>
              <a:r>
                <a:rPr lang="en-GB" sz="1600" b="1" dirty="0" smtClean="0">
                  <a:solidFill>
                    <a:schemeClr val="tx1"/>
                  </a:solidFill>
                </a:rPr>
                <a:t>Flexibility</a:t>
              </a:r>
              <a:endParaRPr lang="en-GB" sz="1600" b="1" dirty="0">
                <a:solidFill>
                  <a:schemeClr val="tx1"/>
                </a:solidFill>
              </a:endParaRPr>
            </a:p>
            <a:p>
              <a:pPr algn="ctr"/>
              <a:r>
                <a:rPr lang="en-GB" sz="1600" b="1" dirty="0" smtClean="0">
                  <a:solidFill>
                    <a:schemeClr val="tx1"/>
                  </a:solidFill>
                </a:rPr>
                <a:t>Diversity</a:t>
              </a:r>
            </a:p>
            <a:p>
              <a:pPr algn="ctr"/>
              <a:r>
                <a:rPr lang="en-GB" sz="1600" b="1" dirty="0" smtClean="0">
                  <a:solidFill>
                    <a:schemeClr val="tx1"/>
                  </a:solidFill>
                </a:rPr>
                <a:t>Digitalisation</a:t>
              </a:r>
              <a:endParaRPr lang="en-US" sz="1600" dirty="0">
                <a:solidFill>
                  <a:schemeClr val="tx1"/>
                </a:solidFill>
              </a:endParaRPr>
            </a:p>
          </p:txBody>
        </p:sp>
      </p:grpSp>
      <p:grpSp>
        <p:nvGrpSpPr>
          <p:cNvPr id="5" name="Group 53"/>
          <p:cNvGrpSpPr/>
          <p:nvPr/>
        </p:nvGrpSpPr>
        <p:grpSpPr>
          <a:xfrm>
            <a:off x="2084427" y="4559299"/>
            <a:ext cx="8087607" cy="1796925"/>
            <a:chOff x="2084427" y="4559299"/>
            <a:chExt cx="8087607" cy="1796925"/>
          </a:xfrm>
        </p:grpSpPr>
        <p:pic>
          <p:nvPicPr>
            <p:cNvPr id="44" name="Picture 43" descr="Learning Campus Illustration Set V3_8 – Leader with a compass or map (19).png"/>
            <p:cNvPicPr>
              <a:picLocks noChangeAspect="1"/>
            </p:cNvPicPr>
            <p:nvPr/>
          </p:nvPicPr>
          <p:blipFill>
            <a:blip r:embed="rId4" cstate="print"/>
            <a:stretch>
              <a:fillRect/>
            </a:stretch>
          </p:blipFill>
          <p:spPr>
            <a:xfrm>
              <a:off x="6335823" y="5463271"/>
              <a:ext cx="1572007" cy="885600"/>
            </a:xfrm>
            <a:prstGeom prst="rect">
              <a:avLst/>
            </a:prstGeom>
          </p:spPr>
        </p:pic>
        <p:sp>
          <p:nvSpPr>
            <p:cNvPr id="16" name="Rounded Rectangle 15"/>
            <p:cNvSpPr/>
            <p:nvPr/>
          </p:nvSpPr>
          <p:spPr>
            <a:xfrm>
              <a:off x="2084427" y="5003428"/>
              <a:ext cx="2113335" cy="6480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SPEED</a:t>
              </a:r>
              <a:endParaRPr lang="en-US" b="1" dirty="0">
                <a:solidFill>
                  <a:schemeClr val="bg1"/>
                </a:solidFill>
              </a:endParaRPr>
            </a:p>
          </p:txBody>
        </p:sp>
        <p:sp>
          <p:nvSpPr>
            <p:cNvPr id="17" name="Rounded Rectangle 16"/>
            <p:cNvSpPr/>
            <p:nvPr/>
          </p:nvSpPr>
          <p:spPr>
            <a:xfrm>
              <a:off x="4201951" y="5003428"/>
              <a:ext cx="1985389" cy="6480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INNOVATION</a:t>
              </a:r>
              <a:endParaRPr lang="en-US" b="1" dirty="0">
                <a:solidFill>
                  <a:schemeClr val="bg1"/>
                </a:solidFill>
              </a:endParaRPr>
            </a:p>
          </p:txBody>
        </p:sp>
        <p:sp>
          <p:nvSpPr>
            <p:cNvPr id="18" name="Rounded Rectangle 17"/>
            <p:cNvSpPr/>
            <p:nvPr/>
          </p:nvSpPr>
          <p:spPr>
            <a:xfrm>
              <a:off x="6087361" y="5016128"/>
              <a:ext cx="2113335" cy="6480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TECHNOLOGY</a:t>
              </a:r>
              <a:endParaRPr lang="en-US" b="1" dirty="0">
                <a:solidFill>
                  <a:schemeClr val="bg1"/>
                </a:solidFill>
              </a:endParaRPr>
            </a:p>
          </p:txBody>
        </p:sp>
        <p:sp>
          <p:nvSpPr>
            <p:cNvPr id="19" name="Rounded Rectangle 18"/>
            <p:cNvSpPr/>
            <p:nvPr/>
          </p:nvSpPr>
          <p:spPr>
            <a:xfrm>
              <a:off x="8058699" y="5019194"/>
              <a:ext cx="2113335" cy="6480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schemeClr val="bg1"/>
                  </a:solidFill>
                </a:rPr>
                <a:t>VOLATILITY</a:t>
              </a:r>
              <a:endParaRPr lang="en-US" b="1" dirty="0">
                <a:solidFill>
                  <a:schemeClr val="bg1"/>
                </a:solidFill>
              </a:endParaRPr>
            </a:p>
          </p:txBody>
        </p:sp>
        <p:cxnSp>
          <p:nvCxnSpPr>
            <p:cNvPr id="21" name="Straight Arrow Connector 20"/>
            <p:cNvCxnSpPr/>
            <p:nvPr/>
          </p:nvCxnSpPr>
          <p:spPr>
            <a:xfrm flipV="1">
              <a:off x="3682465" y="4559299"/>
              <a:ext cx="964864" cy="647701"/>
            </a:xfrm>
            <a:prstGeom prst="straightConnector1">
              <a:avLst/>
            </a:prstGeom>
            <a:ln>
              <a:solidFill>
                <a:schemeClr val="bg1"/>
              </a:solidFill>
              <a:prstDash val="sysDash"/>
              <a:tailEnd type="arrow"/>
            </a:ln>
          </p:spPr>
          <p:style>
            <a:lnRef idx="3">
              <a:schemeClr val="dk1"/>
            </a:lnRef>
            <a:fillRef idx="0">
              <a:schemeClr val="dk1"/>
            </a:fillRef>
            <a:effectRef idx="2">
              <a:schemeClr val="dk1"/>
            </a:effectRef>
            <a:fontRef idx="minor">
              <a:schemeClr val="tx1"/>
            </a:fontRef>
          </p:style>
        </p:cxnSp>
        <p:cxnSp>
          <p:nvCxnSpPr>
            <p:cNvPr id="29" name="Straight Arrow Connector 28"/>
            <p:cNvCxnSpPr/>
            <p:nvPr/>
          </p:nvCxnSpPr>
          <p:spPr>
            <a:xfrm flipH="1" flipV="1">
              <a:off x="7502736" y="4589826"/>
              <a:ext cx="916052" cy="559276"/>
            </a:xfrm>
            <a:prstGeom prst="straightConnector1">
              <a:avLst/>
            </a:prstGeom>
            <a:ln>
              <a:solidFill>
                <a:schemeClr val="bg1"/>
              </a:solidFill>
              <a:prstDash val="sysDash"/>
              <a:tailEnd type="arrow"/>
            </a:ln>
          </p:spPr>
          <p:style>
            <a:lnRef idx="3">
              <a:schemeClr val="dk1"/>
            </a:lnRef>
            <a:fillRef idx="0">
              <a:schemeClr val="dk1"/>
            </a:fillRef>
            <a:effectRef idx="2">
              <a:schemeClr val="dk1"/>
            </a:effectRef>
            <a:fontRef idx="minor">
              <a:schemeClr val="tx1"/>
            </a:fontRef>
          </p:style>
        </p:cxnSp>
        <p:pic>
          <p:nvPicPr>
            <p:cNvPr id="46" name="Picture 45" descr="Learning Campus Illustration Set V3_8 – Leader with a compass or map (1).png"/>
            <p:cNvPicPr>
              <a:picLocks noChangeAspect="1"/>
            </p:cNvPicPr>
            <p:nvPr/>
          </p:nvPicPr>
          <p:blipFill>
            <a:blip r:embed="rId5" cstate="print"/>
            <a:stretch>
              <a:fillRect/>
            </a:stretch>
          </p:blipFill>
          <p:spPr>
            <a:xfrm>
              <a:off x="8332561" y="5467132"/>
              <a:ext cx="1501039" cy="885600"/>
            </a:xfrm>
            <a:prstGeom prst="rect">
              <a:avLst/>
            </a:prstGeom>
          </p:spPr>
        </p:pic>
        <p:pic>
          <p:nvPicPr>
            <p:cNvPr id="47" name="Picture 46" descr="Learning Campus Illustration Set V3_8 – Leader with a compass or map (30).png"/>
            <p:cNvPicPr>
              <a:picLocks noChangeAspect="1"/>
            </p:cNvPicPr>
            <p:nvPr/>
          </p:nvPicPr>
          <p:blipFill>
            <a:blip r:embed="rId6" cstate="print"/>
            <a:stretch>
              <a:fillRect/>
            </a:stretch>
          </p:blipFill>
          <p:spPr>
            <a:xfrm>
              <a:off x="2337686" y="5470625"/>
              <a:ext cx="1651000" cy="883929"/>
            </a:xfrm>
            <a:prstGeom prst="rect">
              <a:avLst/>
            </a:prstGeom>
          </p:spPr>
        </p:pic>
        <p:pic>
          <p:nvPicPr>
            <p:cNvPr id="43" name="Picture 42" descr="Learning Campus Illustration Set V3_8 – Leader with a compass or map (23).png"/>
            <p:cNvPicPr>
              <a:picLocks noChangeAspect="1"/>
            </p:cNvPicPr>
            <p:nvPr/>
          </p:nvPicPr>
          <p:blipFill>
            <a:blip r:embed="rId7" cstate="print"/>
            <a:stretch>
              <a:fillRect/>
            </a:stretch>
          </p:blipFill>
          <p:spPr>
            <a:xfrm>
              <a:off x="4360565" y="5470624"/>
              <a:ext cx="1552673" cy="885600"/>
            </a:xfrm>
            <a:prstGeom prst="rect">
              <a:avLst/>
            </a:prstGeom>
          </p:spPr>
        </p:pic>
        <p:cxnSp>
          <p:nvCxnSpPr>
            <p:cNvPr id="25" name="Straight Arrow Connector 24"/>
            <p:cNvCxnSpPr/>
            <p:nvPr/>
          </p:nvCxnSpPr>
          <p:spPr>
            <a:xfrm flipV="1">
              <a:off x="4936362" y="4805660"/>
              <a:ext cx="45868" cy="325140"/>
            </a:xfrm>
            <a:prstGeom prst="straightConnector1">
              <a:avLst/>
            </a:prstGeom>
            <a:ln>
              <a:solidFill>
                <a:schemeClr val="bg1"/>
              </a:solidFill>
              <a:prstDash val="sysDash"/>
              <a:tailEnd type="arrow"/>
            </a:ln>
          </p:spPr>
          <p:style>
            <a:lnRef idx="3">
              <a:schemeClr val="dk1"/>
            </a:lnRef>
            <a:fillRef idx="0">
              <a:schemeClr val="dk1"/>
            </a:fillRef>
            <a:effectRef idx="2">
              <a:schemeClr val="dk1"/>
            </a:effectRef>
            <a:fontRef idx="minor">
              <a:schemeClr val="tx1"/>
            </a:fontRef>
          </p:style>
        </p:cxnSp>
        <p:cxnSp>
          <p:nvCxnSpPr>
            <p:cNvPr id="27" name="Straight Arrow Connector 26"/>
            <p:cNvCxnSpPr>
              <a:endCxn id="4" idx="5"/>
            </p:cNvCxnSpPr>
            <p:nvPr/>
          </p:nvCxnSpPr>
          <p:spPr>
            <a:xfrm flipH="1" flipV="1">
              <a:off x="7243435" y="4823867"/>
              <a:ext cx="29728" cy="319634"/>
            </a:xfrm>
            <a:prstGeom prst="straightConnector1">
              <a:avLst/>
            </a:prstGeom>
            <a:ln>
              <a:solidFill>
                <a:schemeClr val="bg1"/>
              </a:solidFill>
              <a:prstDash val="sysDash"/>
              <a:tailEnd type="arrow"/>
            </a:ln>
          </p:spPr>
          <p:style>
            <a:lnRef idx="3">
              <a:schemeClr val="dk1"/>
            </a:lnRef>
            <a:fillRef idx="0">
              <a:schemeClr val="dk1"/>
            </a:fillRef>
            <a:effectRef idx="2">
              <a:schemeClr val="dk1"/>
            </a:effectRef>
            <a:fontRef idx="minor">
              <a:schemeClr val="tx1"/>
            </a:fontRef>
          </p:style>
        </p:cxnSp>
      </p:grpSp>
      <p:grpSp>
        <p:nvGrpSpPr>
          <p:cNvPr id="6" name="Group 49"/>
          <p:cNvGrpSpPr/>
          <p:nvPr/>
        </p:nvGrpSpPr>
        <p:grpSpPr>
          <a:xfrm>
            <a:off x="8998765" y="1913315"/>
            <a:ext cx="3117033" cy="3439655"/>
            <a:chOff x="8998765" y="1913315"/>
            <a:chExt cx="3117033" cy="3439655"/>
          </a:xfrm>
        </p:grpSpPr>
        <p:sp>
          <p:nvSpPr>
            <p:cNvPr id="31" name="Down Arrow 30"/>
            <p:cNvSpPr/>
            <p:nvPr/>
          </p:nvSpPr>
          <p:spPr bwMode="auto">
            <a:xfrm rot="10800000">
              <a:off x="8998765" y="2072636"/>
              <a:ext cx="3117033" cy="3136903"/>
            </a:xfrm>
            <a:prstGeom prst="downArrow">
              <a:avLst/>
            </a:prstGeom>
            <a:solidFill>
              <a:schemeClr val="accent5">
                <a:lumMod val="20000"/>
                <a:lumOff val="80000"/>
              </a:schemeClr>
            </a:solidFill>
            <a:ln w="22225">
              <a:solidFill>
                <a:schemeClr val="bg1"/>
              </a:solidFill>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1">
              <a:schemeClr val="accent3"/>
            </a:lnRef>
            <a:fillRef idx="2">
              <a:schemeClr val="accent3"/>
            </a:fillRef>
            <a:effectRef idx="1">
              <a:schemeClr val="accent3"/>
            </a:effectRef>
            <a:fontRef idx="minor">
              <a:schemeClr val="dk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1" name="TextBox 50"/>
            <p:cNvSpPr txBox="1"/>
            <p:nvPr/>
          </p:nvSpPr>
          <p:spPr>
            <a:xfrm>
              <a:off x="9723826" y="2810341"/>
              <a:ext cx="1644050" cy="2542629"/>
            </a:xfrm>
            <a:prstGeom prst="rect">
              <a:avLst/>
            </a:prstGeom>
            <a:noFill/>
          </p:spPr>
          <p:txBody>
            <a:bodyPr wrap="square" lIns="0" tIns="0" rIns="0" bIns="0" rtlCol="0">
              <a:noAutofit/>
            </a:bodyPr>
            <a:lstStyle/>
            <a:p>
              <a:pPr algn="ctr">
                <a:lnSpc>
                  <a:spcPct val="150000"/>
                </a:lnSpc>
              </a:pPr>
              <a:r>
                <a:rPr lang="en-GB" sz="1400" dirty="0" smtClean="0">
                  <a:ln w="1905"/>
                  <a:solidFill>
                    <a:srgbClr val="00646E"/>
                  </a:solidFill>
                  <a:effectLst>
                    <a:innerShdw blurRad="69850" dist="43180" dir="5400000">
                      <a:srgbClr val="000000">
                        <a:alpha val="65000"/>
                      </a:srgbClr>
                    </a:innerShdw>
                  </a:effectLst>
                </a:rPr>
                <a:t>Multigenerational </a:t>
              </a:r>
            </a:p>
            <a:p>
              <a:pPr algn="ctr">
                <a:lnSpc>
                  <a:spcPct val="150000"/>
                </a:lnSpc>
              </a:pPr>
              <a:r>
                <a:rPr lang="en-GB" sz="1400" dirty="0" smtClean="0">
                  <a:ln w="1905"/>
                  <a:solidFill>
                    <a:srgbClr val="00646E"/>
                  </a:solidFill>
                  <a:effectLst>
                    <a:innerShdw blurRad="69850" dist="43180" dir="5400000">
                      <a:srgbClr val="000000">
                        <a:alpha val="65000"/>
                      </a:srgbClr>
                    </a:innerShdw>
                  </a:effectLst>
                </a:rPr>
                <a:t>Digital Skills</a:t>
              </a:r>
            </a:p>
            <a:p>
              <a:pPr algn="ctr"/>
              <a:r>
                <a:rPr lang="en-GB" sz="1400" dirty="0" smtClean="0">
                  <a:ln w="1905"/>
                  <a:solidFill>
                    <a:srgbClr val="00646E"/>
                  </a:solidFill>
                  <a:effectLst>
                    <a:innerShdw blurRad="69850" dist="43180" dir="5400000">
                      <a:srgbClr val="000000">
                        <a:alpha val="65000"/>
                      </a:srgbClr>
                    </a:innerShdw>
                  </a:effectLst>
                </a:rPr>
                <a:t>Cross Disciplinary Experience</a:t>
              </a:r>
              <a:br>
                <a:rPr lang="en-GB" sz="1400" dirty="0" smtClean="0">
                  <a:ln w="1905"/>
                  <a:solidFill>
                    <a:srgbClr val="00646E"/>
                  </a:solidFill>
                  <a:effectLst>
                    <a:innerShdw blurRad="69850" dist="43180" dir="5400000">
                      <a:srgbClr val="000000">
                        <a:alpha val="65000"/>
                      </a:srgbClr>
                    </a:innerShdw>
                  </a:effectLst>
                </a:rPr>
              </a:br>
              <a:endParaRPr lang="en-GB" sz="1400" dirty="0" smtClean="0">
                <a:ln w="1905"/>
                <a:solidFill>
                  <a:srgbClr val="00646E"/>
                </a:solidFill>
                <a:effectLst>
                  <a:innerShdw blurRad="69850" dist="43180" dir="5400000">
                    <a:srgbClr val="000000">
                      <a:alpha val="65000"/>
                    </a:srgbClr>
                  </a:innerShdw>
                </a:effectLst>
              </a:endParaRPr>
            </a:p>
            <a:p>
              <a:pPr algn="ctr"/>
              <a:r>
                <a:rPr lang="en-GB" sz="1400" dirty="0" smtClean="0">
                  <a:ln w="1905"/>
                  <a:solidFill>
                    <a:srgbClr val="00646E"/>
                  </a:solidFill>
                  <a:effectLst>
                    <a:innerShdw blurRad="69850" dist="43180" dir="5400000">
                      <a:srgbClr val="000000">
                        <a:alpha val="65000"/>
                      </a:srgbClr>
                    </a:innerShdw>
                  </a:effectLst>
                </a:rPr>
                <a:t>Project-based Flexible Workforce</a:t>
              </a:r>
              <a:endParaRPr lang="en-US" sz="1400" dirty="0" smtClean="0">
                <a:ln w="1905"/>
                <a:solidFill>
                  <a:srgbClr val="00646E"/>
                </a:solidFill>
                <a:effectLst>
                  <a:innerShdw blurRad="69850" dist="43180" dir="5400000">
                    <a:srgbClr val="000000">
                      <a:alpha val="65000"/>
                    </a:srgbClr>
                  </a:innerShdw>
                </a:effectLst>
              </a:endParaRPr>
            </a:p>
          </p:txBody>
        </p:sp>
        <p:sp>
          <p:nvSpPr>
            <p:cNvPr id="14" name="TextBox 13"/>
            <p:cNvSpPr txBox="1"/>
            <p:nvPr/>
          </p:nvSpPr>
          <p:spPr>
            <a:xfrm>
              <a:off x="9734655" y="1913315"/>
              <a:ext cx="1680519" cy="40011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en-GB" sz="2000" dirty="0" smtClean="0"/>
                <a:t>DEMAND</a:t>
              </a:r>
              <a:endParaRPr lang="en-US" sz="2000" dirty="0"/>
            </a:p>
          </p:txBody>
        </p:sp>
      </p:grpSp>
      <p:sp>
        <p:nvSpPr>
          <p:cNvPr id="40" name="Title 39"/>
          <p:cNvSpPr>
            <a:spLocks noGrp="1"/>
          </p:cNvSpPr>
          <p:nvPr>
            <p:ph type="title"/>
          </p:nvPr>
        </p:nvSpPr>
        <p:spPr/>
        <p:txBody>
          <a:bodyPr/>
          <a:lstStyle/>
          <a:p>
            <a:r>
              <a:rPr lang="en-GB" dirty="0" smtClean="0"/>
              <a:t>Responding to the demands of business in many ways</a:t>
            </a:r>
            <a:endParaRPr lang="en-US" dirty="0"/>
          </a:p>
        </p:txBody>
      </p:sp>
      <p:grpSp>
        <p:nvGrpSpPr>
          <p:cNvPr id="7" name="Group 48"/>
          <p:cNvGrpSpPr/>
          <p:nvPr/>
        </p:nvGrpSpPr>
        <p:grpSpPr>
          <a:xfrm>
            <a:off x="-26308" y="1757247"/>
            <a:ext cx="3117600" cy="3415413"/>
            <a:chOff x="-26308" y="1757247"/>
            <a:chExt cx="3117600" cy="3415413"/>
          </a:xfrm>
        </p:grpSpPr>
        <p:sp>
          <p:nvSpPr>
            <p:cNvPr id="48" name="Down Arrow 47"/>
            <p:cNvSpPr/>
            <p:nvPr/>
          </p:nvSpPr>
          <p:spPr>
            <a:xfrm>
              <a:off x="-26308" y="2034540"/>
              <a:ext cx="3117600" cy="3138120"/>
            </a:xfrm>
            <a:prstGeom prst="downArrow">
              <a:avLst/>
            </a:prstGeom>
            <a:solidFill>
              <a:schemeClr val="accent5">
                <a:lumMod val="20000"/>
                <a:lumOff val="80000"/>
              </a:schemeClr>
            </a:solidFill>
            <a:ln w="22225">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endParaRPr lang="en-US" dirty="0"/>
            </a:p>
          </p:txBody>
        </p:sp>
        <p:sp>
          <p:nvSpPr>
            <p:cNvPr id="35" name="Multiply 34"/>
            <p:cNvSpPr/>
            <p:nvPr/>
          </p:nvSpPr>
          <p:spPr>
            <a:xfrm>
              <a:off x="866857" y="4274567"/>
              <a:ext cx="1310640" cy="85090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err="1" smtClean="0"/>
                <a:t>Brexit</a:t>
              </a:r>
              <a:r>
                <a:rPr lang="en-GB" sz="1400" b="1" dirty="0" smtClean="0"/>
                <a:t> Block</a:t>
              </a:r>
              <a:endParaRPr lang="en-US" sz="1400" b="1" dirty="0"/>
            </a:p>
          </p:txBody>
        </p:sp>
        <p:sp>
          <p:nvSpPr>
            <p:cNvPr id="38" name="TextBox 37"/>
            <p:cNvSpPr txBox="1"/>
            <p:nvPr/>
          </p:nvSpPr>
          <p:spPr>
            <a:xfrm>
              <a:off x="866857" y="1757247"/>
              <a:ext cx="1344849" cy="40011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en-GB" sz="2000" dirty="0" smtClean="0"/>
                <a:t>SUPPLY</a:t>
              </a:r>
              <a:endParaRPr lang="en-US" sz="2000" dirty="0"/>
            </a:p>
          </p:txBody>
        </p:sp>
        <p:sp>
          <p:nvSpPr>
            <p:cNvPr id="39" name="TextBox 38"/>
            <p:cNvSpPr txBox="1"/>
            <p:nvPr/>
          </p:nvSpPr>
          <p:spPr>
            <a:xfrm>
              <a:off x="740760" y="2065917"/>
              <a:ext cx="1548000" cy="2542629"/>
            </a:xfrm>
            <a:prstGeom prst="rect">
              <a:avLst/>
            </a:prstGeom>
            <a:noFill/>
          </p:spPr>
          <p:txBody>
            <a:bodyPr wrap="square" lIns="0" tIns="0" rIns="0" bIns="0" rtlCol="0">
              <a:noAutofit/>
            </a:bodyPr>
            <a:lstStyle/>
            <a:p>
              <a:pPr algn="ctr"/>
              <a:r>
                <a:rPr lang="en-GB" sz="1400" dirty="0" smtClean="0">
                  <a:ln w="1905"/>
                  <a:solidFill>
                    <a:srgbClr val="00646E"/>
                  </a:solidFill>
                  <a:effectLst>
                    <a:innerShdw blurRad="69850" dist="43180" dir="5400000">
                      <a:srgbClr val="000000">
                        <a:alpha val="65000"/>
                      </a:srgbClr>
                    </a:innerShdw>
                  </a:effectLst>
                </a:rPr>
                <a:t/>
              </a:r>
              <a:br>
                <a:rPr lang="en-GB" sz="1400" dirty="0" smtClean="0">
                  <a:ln w="1905"/>
                  <a:solidFill>
                    <a:srgbClr val="00646E"/>
                  </a:solidFill>
                  <a:effectLst>
                    <a:innerShdw blurRad="69850" dist="43180" dir="5400000">
                      <a:srgbClr val="000000">
                        <a:alpha val="65000"/>
                      </a:srgbClr>
                    </a:innerShdw>
                  </a:effectLst>
                </a:rPr>
              </a:br>
              <a:r>
                <a:rPr lang="en-GB" sz="1400" dirty="0" smtClean="0">
                  <a:ln w="1905"/>
                  <a:solidFill>
                    <a:srgbClr val="00646E"/>
                  </a:solidFill>
                  <a:effectLst>
                    <a:innerShdw blurRad="69850" dist="43180" dir="5400000">
                      <a:srgbClr val="000000">
                        <a:alpha val="65000"/>
                      </a:srgbClr>
                    </a:innerShdw>
                  </a:effectLst>
                </a:rPr>
                <a:t>Unemployment</a:t>
              </a:r>
              <a:r>
                <a:rPr lang="en-GB" sz="1400" dirty="0">
                  <a:ln w="1905"/>
                  <a:solidFill>
                    <a:srgbClr val="00646E"/>
                  </a:solidFill>
                  <a:effectLst>
                    <a:innerShdw blurRad="69850" dist="43180" dir="5400000">
                      <a:srgbClr val="000000">
                        <a:alpha val="65000"/>
                      </a:srgbClr>
                    </a:innerShdw>
                  </a:effectLst>
                </a:rPr>
                <a:t/>
              </a:r>
              <a:br>
                <a:rPr lang="en-GB" sz="1400" dirty="0">
                  <a:ln w="1905"/>
                  <a:solidFill>
                    <a:srgbClr val="00646E"/>
                  </a:solidFill>
                  <a:effectLst>
                    <a:innerShdw blurRad="69850" dist="43180" dir="5400000">
                      <a:srgbClr val="000000">
                        <a:alpha val="65000"/>
                      </a:srgbClr>
                    </a:innerShdw>
                  </a:effectLst>
                </a:rPr>
              </a:br>
              <a:r>
                <a:rPr lang="en-GB" sz="1400" dirty="0" smtClean="0">
                  <a:ln w="1905"/>
                  <a:solidFill>
                    <a:srgbClr val="00646E"/>
                  </a:solidFill>
                  <a:effectLst>
                    <a:innerShdw blurRad="69850" dist="43180" dir="5400000">
                      <a:srgbClr val="000000">
                        <a:alpha val="65000"/>
                      </a:srgbClr>
                    </a:innerShdw>
                  </a:effectLst>
                </a:rPr>
                <a:t/>
              </a:r>
              <a:br>
                <a:rPr lang="en-GB" sz="1400" dirty="0" smtClean="0">
                  <a:ln w="1905"/>
                  <a:solidFill>
                    <a:srgbClr val="00646E"/>
                  </a:solidFill>
                  <a:effectLst>
                    <a:innerShdw blurRad="69850" dist="43180" dir="5400000">
                      <a:srgbClr val="000000">
                        <a:alpha val="65000"/>
                      </a:srgbClr>
                    </a:innerShdw>
                  </a:effectLst>
                </a:rPr>
              </a:br>
              <a:r>
                <a:rPr lang="en-GB" sz="1400" dirty="0" smtClean="0">
                  <a:ln w="1905"/>
                  <a:solidFill>
                    <a:srgbClr val="00646E"/>
                  </a:solidFill>
                  <a:effectLst>
                    <a:innerShdw blurRad="69850" dist="43180" dir="5400000">
                      <a:srgbClr val="000000">
                        <a:alpha val="65000"/>
                      </a:srgbClr>
                    </a:innerShdw>
                  </a:effectLst>
                </a:rPr>
                <a:t>Digital and Engineering </a:t>
              </a:r>
              <a:br>
                <a:rPr lang="en-GB" sz="1400" dirty="0" smtClean="0">
                  <a:ln w="1905"/>
                  <a:solidFill>
                    <a:srgbClr val="00646E"/>
                  </a:solidFill>
                  <a:effectLst>
                    <a:innerShdw blurRad="69850" dist="43180" dir="5400000">
                      <a:srgbClr val="000000">
                        <a:alpha val="65000"/>
                      </a:srgbClr>
                    </a:innerShdw>
                  </a:effectLst>
                </a:rPr>
              </a:br>
              <a:r>
                <a:rPr lang="en-GB" sz="1400" dirty="0" smtClean="0">
                  <a:ln w="1905"/>
                  <a:solidFill>
                    <a:srgbClr val="00646E"/>
                  </a:solidFill>
                  <a:effectLst>
                    <a:innerShdw blurRad="69850" dist="43180" dir="5400000">
                      <a:srgbClr val="000000">
                        <a:alpha val="65000"/>
                      </a:srgbClr>
                    </a:innerShdw>
                  </a:effectLst>
                </a:rPr>
                <a:t>Skills  </a:t>
              </a:r>
            </a:p>
            <a:p>
              <a:pPr algn="ctr"/>
              <a:r>
                <a:rPr lang="en-GB" sz="1400" dirty="0" smtClean="0">
                  <a:ln w="1905"/>
                  <a:solidFill>
                    <a:srgbClr val="00646E"/>
                  </a:solidFill>
                  <a:effectLst>
                    <a:innerShdw blurRad="69850" dist="43180" dir="5400000">
                      <a:srgbClr val="000000">
                        <a:alpha val="65000"/>
                      </a:srgbClr>
                    </a:innerShdw>
                  </a:effectLst>
                </a:rPr>
                <a:t/>
              </a:r>
              <a:br>
                <a:rPr lang="en-GB" sz="1400" dirty="0" smtClean="0">
                  <a:ln w="1905"/>
                  <a:solidFill>
                    <a:srgbClr val="00646E"/>
                  </a:solidFill>
                  <a:effectLst>
                    <a:innerShdw blurRad="69850" dist="43180" dir="5400000">
                      <a:srgbClr val="000000">
                        <a:alpha val="65000"/>
                      </a:srgbClr>
                    </a:innerShdw>
                  </a:effectLst>
                </a:rPr>
              </a:br>
              <a:r>
                <a:rPr lang="en-GB" sz="1400" dirty="0" smtClean="0">
                  <a:ln w="1905"/>
                  <a:solidFill>
                    <a:srgbClr val="00646E"/>
                  </a:solidFill>
                  <a:effectLst>
                    <a:innerShdw blurRad="69850" dist="43180" dir="5400000">
                      <a:srgbClr val="000000">
                        <a:alpha val="65000"/>
                      </a:srgbClr>
                    </a:innerShdw>
                  </a:effectLst>
                </a:rPr>
                <a:t>Women in Engineering &amp; Technology</a:t>
              </a:r>
              <a:endParaRPr lang="en-US" sz="1400" dirty="0" smtClean="0">
                <a:ln w="1905"/>
                <a:solidFill>
                  <a:srgbClr val="00646E"/>
                </a:solidFill>
                <a:effectLst>
                  <a:innerShdw blurRad="69850" dist="43180" dir="5400000">
                    <a:srgbClr val="000000">
                      <a:alpha val="65000"/>
                    </a:srgbClr>
                  </a:innerShdw>
                </a:effectLst>
              </a:endParaRPr>
            </a:p>
          </p:txBody>
        </p:sp>
      </p:grpSp>
    </p:spTree>
    <p:extLst>
      <p:ext uri="{BB962C8B-B14F-4D97-AF65-F5344CB8AC3E}">
        <p14:creationId xmlns:p14="http://schemas.microsoft.com/office/powerpoint/2010/main" val="107303571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48438" y="4761851"/>
            <a:ext cx="11450941" cy="1286506"/>
          </a:xfrm>
          <a:prstGeom prst="rect">
            <a:avLst/>
          </a:prstGeom>
          <a:noFill/>
        </p:spPr>
        <p:txBody>
          <a:bodyPr wrap="square" lIns="0" tIns="0" rIns="0" bIns="0" rtlCol="0">
            <a:spAutoFit/>
          </a:bodyPr>
          <a:lstStyle/>
          <a:p>
            <a:pPr>
              <a:lnSpc>
                <a:spcPct val="110000"/>
              </a:lnSpc>
              <a:spcBef>
                <a:spcPts val="0"/>
              </a:spcBef>
            </a:pPr>
            <a:r>
              <a:rPr lang="en-US" sz="4400" b="1" dirty="0" smtClean="0">
                <a:solidFill>
                  <a:srgbClr val="009089"/>
                </a:solidFill>
                <a:cs typeface="Arial" pitchFamily="34" charset="0"/>
              </a:rPr>
              <a:t>siemens.co.uk/education</a:t>
            </a:r>
          </a:p>
          <a:p>
            <a:pPr>
              <a:lnSpc>
                <a:spcPct val="110000"/>
              </a:lnSpc>
              <a:spcBef>
                <a:spcPts val="0"/>
              </a:spcBef>
            </a:pPr>
            <a:r>
              <a:rPr lang="en-GB" sz="3200" b="1" dirty="0" smtClean="0">
                <a:solidFill>
                  <a:srgbClr val="009089"/>
                </a:solidFill>
                <a:cs typeface="Arial" pitchFamily="34" charset="0"/>
              </a:rPr>
              <a:t>Brenda.Yearsley@siemens.com</a:t>
            </a:r>
            <a:endParaRPr lang="en-US" sz="3200" b="1" dirty="0">
              <a:solidFill>
                <a:srgbClr val="009089"/>
              </a:solidFill>
              <a:cs typeface="Arial" pitchFamily="34" charset="0"/>
            </a:endParaRPr>
          </a:p>
        </p:txBody>
      </p:sp>
    </p:spTree>
    <p:custDataLst>
      <p:tags r:id="rId1"/>
    </p:custDataLst>
    <p:extLst>
      <p:ext uri="{BB962C8B-B14F-4D97-AF65-F5344CB8AC3E}">
        <p14:creationId xmlns:p14="http://schemas.microsoft.com/office/powerpoint/2010/main" val="438299473"/>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ext uri="{D42A27DB-BD31-4B8C-83A1-F6EECF244321}">
                <p14:modId xmlns:p14="http://schemas.microsoft.com/office/powerpoint/2010/main" val="269295134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312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Freeform 6"/>
          <p:cNvSpPr>
            <a:spLocks noEditPoints="1"/>
          </p:cNvSpPr>
          <p:nvPr/>
        </p:nvSpPr>
        <p:spPr bwMode="auto">
          <a:xfrm>
            <a:off x="4046538" y="1453642"/>
            <a:ext cx="3530600" cy="4699000"/>
          </a:xfrm>
          <a:custGeom>
            <a:avLst/>
            <a:gdLst/>
            <a:ahLst/>
            <a:cxnLst>
              <a:cxn ang="0">
                <a:pos x="3124" y="15619"/>
              </a:cxn>
              <a:cxn ang="0">
                <a:pos x="672" y="19183"/>
              </a:cxn>
              <a:cxn ang="0">
                <a:pos x="1187" y="22635"/>
              </a:cxn>
              <a:cxn ang="0">
                <a:pos x="1839" y="25414"/>
              </a:cxn>
              <a:cxn ang="0">
                <a:pos x="7935" y="19145"/>
              </a:cxn>
              <a:cxn ang="0">
                <a:pos x="9442" y="12979"/>
              </a:cxn>
              <a:cxn ang="0">
                <a:pos x="10592" y="17591"/>
              </a:cxn>
              <a:cxn ang="0">
                <a:pos x="7712" y="12264"/>
              </a:cxn>
              <a:cxn ang="0">
                <a:pos x="7797" y="11284"/>
              </a:cxn>
              <a:cxn ang="0">
                <a:pos x="8017" y="9883"/>
              </a:cxn>
              <a:cxn ang="0">
                <a:pos x="6831" y="9865"/>
              </a:cxn>
              <a:cxn ang="0">
                <a:pos x="7870" y="3637"/>
              </a:cxn>
              <a:cxn ang="0">
                <a:pos x="6335" y="4586"/>
              </a:cxn>
              <a:cxn ang="0">
                <a:pos x="7605" y="4708"/>
              </a:cxn>
              <a:cxn ang="0">
                <a:pos x="5795" y="6458"/>
              </a:cxn>
              <a:cxn ang="0">
                <a:pos x="6228" y="6264"/>
              </a:cxn>
              <a:cxn ang="0">
                <a:pos x="5601" y="8125"/>
              </a:cxn>
              <a:cxn ang="0">
                <a:pos x="13494" y="1869"/>
              </a:cxn>
              <a:cxn ang="0">
                <a:pos x="13312" y="1467"/>
              </a:cxn>
              <a:cxn ang="0">
                <a:pos x="13838" y="790"/>
              </a:cxn>
              <a:cxn ang="0">
                <a:pos x="14278" y="564"/>
              </a:cxn>
              <a:cxn ang="0">
                <a:pos x="15996" y="6645"/>
              </a:cxn>
              <a:cxn ang="0">
                <a:pos x="14064" y="9938"/>
              </a:cxn>
              <a:cxn ang="0">
                <a:pos x="13317" y="11270"/>
              </a:cxn>
              <a:cxn ang="0">
                <a:pos x="15163" y="11705"/>
              </a:cxn>
              <a:cxn ang="0">
                <a:pos x="16928" y="15553"/>
              </a:cxn>
              <a:cxn ang="0">
                <a:pos x="19077" y="18995"/>
              </a:cxn>
              <a:cxn ang="0">
                <a:pos x="20045" y="21138"/>
              </a:cxn>
              <a:cxn ang="0">
                <a:pos x="21435" y="24017"/>
              </a:cxn>
              <a:cxn ang="0">
                <a:pos x="20205" y="25392"/>
              </a:cxn>
              <a:cxn ang="0">
                <a:pos x="20789" y="27059"/>
              </a:cxn>
              <a:cxn ang="0">
                <a:pos x="16025" y="27551"/>
              </a:cxn>
              <a:cxn ang="0">
                <a:pos x="12537" y="28926"/>
              </a:cxn>
              <a:cxn ang="0">
                <a:pos x="9594" y="29673"/>
              </a:cxn>
              <a:cxn ang="0">
                <a:pos x="10719" y="27551"/>
              </a:cxn>
              <a:cxn ang="0">
                <a:pos x="14264" y="25184"/>
              </a:cxn>
              <a:cxn ang="0">
                <a:pos x="11686" y="24869"/>
              </a:cxn>
              <a:cxn ang="0">
                <a:pos x="9832" y="24034"/>
              </a:cxn>
              <a:cxn ang="0">
                <a:pos x="11010" y="21325"/>
              </a:cxn>
              <a:cxn ang="0">
                <a:pos x="10907" y="19928"/>
              </a:cxn>
              <a:cxn ang="0">
                <a:pos x="13407" y="19667"/>
              </a:cxn>
              <a:cxn ang="0">
                <a:pos x="13406" y="17686"/>
              </a:cxn>
              <a:cxn ang="0">
                <a:pos x="11937" y="15418"/>
              </a:cxn>
              <a:cxn ang="0">
                <a:pos x="10150" y="15648"/>
              </a:cxn>
              <a:cxn ang="0">
                <a:pos x="10410" y="12625"/>
              </a:cxn>
              <a:cxn ang="0">
                <a:pos x="9510" y="11472"/>
              </a:cxn>
              <a:cxn ang="0">
                <a:pos x="8892" y="12439"/>
              </a:cxn>
              <a:cxn ang="0">
                <a:pos x="9385" y="9640"/>
              </a:cxn>
              <a:cxn ang="0">
                <a:pos x="8672" y="8021"/>
              </a:cxn>
              <a:cxn ang="0">
                <a:pos x="7687" y="7601"/>
              </a:cxn>
              <a:cxn ang="0">
                <a:pos x="7117" y="6529"/>
              </a:cxn>
              <a:cxn ang="0">
                <a:pos x="8585" y="7330"/>
              </a:cxn>
              <a:cxn ang="0">
                <a:pos x="8742" y="5218"/>
              </a:cxn>
              <a:cxn ang="0">
                <a:pos x="9442" y="3892"/>
              </a:cxn>
              <a:cxn ang="0">
                <a:pos x="10919" y="2811"/>
              </a:cxn>
              <a:cxn ang="0">
                <a:pos x="13572" y="3462"/>
              </a:cxn>
              <a:cxn ang="0">
                <a:pos x="11547" y="5873"/>
              </a:cxn>
              <a:cxn ang="0">
                <a:pos x="14004" y="5846"/>
              </a:cxn>
              <a:cxn ang="0">
                <a:pos x="6861" y="17204"/>
              </a:cxn>
              <a:cxn ang="0">
                <a:pos x="9270" y="16348"/>
              </a:cxn>
              <a:cxn ang="0">
                <a:pos x="6181" y="14564"/>
              </a:cxn>
              <a:cxn ang="0">
                <a:pos x="4936" y="17034"/>
              </a:cxn>
            </a:cxnLst>
            <a:rect l="0" t="0" r="r" b="b"/>
            <a:pathLst>
              <a:path w="22344" h="29765">
                <a:moveTo>
                  <a:pt x="5900" y="14512"/>
                </a:moveTo>
                <a:lnTo>
                  <a:pt x="5900" y="14512"/>
                </a:lnTo>
                <a:cubicBezTo>
                  <a:pt x="5900" y="14512"/>
                  <a:pt x="5875" y="14356"/>
                  <a:pt x="5951" y="14311"/>
                </a:cubicBezTo>
                <a:cubicBezTo>
                  <a:pt x="6028" y="14266"/>
                  <a:pt x="6086" y="14211"/>
                  <a:pt x="6140" y="14192"/>
                </a:cubicBezTo>
                <a:cubicBezTo>
                  <a:pt x="6195" y="14176"/>
                  <a:pt x="6326" y="14071"/>
                  <a:pt x="6326" y="14071"/>
                </a:cubicBezTo>
                <a:cubicBezTo>
                  <a:pt x="6326" y="14071"/>
                  <a:pt x="6423" y="14126"/>
                  <a:pt x="6473" y="14132"/>
                </a:cubicBezTo>
                <a:cubicBezTo>
                  <a:pt x="6523" y="14139"/>
                  <a:pt x="6633" y="14064"/>
                  <a:pt x="6601" y="13986"/>
                </a:cubicBezTo>
                <a:cubicBezTo>
                  <a:pt x="6570" y="13909"/>
                  <a:pt x="6661" y="13819"/>
                  <a:pt x="6491" y="13809"/>
                </a:cubicBezTo>
                <a:cubicBezTo>
                  <a:pt x="6321" y="13801"/>
                  <a:pt x="6355" y="13796"/>
                  <a:pt x="6245" y="13766"/>
                </a:cubicBezTo>
                <a:cubicBezTo>
                  <a:pt x="6135" y="13737"/>
                  <a:pt x="6088" y="13716"/>
                  <a:pt x="6040" y="13664"/>
                </a:cubicBezTo>
                <a:cubicBezTo>
                  <a:pt x="5991" y="13612"/>
                  <a:pt x="5980" y="13544"/>
                  <a:pt x="5831" y="13516"/>
                </a:cubicBezTo>
                <a:cubicBezTo>
                  <a:pt x="5683" y="13487"/>
                  <a:pt x="5663" y="13282"/>
                  <a:pt x="5683" y="13487"/>
                </a:cubicBezTo>
                <a:cubicBezTo>
                  <a:pt x="5703" y="13692"/>
                  <a:pt x="5720" y="13719"/>
                  <a:pt x="5720" y="13719"/>
                </a:cubicBezTo>
                <a:cubicBezTo>
                  <a:pt x="5720" y="13719"/>
                  <a:pt x="5641" y="13787"/>
                  <a:pt x="5596" y="13796"/>
                </a:cubicBezTo>
                <a:cubicBezTo>
                  <a:pt x="5553" y="13804"/>
                  <a:pt x="5525" y="13772"/>
                  <a:pt x="5441" y="13776"/>
                </a:cubicBezTo>
                <a:cubicBezTo>
                  <a:pt x="5356" y="13779"/>
                  <a:pt x="5165" y="13999"/>
                  <a:pt x="5051" y="13921"/>
                </a:cubicBezTo>
                <a:cubicBezTo>
                  <a:pt x="4938" y="13844"/>
                  <a:pt x="4901" y="13866"/>
                  <a:pt x="4826" y="13929"/>
                </a:cubicBezTo>
                <a:cubicBezTo>
                  <a:pt x="4751" y="13994"/>
                  <a:pt x="4721" y="13971"/>
                  <a:pt x="4683" y="14041"/>
                </a:cubicBezTo>
                <a:cubicBezTo>
                  <a:pt x="4644" y="14109"/>
                  <a:pt x="4589" y="14102"/>
                  <a:pt x="4553" y="14121"/>
                </a:cubicBezTo>
                <a:cubicBezTo>
                  <a:pt x="4516" y="14141"/>
                  <a:pt x="4503" y="14172"/>
                  <a:pt x="4423" y="14202"/>
                </a:cubicBezTo>
                <a:cubicBezTo>
                  <a:pt x="4343" y="14232"/>
                  <a:pt x="4296" y="14297"/>
                  <a:pt x="4213" y="14249"/>
                </a:cubicBezTo>
                <a:cubicBezTo>
                  <a:pt x="4128" y="14202"/>
                  <a:pt x="4046" y="14204"/>
                  <a:pt x="4026" y="14249"/>
                </a:cubicBezTo>
                <a:cubicBezTo>
                  <a:pt x="4004" y="14296"/>
                  <a:pt x="3998" y="14389"/>
                  <a:pt x="3998" y="14467"/>
                </a:cubicBezTo>
                <a:cubicBezTo>
                  <a:pt x="3998" y="14546"/>
                  <a:pt x="3883" y="14651"/>
                  <a:pt x="3883" y="14651"/>
                </a:cubicBezTo>
                <a:cubicBezTo>
                  <a:pt x="3883" y="14651"/>
                  <a:pt x="3816" y="14677"/>
                  <a:pt x="3788" y="14711"/>
                </a:cubicBezTo>
                <a:cubicBezTo>
                  <a:pt x="3759" y="14744"/>
                  <a:pt x="3771" y="14736"/>
                  <a:pt x="3784" y="14811"/>
                </a:cubicBezTo>
                <a:cubicBezTo>
                  <a:pt x="3798" y="14884"/>
                  <a:pt x="3729" y="15009"/>
                  <a:pt x="3783" y="15042"/>
                </a:cubicBezTo>
                <a:cubicBezTo>
                  <a:pt x="3834" y="15074"/>
                  <a:pt x="3916" y="15126"/>
                  <a:pt x="3916" y="15126"/>
                </a:cubicBezTo>
                <a:cubicBezTo>
                  <a:pt x="3916" y="15126"/>
                  <a:pt x="3971" y="15176"/>
                  <a:pt x="3853" y="15164"/>
                </a:cubicBezTo>
                <a:cubicBezTo>
                  <a:pt x="3736" y="15153"/>
                  <a:pt x="3701" y="15203"/>
                  <a:pt x="3631" y="15208"/>
                </a:cubicBezTo>
                <a:cubicBezTo>
                  <a:pt x="3561" y="15213"/>
                  <a:pt x="3388" y="15184"/>
                  <a:pt x="3516" y="15279"/>
                </a:cubicBezTo>
                <a:lnTo>
                  <a:pt x="3644" y="15374"/>
                </a:lnTo>
                <a:cubicBezTo>
                  <a:pt x="3644" y="15374"/>
                  <a:pt x="3563" y="15348"/>
                  <a:pt x="3491" y="15391"/>
                </a:cubicBezTo>
                <a:cubicBezTo>
                  <a:pt x="3419" y="15433"/>
                  <a:pt x="3139" y="15563"/>
                  <a:pt x="3124" y="15619"/>
                </a:cubicBezTo>
                <a:cubicBezTo>
                  <a:pt x="3111" y="15674"/>
                  <a:pt x="2979" y="15674"/>
                  <a:pt x="3149" y="15814"/>
                </a:cubicBezTo>
                <a:cubicBezTo>
                  <a:pt x="3318" y="15956"/>
                  <a:pt x="3563" y="15978"/>
                  <a:pt x="3594" y="15951"/>
                </a:cubicBezTo>
                <a:cubicBezTo>
                  <a:pt x="3628" y="15926"/>
                  <a:pt x="3923" y="15929"/>
                  <a:pt x="3923" y="15929"/>
                </a:cubicBezTo>
                <a:cubicBezTo>
                  <a:pt x="3923" y="15929"/>
                  <a:pt x="4198" y="15866"/>
                  <a:pt x="4244" y="15836"/>
                </a:cubicBezTo>
                <a:cubicBezTo>
                  <a:pt x="4293" y="15806"/>
                  <a:pt x="4314" y="15956"/>
                  <a:pt x="4249" y="16046"/>
                </a:cubicBezTo>
                <a:cubicBezTo>
                  <a:pt x="4186" y="16136"/>
                  <a:pt x="4133" y="16218"/>
                  <a:pt x="4118" y="16243"/>
                </a:cubicBezTo>
                <a:cubicBezTo>
                  <a:pt x="4104" y="16268"/>
                  <a:pt x="4094" y="16409"/>
                  <a:pt x="4024" y="16403"/>
                </a:cubicBezTo>
                <a:cubicBezTo>
                  <a:pt x="3954" y="16396"/>
                  <a:pt x="3488" y="16438"/>
                  <a:pt x="3456" y="16466"/>
                </a:cubicBezTo>
                <a:cubicBezTo>
                  <a:pt x="3426" y="16496"/>
                  <a:pt x="3191" y="16724"/>
                  <a:pt x="3191" y="16724"/>
                </a:cubicBezTo>
                <a:cubicBezTo>
                  <a:pt x="3191" y="16724"/>
                  <a:pt x="3259" y="16911"/>
                  <a:pt x="3394" y="16893"/>
                </a:cubicBezTo>
                <a:cubicBezTo>
                  <a:pt x="3531" y="16873"/>
                  <a:pt x="3863" y="17038"/>
                  <a:pt x="3863" y="17038"/>
                </a:cubicBezTo>
                <a:cubicBezTo>
                  <a:pt x="3863" y="17038"/>
                  <a:pt x="3496" y="17133"/>
                  <a:pt x="3416" y="17096"/>
                </a:cubicBezTo>
                <a:cubicBezTo>
                  <a:pt x="3336" y="17061"/>
                  <a:pt x="3128" y="17094"/>
                  <a:pt x="3009" y="17036"/>
                </a:cubicBezTo>
                <a:cubicBezTo>
                  <a:pt x="2889" y="16978"/>
                  <a:pt x="2739" y="16921"/>
                  <a:pt x="2701" y="16938"/>
                </a:cubicBezTo>
                <a:cubicBezTo>
                  <a:pt x="2663" y="16956"/>
                  <a:pt x="2518" y="17209"/>
                  <a:pt x="2519" y="17193"/>
                </a:cubicBezTo>
                <a:cubicBezTo>
                  <a:pt x="2521" y="17174"/>
                  <a:pt x="2372" y="17121"/>
                  <a:pt x="2337" y="17093"/>
                </a:cubicBezTo>
                <a:cubicBezTo>
                  <a:pt x="2304" y="17064"/>
                  <a:pt x="2302" y="16853"/>
                  <a:pt x="2197" y="16868"/>
                </a:cubicBezTo>
                <a:cubicBezTo>
                  <a:pt x="2092" y="16884"/>
                  <a:pt x="1724" y="16819"/>
                  <a:pt x="1669" y="16838"/>
                </a:cubicBezTo>
                <a:cubicBezTo>
                  <a:pt x="1616" y="16854"/>
                  <a:pt x="1379" y="16869"/>
                  <a:pt x="1326" y="16838"/>
                </a:cubicBezTo>
                <a:cubicBezTo>
                  <a:pt x="1272" y="16806"/>
                  <a:pt x="1166" y="16871"/>
                  <a:pt x="1172" y="16934"/>
                </a:cubicBezTo>
                <a:cubicBezTo>
                  <a:pt x="1179" y="16996"/>
                  <a:pt x="921" y="17321"/>
                  <a:pt x="921" y="17321"/>
                </a:cubicBezTo>
                <a:cubicBezTo>
                  <a:pt x="921" y="17321"/>
                  <a:pt x="827" y="17511"/>
                  <a:pt x="929" y="17595"/>
                </a:cubicBezTo>
                <a:cubicBezTo>
                  <a:pt x="1031" y="17680"/>
                  <a:pt x="1109" y="17778"/>
                  <a:pt x="1109" y="17778"/>
                </a:cubicBezTo>
                <a:cubicBezTo>
                  <a:pt x="1109" y="17778"/>
                  <a:pt x="987" y="17820"/>
                  <a:pt x="902" y="17816"/>
                </a:cubicBezTo>
                <a:cubicBezTo>
                  <a:pt x="817" y="17813"/>
                  <a:pt x="569" y="17886"/>
                  <a:pt x="569" y="17886"/>
                </a:cubicBezTo>
                <a:cubicBezTo>
                  <a:pt x="569" y="17886"/>
                  <a:pt x="579" y="18060"/>
                  <a:pt x="687" y="18075"/>
                </a:cubicBezTo>
                <a:cubicBezTo>
                  <a:pt x="794" y="18090"/>
                  <a:pt x="1011" y="18253"/>
                  <a:pt x="1061" y="18253"/>
                </a:cubicBezTo>
                <a:cubicBezTo>
                  <a:pt x="1111" y="18253"/>
                  <a:pt x="1556" y="18336"/>
                  <a:pt x="1572" y="18391"/>
                </a:cubicBezTo>
                <a:cubicBezTo>
                  <a:pt x="1591" y="18445"/>
                  <a:pt x="1706" y="18471"/>
                  <a:pt x="1662" y="18483"/>
                </a:cubicBezTo>
                <a:cubicBezTo>
                  <a:pt x="1621" y="18493"/>
                  <a:pt x="1084" y="18553"/>
                  <a:pt x="1084" y="18553"/>
                </a:cubicBezTo>
                <a:lnTo>
                  <a:pt x="1112" y="18828"/>
                </a:lnTo>
                <a:lnTo>
                  <a:pt x="1207" y="18980"/>
                </a:lnTo>
                <a:cubicBezTo>
                  <a:pt x="1207" y="18980"/>
                  <a:pt x="1044" y="19148"/>
                  <a:pt x="967" y="19130"/>
                </a:cubicBezTo>
                <a:cubicBezTo>
                  <a:pt x="891" y="19111"/>
                  <a:pt x="697" y="19118"/>
                  <a:pt x="672" y="19183"/>
                </a:cubicBezTo>
                <a:cubicBezTo>
                  <a:pt x="647" y="19248"/>
                  <a:pt x="534" y="19328"/>
                  <a:pt x="604" y="19387"/>
                </a:cubicBezTo>
                <a:cubicBezTo>
                  <a:pt x="672" y="19445"/>
                  <a:pt x="727" y="19592"/>
                  <a:pt x="727" y="19592"/>
                </a:cubicBezTo>
                <a:lnTo>
                  <a:pt x="681" y="19720"/>
                </a:lnTo>
                <a:cubicBezTo>
                  <a:pt x="681" y="19720"/>
                  <a:pt x="984" y="19892"/>
                  <a:pt x="1047" y="19835"/>
                </a:cubicBezTo>
                <a:cubicBezTo>
                  <a:pt x="1111" y="19780"/>
                  <a:pt x="1162" y="19862"/>
                  <a:pt x="1104" y="19898"/>
                </a:cubicBezTo>
                <a:cubicBezTo>
                  <a:pt x="1044" y="19935"/>
                  <a:pt x="951" y="19995"/>
                  <a:pt x="1021" y="20082"/>
                </a:cubicBezTo>
                <a:cubicBezTo>
                  <a:pt x="1092" y="20168"/>
                  <a:pt x="1232" y="20262"/>
                  <a:pt x="1276" y="20202"/>
                </a:cubicBezTo>
                <a:cubicBezTo>
                  <a:pt x="1321" y="20140"/>
                  <a:pt x="1514" y="19872"/>
                  <a:pt x="1514" y="19872"/>
                </a:cubicBezTo>
                <a:cubicBezTo>
                  <a:pt x="1514" y="19872"/>
                  <a:pt x="1592" y="19947"/>
                  <a:pt x="1584" y="20012"/>
                </a:cubicBezTo>
                <a:cubicBezTo>
                  <a:pt x="1577" y="20078"/>
                  <a:pt x="1622" y="20178"/>
                  <a:pt x="1666" y="20170"/>
                </a:cubicBezTo>
                <a:cubicBezTo>
                  <a:pt x="1709" y="20160"/>
                  <a:pt x="2296" y="20150"/>
                  <a:pt x="2296" y="20150"/>
                </a:cubicBezTo>
                <a:lnTo>
                  <a:pt x="2518" y="20165"/>
                </a:lnTo>
                <a:lnTo>
                  <a:pt x="2729" y="20295"/>
                </a:lnTo>
                <a:cubicBezTo>
                  <a:pt x="2729" y="20295"/>
                  <a:pt x="2759" y="20448"/>
                  <a:pt x="2691" y="20470"/>
                </a:cubicBezTo>
                <a:cubicBezTo>
                  <a:pt x="2623" y="20492"/>
                  <a:pt x="2533" y="20532"/>
                  <a:pt x="2456" y="20515"/>
                </a:cubicBezTo>
                <a:cubicBezTo>
                  <a:pt x="2379" y="20497"/>
                  <a:pt x="2222" y="20430"/>
                  <a:pt x="2222" y="20430"/>
                </a:cubicBezTo>
                <a:cubicBezTo>
                  <a:pt x="2222" y="20430"/>
                  <a:pt x="2169" y="20677"/>
                  <a:pt x="2114" y="20712"/>
                </a:cubicBezTo>
                <a:cubicBezTo>
                  <a:pt x="2059" y="20747"/>
                  <a:pt x="1872" y="21158"/>
                  <a:pt x="1872" y="21158"/>
                </a:cubicBezTo>
                <a:cubicBezTo>
                  <a:pt x="1872" y="21158"/>
                  <a:pt x="2007" y="21188"/>
                  <a:pt x="2057" y="21190"/>
                </a:cubicBezTo>
                <a:cubicBezTo>
                  <a:pt x="2107" y="21192"/>
                  <a:pt x="1977" y="21403"/>
                  <a:pt x="1977" y="21403"/>
                </a:cubicBezTo>
                <a:cubicBezTo>
                  <a:pt x="1977" y="21403"/>
                  <a:pt x="1796" y="21637"/>
                  <a:pt x="1754" y="21677"/>
                </a:cubicBezTo>
                <a:cubicBezTo>
                  <a:pt x="1714" y="21717"/>
                  <a:pt x="1579" y="21737"/>
                  <a:pt x="1579" y="21817"/>
                </a:cubicBezTo>
                <a:cubicBezTo>
                  <a:pt x="1581" y="21899"/>
                  <a:pt x="1226" y="22170"/>
                  <a:pt x="1194" y="22172"/>
                </a:cubicBezTo>
                <a:cubicBezTo>
                  <a:pt x="1162" y="22175"/>
                  <a:pt x="1089" y="22242"/>
                  <a:pt x="1089" y="22242"/>
                </a:cubicBezTo>
                <a:cubicBezTo>
                  <a:pt x="1089" y="22242"/>
                  <a:pt x="1334" y="22265"/>
                  <a:pt x="1374" y="22224"/>
                </a:cubicBezTo>
                <a:cubicBezTo>
                  <a:pt x="1414" y="22184"/>
                  <a:pt x="1741" y="21997"/>
                  <a:pt x="1741" y="21997"/>
                </a:cubicBezTo>
                <a:cubicBezTo>
                  <a:pt x="1741" y="21997"/>
                  <a:pt x="1999" y="22015"/>
                  <a:pt x="2047" y="22067"/>
                </a:cubicBezTo>
                <a:cubicBezTo>
                  <a:pt x="2096" y="22119"/>
                  <a:pt x="2286" y="22055"/>
                  <a:pt x="2286" y="22055"/>
                </a:cubicBezTo>
                <a:cubicBezTo>
                  <a:pt x="2286" y="22055"/>
                  <a:pt x="2451" y="21925"/>
                  <a:pt x="2454" y="22009"/>
                </a:cubicBezTo>
                <a:cubicBezTo>
                  <a:pt x="2456" y="22090"/>
                  <a:pt x="2484" y="22189"/>
                  <a:pt x="2406" y="22220"/>
                </a:cubicBezTo>
                <a:cubicBezTo>
                  <a:pt x="2327" y="22252"/>
                  <a:pt x="2076" y="22192"/>
                  <a:pt x="2026" y="22217"/>
                </a:cubicBezTo>
                <a:cubicBezTo>
                  <a:pt x="1976" y="22242"/>
                  <a:pt x="1621" y="22250"/>
                  <a:pt x="1586" y="22274"/>
                </a:cubicBezTo>
                <a:cubicBezTo>
                  <a:pt x="1549" y="22295"/>
                  <a:pt x="1539" y="22542"/>
                  <a:pt x="1494" y="22549"/>
                </a:cubicBezTo>
                <a:cubicBezTo>
                  <a:pt x="1449" y="22555"/>
                  <a:pt x="1266" y="22604"/>
                  <a:pt x="1187" y="22635"/>
                </a:cubicBezTo>
                <a:cubicBezTo>
                  <a:pt x="1109" y="22669"/>
                  <a:pt x="944" y="22640"/>
                  <a:pt x="939" y="22710"/>
                </a:cubicBezTo>
                <a:cubicBezTo>
                  <a:pt x="932" y="22779"/>
                  <a:pt x="1004" y="23050"/>
                  <a:pt x="1084" y="23047"/>
                </a:cubicBezTo>
                <a:cubicBezTo>
                  <a:pt x="1164" y="23045"/>
                  <a:pt x="1311" y="23200"/>
                  <a:pt x="1311" y="23200"/>
                </a:cubicBezTo>
                <a:lnTo>
                  <a:pt x="947" y="23197"/>
                </a:lnTo>
                <a:cubicBezTo>
                  <a:pt x="947" y="23197"/>
                  <a:pt x="774" y="23207"/>
                  <a:pt x="689" y="23177"/>
                </a:cubicBezTo>
                <a:cubicBezTo>
                  <a:pt x="606" y="23147"/>
                  <a:pt x="602" y="22985"/>
                  <a:pt x="499" y="23082"/>
                </a:cubicBezTo>
                <a:cubicBezTo>
                  <a:pt x="396" y="23180"/>
                  <a:pt x="199" y="23287"/>
                  <a:pt x="152" y="23315"/>
                </a:cubicBezTo>
                <a:cubicBezTo>
                  <a:pt x="104" y="23345"/>
                  <a:pt x="20" y="23527"/>
                  <a:pt x="20" y="23527"/>
                </a:cubicBezTo>
                <a:cubicBezTo>
                  <a:pt x="20" y="23527"/>
                  <a:pt x="0" y="23624"/>
                  <a:pt x="95" y="23646"/>
                </a:cubicBezTo>
                <a:cubicBezTo>
                  <a:pt x="192" y="23669"/>
                  <a:pt x="756" y="23545"/>
                  <a:pt x="756" y="23545"/>
                </a:cubicBezTo>
                <a:lnTo>
                  <a:pt x="1202" y="23500"/>
                </a:lnTo>
                <a:cubicBezTo>
                  <a:pt x="1202" y="23500"/>
                  <a:pt x="1351" y="23552"/>
                  <a:pt x="1279" y="23597"/>
                </a:cubicBezTo>
                <a:cubicBezTo>
                  <a:pt x="1209" y="23641"/>
                  <a:pt x="1029" y="23802"/>
                  <a:pt x="972" y="23789"/>
                </a:cubicBezTo>
                <a:cubicBezTo>
                  <a:pt x="914" y="23776"/>
                  <a:pt x="571" y="23881"/>
                  <a:pt x="529" y="23921"/>
                </a:cubicBezTo>
                <a:cubicBezTo>
                  <a:pt x="487" y="23959"/>
                  <a:pt x="204" y="24179"/>
                  <a:pt x="204" y="24179"/>
                </a:cubicBezTo>
                <a:lnTo>
                  <a:pt x="144" y="24327"/>
                </a:lnTo>
                <a:cubicBezTo>
                  <a:pt x="144" y="24327"/>
                  <a:pt x="199" y="24469"/>
                  <a:pt x="259" y="24512"/>
                </a:cubicBezTo>
                <a:cubicBezTo>
                  <a:pt x="319" y="24557"/>
                  <a:pt x="361" y="24761"/>
                  <a:pt x="496" y="24644"/>
                </a:cubicBezTo>
                <a:cubicBezTo>
                  <a:pt x="629" y="24527"/>
                  <a:pt x="681" y="24531"/>
                  <a:pt x="681" y="24531"/>
                </a:cubicBezTo>
                <a:cubicBezTo>
                  <a:pt x="681" y="24531"/>
                  <a:pt x="874" y="24604"/>
                  <a:pt x="922" y="24574"/>
                </a:cubicBezTo>
                <a:cubicBezTo>
                  <a:pt x="969" y="24546"/>
                  <a:pt x="1527" y="24311"/>
                  <a:pt x="1527" y="24311"/>
                </a:cubicBezTo>
                <a:cubicBezTo>
                  <a:pt x="1527" y="24311"/>
                  <a:pt x="1606" y="24409"/>
                  <a:pt x="1566" y="24451"/>
                </a:cubicBezTo>
                <a:cubicBezTo>
                  <a:pt x="1527" y="24492"/>
                  <a:pt x="1246" y="24569"/>
                  <a:pt x="1246" y="24569"/>
                </a:cubicBezTo>
                <a:cubicBezTo>
                  <a:pt x="1246" y="24569"/>
                  <a:pt x="909" y="24764"/>
                  <a:pt x="881" y="24797"/>
                </a:cubicBezTo>
                <a:cubicBezTo>
                  <a:pt x="852" y="24831"/>
                  <a:pt x="806" y="24897"/>
                  <a:pt x="709" y="24987"/>
                </a:cubicBezTo>
                <a:cubicBezTo>
                  <a:pt x="612" y="25079"/>
                  <a:pt x="541" y="25094"/>
                  <a:pt x="541" y="25094"/>
                </a:cubicBezTo>
                <a:cubicBezTo>
                  <a:pt x="541" y="25094"/>
                  <a:pt x="751" y="25256"/>
                  <a:pt x="827" y="25176"/>
                </a:cubicBezTo>
                <a:cubicBezTo>
                  <a:pt x="902" y="25096"/>
                  <a:pt x="1314" y="25019"/>
                  <a:pt x="1314" y="25019"/>
                </a:cubicBezTo>
                <a:lnTo>
                  <a:pt x="1681" y="24791"/>
                </a:lnTo>
                <a:cubicBezTo>
                  <a:pt x="1681" y="24791"/>
                  <a:pt x="1439" y="25089"/>
                  <a:pt x="1411" y="25122"/>
                </a:cubicBezTo>
                <a:cubicBezTo>
                  <a:pt x="1384" y="25156"/>
                  <a:pt x="1497" y="25232"/>
                  <a:pt x="1497" y="25232"/>
                </a:cubicBezTo>
                <a:cubicBezTo>
                  <a:pt x="1497" y="25232"/>
                  <a:pt x="1526" y="25281"/>
                  <a:pt x="1494" y="25334"/>
                </a:cubicBezTo>
                <a:cubicBezTo>
                  <a:pt x="1461" y="25386"/>
                  <a:pt x="1474" y="25461"/>
                  <a:pt x="1474" y="25461"/>
                </a:cubicBezTo>
                <a:lnTo>
                  <a:pt x="1839" y="25414"/>
                </a:lnTo>
                <a:cubicBezTo>
                  <a:pt x="1839" y="25414"/>
                  <a:pt x="2609" y="25359"/>
                  <a:pt x="2611" y="25309"/>
                </a:cubicBezTo>
                <a:cubicBezTo>
                  <a:pt x="2613" y="25259"/>
                  <a:pt x="2969" y="25199"/>
                  <a:pt x="2969" y="25199"/>
                </a:cubicBezTo>
                <a:lnTo>
                  <a:pt x="3404" y="25109"/>
                </a:lnTo>
                <a:lnTo>
                  <a:pt x="3583" y="24997"/>
                </a:lnTo>
                <a:lnTo>
                  <a:pt x="3783" y="24872"/>
                </a:lnTo>
                <a:lnTo>
                  <a:pt x="4044" y="24529"/>
                </a:lnTo>
                <a:lnTo>
                  <a:pt x="4196" y="24614"/>
                </a:lnTo>
                <a:lnTo>
                  <a:pt x="4548" y="24494"/>
                </a:lnTo>
                <a:cubicBezTo>
                  <a:pt x="4548" y="24494"/>
                  <a:pt x="4768" y="24322"/>
                  <a:pt x="4790" y="24277"/>
                </a:cubicBezTo>
                <a:cubicBezTo>
                  <a:pt x="4810" y="24231"/>
                  <a:pt x="5020" y="24067"/>
                  <a:pt x="5020" y="24067"/>
                </a:cubicBezTo>
                <a:cubicBezTo>
                  <a:pt x="5020" y="24067"/>
                  <a:pt x="5168" y="24041"/>
                  <a:pt x="5195" y="24007"/>
                </a:cubicBezTo>
                <a:cubicBezTo>
                  <a:pt x="5223" y="23972"/>
                  <a:pt x="5345" y="23831"/>
                  <a:pt x="5345" y="23831"/>
                </a:cubicBezTo>
                <a:lnTo>
                  <a:pt x="5265" y="23701"/>
                </a:lnTo>
                <a:cubicBezTo>
                  <a:pt x="5265" y="23701"/>
                  <a:pt x="5981" y="23532"/>
                  <a:pt x="6046" y="23557"/>
                </a:cubicBezTo>
                <a:cubicBezTo>
                  <a:pt x="6111" y="23582"/>
                  <a:pt x="6408" y="23465"/>
                  <a:pt x="6413" y="23429"/>
                </a:cubicBezTo>
                <a:cubicBezTo>
                  <a:pt x="6418" y="23390"/>
                  <a:pt x="6576" y="23327"/>
                  <a:pt x="6576" y="23327"/>
                </a:cubicBezTo>
                <a:cubicBezTo>
                  <a:pt x="6576" y="23327"/>
                  <a:pt x="6820" y="23402"/>
                  <a:pt x="6848" y="23369"/>
                </a:cubicBezTo>
                <a:cubicBezTo>
                  <a:pt x="6876" y="23334"/>
                  <a:pt x="7513" y="23492"/>
                  <a:pt x="7513" y="23492"/>
                </a:cubicBezTo>
                <a:cubicBezTo>
                  <a:pt x="7513" y="23492"/>
                  <a:pt x="7647" y="23200"/>
                  <a:pt x="7623" y="23190"/>
                </a:cubicBezTo>
                <a:cubicBezTo>
                  <a:pt x="7600" y="23179"/>
                  <a:pt x="7393" y="23029"/>
                  <a:pt x="7393" y="23029"/>
                </a:cubicBezTo>
                <a:cubicBezTo>
                  <a:pt x="7393" y="23029"/>
                  <a:pt x="7175" y="22755"/>
                  <a:pt x="7238" y="22780"/>
                </a:cubicBezTo>
                <a:cubicBezTo>
                  <a:pt x="7302" y="22807"/>
                  <a:pt x="7602" y="22947"/>
                  <a:pt x="7602" y="22947"/>
                </a:cubicBezTo>
                <a:cubicBezTo>
                  <a:pt x="7602" y="22947"/>
                  <a:pt x="7560" y="22747"/>
                  <a:pt x="7580" y="22700"/>
                </a:cubicBezTo>
                <a:cubicBezTo>
                  <a:pt x="7600" y="22654"/>
                  <a:pt x="7818" y="22320"/>
                  <a:pt x="7818" y="22320"/>
                </a:cubicBezTo>
                <a:lnTo>
                  <a:pt x="7823" y="21922"/>
                </a:lnTo>
                <a:cubicBezTo>
                  <a:pt x="7823" y="21922"/>
                  <a:pt x="7955" y="21462"/>
                  <a:pt x="7977" y="21417"/>
                </a:cubicBezTo>
                <a:cubicBezTo>
                  <a:pt x="7997" y="21370"/>
                  <a:pt x="8147" y="21032"/>
                  <a:pt x="8147" y="21032"/>
                </a:cubicBezTo>
                <a:lnTo>
                  <a:pt x="8138" y="20520"/>
                </a:lnTo>
                <a:lnTo>
                  <a:pt x="8025" y="20302"/>
                </a:lnTo>
                <a:lnTo>
                  <a:pt x="7953" y="20077"/>
                </a:lnTo>
                <a:cubicBezTo>
                  <a:pt x="7953" y="20077"/>
                  <a:pt x="7778" y="19867"/>
                  <a:pt x="7807" y="19832"/>
                </a:cubicBezTo>
                <a:cubicBezTo>
                  <a:pt x="7835" y="19798"/>
                  <a:pt x="7973" y="19600"/>
                  <a:pt x="7993" y="19553"/>
                </a:cubicBezTo>
                <a:cubicBezTo>
                  <a:pt x="8013" y="19507"/>
                  <a:pt x="8273" y="19343"/>
                  <a:pt x="8240" y="19315"/>
                </a:cubicBezTo>
                <a:cubicBezTo>
                  <a:pt x="8205" y="19288"/>
                  <a:pt x="7970" y="19171"/>
                  <a:pt x="7935" y="19145"/>
                </a:cubicBezTo>
                <a:cubicBezTo>
                  <a:pt x="7902" y="19116"/>
                  <a:pt x="7808" y="18863"/>
                  <a:pt x="7808" y="18863"/>
                </a:cubicBezTo>
                <a:cubicBezTo>
                  <a:pt x="7808" y="18863"/>
                  <a:pt x="7768" y="18510"/>
                  <a:pt x="7743" y="18443"/>
                </a:cubicBezTo>
                <a:cubicBezTo>
                  <a:pt x="7718" y="18376"/>
                  <a:pt x="7602" y="18175"/>
                  <a:pt x="7623" y="18141"/>
                </a:cubicBezTo>
                <a:cubicBezTo>
                  <a:pt x="7647" y="18106"/>
                  <a:pt x="7547" y="17943"/>
                  <a:pt x="7547" y="17943"/>
                </a:cubicBezTo>
                <a:lnTo>
                  <a:pt x="7842" y="17776"/>
                </a:lnTo>
                <a:lnTo>
                  <a:pt x="8225" y="17655"/>
                </a:lnTo>
                <a:moveTo>
                  <a:pt x="16380" y="27678"/>
                </a:moveTo>
                <a:lnTo>
                  <a:pt x="16380" y="27678"/>
                </a:lnTo>
                <a:cubicBezTo>
                  <a:pt x="16393" y="27666"/>
                  <a:pt x="16475" y="27581"/>
                  <a:pt x="16556" y="27584"/>
                </a:cubicBezTo>
                <a:cubicBezTo>
                  <a:pt x="16601" y="27586"/>
                  <a:pt x="16588" y="27586"/>
                  <a:pt x="16621" y="27553"/>
                </a:cubicBezTo>
                <a:cubicBezTo>
                  <a:pt x="16641" y="27531"/>
                  <a:pt x="16670" y="27523"/>
                  <a:pt x="16696" y="27509"/>
                </a:cubicBezTo>
                <a:cubicBezTo>
                  <a:pt x="16756" y="27479"/>
                  <a:pt x="16816" y="27494"/>
                  <a:pt x="16878" y="27473"/>
                </a:cubicBezTo>
                <a:cubicBezTo>
                  <a:pt x="16928" y="27456"/>
                  <a:pt x="16935" y="27441"/>
                  <a:pt x="16990" y="27458"/>
                </a:cubicBezTo>
                <a:cubicBezTo>
                  <a:pt x="17023" y="27469"/>
                  <a:pt x="17058" y="27473"/>
                  <a:pt x="17088" y="27493"/>
                </a:cubicBezTo>
                <a:cubicBezTo>
                  <a:pt x="17135" y="27523"/>
                  <a:pt x="17116" y="27538"/>
                  <a:pt x="17123" y="27583"/>
                </a:cubicBezTo>
                <a:cubicBezTo>
                  <a:pt x="17128" y="27626"/>
                  <a:pt x="17140" y="27601"/>
                  <a:pt x="17165" y="27626"/>
                </a:cubicBezTo>
                <a:cubicBezTo>
                  <a:pt x="17176" y="27638"/>
                  <a:pt x="17181" y="27659"/>
                  <a:pt x="17183" y="27678"/>
                </a:cubicBezTo>
                <a:cubicBezTo>
                  <a:pt x="17196" y="27774"/>
                  <a:pt x="17120" y="27731"/>
                  <a:pt x="17053" y="27766"/>
                </a:cubicBezTo>
                <a:cubicBezTo>
                  <a:pt x="16998" y="27794"/>
                  <a:pt x="17015" y="27931"/>
                  <a:pt x="17003" y="27948"/>
                </a:cubicBezTo>
                <a:cubicBezTo>
                  <a:pt x="16960" y="27998"/>
                  <a:pt x="16816" y="28003"/>
                  <a:pt x="16760" y="27973"/>
                </a:cubicBezTo>
                <a:cubicBezTo>
                  <a:pt x="16723" y="27953"/>
                  <a:pt x="16691" y="27915"/>
                  <a:pt x="16655" y="27891"/>
                </a:cubicBezTo>
                <a:cubicBezTo>
                  <a:pt x="16600" y="27856"/>
                  <a:pt x="16565" y="27819"/>
                  <a:pt x="16500" y="27803"/>
                </a:cubicBezTo>
                <a:cubicBezTo>
                  <a:pt x="16451" y="27789"/>
                  <a:pt x="16353" y="27808"/>
                  <a:pt x="16311" y="27779"/>
                </a:cubicBezTo>
                <a:cubicBezTo>
                  <a:pt x="16276" y="27754"/>
                  <a:pt x="16288" y="27699"/>
                  <a:pt x="16320" y="27691"/>
                </a:cubicBezTo>
                <a:cubicBezTo>
                  <a:pt x="16361" y="27679"/>
                  <a:pt x="16380" y="27678"/>
                  <a:pt x="16380" y="27678"/>
                </a:cubicBezTo>
                <a:close/>
                <a:moveTo>
                  <a:pt x="9754" y="12522"/>
                </a:moveTo>
                <a:lnTo>
                  <a:pt x="9754" y="12522"/>
                </a:lnTo>
                <a:cubicBezTo>
                  <a:pt x="9734" y="12499"/>
                  <a:pt x="9714" y="12475"/>
                  <a:pt x="9694" y="12454"/>
                </a:cubicBezTo>
                <a:cubicBezTo>
                  <a:pt x="9670" y="12429"/>
                  <a:pt x="9640" y="12407"/>
                  <a:pt x="9605" y="12402"/>
                </a:cubicBezTo>
                <a:cubicBezTo>
                  <a:pt x="9547" y="12395"/>
                  <a:pt x="9535" y="12435"/>
                  <a:pt x="9507" y="12477"/>
                </a:cubicBezTo>
                <a:cubicBezTo>
                  <a:pt x="9484" y="12512"/>
                  <a:pt x="9449" y="12530"/>
                  <a:pt x="9425" y="12562"/>
                </a:cubicBezTo>
                <a:cubicBezTo>
                  <a:pt x="9387" y="12612"/>
                  <a:pt x="9380" y="12675"/>
                  <a:pt x="9387" y="12734"/>
                </a:cubicBezTo>
                <a:cubicBezTo>
                  <a:pt x="9392" y="12784"/>
                  <a:pt x="9424" y="12819"/>
                  <a:pt x="9439" y="12865"/>
                </a:cubicBezTo>
                <a:cubicBezTo>
                  <a:pt x="9449" y="12900"/>
                  <a:pt x="9437" y="12940"/>
                  <a:pt x="9442" y="12979"/>
                </a:cubicBezTo>
                <a:cubicBezTo>
                  <a:pt x="9452" y="13047"/>
                  <a:pt x="9450" y="13187"/>
                  <a:pt x="9512" y="13227"/>
                </a:cubicBezTo>
                <a:cubicBezTo>
                  <a:pt x="9577" y="13271"/>
                  <a:pt x="9650" y="13294"/>
                  <a:pt x="9725" y="13299"/>
                </a:cubicBezTo>
                <a:cubicBezTo>
                  <a:pt x="9827" y="13304"/>
                  <a:pt x="9977" y="13284"/>
                  <a:pt x="9942" y="13147"/>
                </a:cubicBezTo>
                <a:cubicBezTo>
                  <a:pt x="9934" y="13117"/>
                  <a:pt x="9919" y="13092"/>
                  <a:pt x="9912" y="13062"/>
                </a:cubicBezTo>
                <a:cubicBezTo>
                  <a:pt x="9904" y="13022"/>
                  <a:pt x="9894" y="13024"/>
                  <a:pt x="9872" y="12992"/>
                </a:cubicBezTo>
                <a:cubicBezTo>
                  <a:pt x="9860" y="12974"/>
                  <a:pt x="9850" y="12984"/>
                  <a:pt x="9865" y="12962"/>
                </a:cubicBezTo>
                <a:cubicBezTo>
                  <a:pt x="9872" y="12952"/>
                  <a:pt x="9907" y="12950"/>
                  <a:pt x="9912" y="12940"/>
                </a:cubicBezTo>
                <a:cubicBezTo>
                  <a:pt x="9940" y="12894"/>
                  <a:pt x="9844" y="12864"/>
                  <a:pt x="9814" y="12844"/>
                </a:cubicBezTo>
                <a:cubicBezTo>
                  <a:pt x="9747" y="12799"/>
                  <a:pt x="9817" y="12790"/>
                  <a:pt x="9835" y="12745"/>
                </a:cubicBezTo>
                <a:cubicBezTo>
                  <a:pt x="9845" y="12717"/>
                  <a:pt x="9827" y="12695"/>
                  <a:pt x="9827" y="12669"/>
                </a:cubicBezTo>
                <a:cubicBezTo>
                  <a:pt x="9827" y="12647"/>
                  <a:pt x="9837" y="12617"/>
                  <a:pt x="9824" y="12607"/>
                </a:cubicBezTo>
                <a:cubicBezTo>
                  <a:pt x="9824" y="12607"/>
                  <a:pt x="9780" y="12554"/>
                  <a:pt x="9754" y="12522"/>
                </a:cubicBezTo>
                <a:close/>
                <a:moveTo>
                  <a:pt x="10480" y="17613"/>
                </a:moveTo>
                <a:lnTo>
                  <a:pt x="10480" y="17613"/>
                </a:lnTo>
                <a:cubicBezTo>
                  <a:pt x="10469" y="17566"/>
                  <a:pt x="10547" y="17543"/>
                  <a:pt x="10564" y="17486"/>
                </a:cubicBezTo>
                <a:cubicBezTo>
                  <a:pt x="10577" y="17441"/>
                  <a:pt x="10574" y="17398"/>
                  <a:pt x="10582" y="17351"/>
                </a:cubicBezTo>
                <a:cubicBezTo>
                  <a:pt x="10589" y="17311"/>
                  <a:pt x="10595" y="17286"/>
                  <a:pt x="10595" y="17246"/>
                </a:cubicBezTo>
                <a:cubicBezTo>
                  <a:pt x="10595" y="17176"/>
                  <a:pt x="10635" y="17143"/>
                  <a:pt x="10687" y="17096"/>
                </a:cubicBezTo>
                <a:cubicBezTo>
                  <a:pt x="10725" y="17061"/>
                  <a:pt x="10767" y="17033"/>
                  <a:pt x="10795" y="16989"/>
                </a:cubicBezTo>
                <a:cubicBezTo>
                  <a:pt x="10827" y="16939"/>
                  <a:pt x="10824" y="16908"/>
                  <a:pt x="10837" y="16853"/>
                </a:cubicBezTo>
                <a:cubicBezTo>
                  <a:pt x="10844" y="16823"/>
                  <a:pt x="10862" y="16798"/>
                  <a:pt x="10865" y="16768"/>
                </a:cubicBezTo>
                <a:cubicBezTo>
                  <a:pt x="10870" y="16736"/>
                  <a:pt x="10865" y="16726"/>
                  <a:pt x="10884" y="16699"/>
                </a:cubicBezTo>
                <a:cubicBezTo>
                  <a:pt x="10927" y="16641"/>
                  <a:pt x="11000" y="16624"/>
                  <a:pt x="11060" y="16591"/>
                </a:cubicBezTo>
                <a:cubicBezTo>
                  <a:pt x="11104" y="16566"/>
                  <a:pt x="11172" y="16524"/>
                  <a:pt x="11225" y="16543"/>
                </a:cubicBezTo>
                <a:cubicBezTo>
                  <a:pt x="11289" y="16566"/>
                  <a:pt x="11250" y="16618"/>
                  <a:pt x="11230" y="16658"/>
                </a:cubicBezTo>
                <a:cubicBezTo>
                  <a:pt x="11209" y="16698"/>
                  <a:pt x="11179" y="16769"/>
                  <a:pt x="11209" y="16809"/>
                </a:cubicBezTo>
                <a:cubicBezTo>
                  <a:pt x="11227" y="16833"/>
                  <a:pt x="11250" y="16823"/>
                  <a:pt x="11270" y="16839"/>
                </a:cubicBezTo>
                <a:cubicBezTo>
                  <a:pt x="11280" y="16848"/>
                  <a:pt x="11295" y="16893"/>
                  <a:pt x="11300" y="16908"/>
                </a:cubicBezTo>
                <a:cubicBezTo>
                  <a:pt x="11315" y="16956"/>
                  <a:pt x="11309" y="17014"/>
                  <a:pt x="11282" y="17056"/>
                </a:cubicBezTo>
                <a:cubicBezTo>
                  <a:pt x="11237" y="17129"/>
                  <a:pt x="11152" y="17163"/>
                  <a:pt x="11109" y="17234"/>
                </a:cubicBezTo>
                <a:cubicBezTo>
                  <a:pt x="11092" y="17260"/>
                  <a:pt x="11092" y="17293"/>
                  <a:pt x="11079" y="17316"/>
                </a:cubicBezTo>
                <a:cubicBezTo>
                  <a:pt x="11064" y="17346"/>
                  <a:pt x="11035" y="17360"/>
                  <a:pt x="11007" y="17375"/>
                </a:cubicBezTo>
                <a:cubicBezTo>
                  <a:pt x="10917" y="17423"/>
                  <a:pt x="10832" y="17466"/>
                  <a:pt x="10749" y="17525"/>
                </a:cubicBezTo>
                <a:cubicBezTo>
                  <a:pt x="10697" y="17561"/>
                  <a:pt x="10647" y="17566"/>
                  <a:pt x="10592" y="17591"/>
                </a:cubicBezTo>
                <a:cubicBezTo>
                  <a:pt x="10569" y="17601"/>
                  <a:pt x="10554" y="17615"/>
                  <a:pt x="10532" y="17621"/>
                </a:cubicBezTo>
                <a:cubicBezTo>
                  <a:pt x="10490" y="17631"/>
                  <a:pt x="10480" y="17613"/>
                  <a:pt x="10480" y="17613"/>
                </a:cubicBezTo>
                <a:close/>
                <a:moveTo>
                  <a:pt x="8768" y="11015"/>
                </a:moveTo>
                <a:lnTo>
                  <a:pt x="8768" y="11015"/>
                </a:lnTo>
                <a:cubicBezTo>
                  <a:pt x="8695" y="11040"/>
                  <a:pt x="8688" y="11090"/>
                  <a:pt x="8640" y="11140"/>
                </a:cubicBezTo>
                <a:cubicBezTo>
                  <a:pt x="8607" y="11177"/>
                  <a:pt x="8558" y="11197"/>
                  <a:pt x="8523" y="11235"/>
                </a:cubicBezTo>
                <a:cubicBezTo>
                  <a:pt x="8477" y="11284"/>
                  <a:pt x="8428" y="11327"/>
                  <a:pt x="8377" y="11370"/>
                </a:cubicBezTo>
                <a:cubicBezTo>
                  <a:pt x="8342" y="11400"/>
                  <a:pt x="8217" y="11494"/>
                  <a:pt x="8240" y="11554"/>
                </a:cubicBezTo>
                <a:cubicBezTo>
                  <a:pt x="8247" y="11569"/>
                  <a:pt x="8303" y="11600"/>
                  <a:pt x="8320" y="11600"/>
                </a:cubicBezTo>
                <a:cubicBezTo>
                  <a:pt x="8347" y="11602"/>
                  <a:pt x="8380" y="11580"/>
                  <a:pt x="8410" y="11580"/>
                </a:cubicBezTo>
                <a:cubicBezTo>
                  <a:pt x="8425" y="11647"/>
                  <a:pt x="8358" y="11654"/>
                  <a:pt x="8300" y="11667"/>
                </a:cubicBezTo>
                <a:cubicBezTo>
                  <a:pt x="8243" y="11680"/>
                  <a:pt x="8190" y="11689"/>
                  <a:pt x="8160" y="11742"/>
                </a:cubicBezTo>
                <a:cubicBezTo>
                  <a:pt x="8135" y="11787"/>
                  <a:pt x="8145" y="11792"/>
                  <a:pt x="8083" y="11787"/>
                </a:cubicBezTo>
                <a:cubicBezTo>
                  <a:pt x="8030" y="11782"/>
                  <a:pt x="8042" y="11785"/>
                  <a:pt x="8025" y="11737"/>
                </a:cubicBezTo>
                <a:cubicBezTo>
                  <a:pt x="7987" y="11624"/>
                  <a:pt x="7877" y="11824"/>
                  <a:pt x="7827" y="11852"/>
                </a:cubicBezTo>
                <a:cubicBezTo>
                  <a:pt x="7795" y="11869"/>
                  <a:pt x="7742" y="11892"/>
                  <a:pt x="7703" y="11879"/>
                </a:cubicBezTo>
                <a:cubicBezTo>
                  <a:pt x="7680" y="11870"/>
                  <a:pt x="7648" y="11817"/>
                  <a:pt x="7620" y="11832"/>
                </a:cubicBezTo>
                <a:cubicBezTo>
                  <a:pt x="7610" y="11837"/>
                  <a:pt x="7603" y="11879"/>
                  <a:pt x="7595" y="11892"/>
                </a:cubicBezTo>
                <a:cubicBezTo>
                  <a:pt x="7583" y="11909"/>
                  <a:pt x="7567" y="11922"/>
                  <a:pt x="7548" y="11932"/>
                </a:cubicBezTo>
                <a:cubicBezTo>
                  <a:pt x="7510" y="11954"/>
                  <a:pt x="7422" y="11952"/>
                  <a:pt x="7422" y="11997"/>
                </a:cubicBezTo>
                <a:cubicBezTo>
                  <a:pt x="7420" y="12019"/>
                  <a:pt x="7450" y="12039"/>
                  <a:pt x="7455" y="12060"/>
                </a:cubicBezTo>
                <a:cubicBezTo>
                  <a:pt x="7458" y="12075"/>
                  <a:pt x="7452" y="12099"/>
                  <a:pt x="7447" y="12112"/>
                </a:cubicBezTo>
                <a:cubicBezTo>
                  <a:pt x="7427" y="12169"/>
                  <a:pt x="7393" y="12204"/>
                  <a:pt x="7397" y="12267"/>
                </a:cubicBezTo>
                <a:cubicBezTo>
                  <a:pt x="7398" y="12294"/>
                  <a:pt x="7403" y="12307"/>
                  <a:pt x="7395" y="12332"/>
                </a:cubicBezTo>
                <a:cubicBezTo>
                  <a:pt x="7385" y="12359"/>
                  <a:pt x="7367" y="12377"/>
                  <a:pt x="7365" y="12407"/>
                </a:cubicBezTo>
                <a:cubicBezTo>
                  <a:pt x="7365" y="12422"/>
                  <a:pt x="7373" y="12437"/>
                  <a:pt x="7368" y="12452"/>
                </a:cubicBezTo>
                <a:cubicBezTo>
                  <a:pt x="7365" y="12469"/>
                  <a:pt x="7335" y="12490"/>
                  <a:pt x="7340" y="12510"/>
                </a:cubicBezTo>
                <a:cubicBezTo>
                  <a:pt x="7352" y="12559"/>
                  <a:pt x="7412" y="12510"/>
                  <a:pt x="7428" y="12494"/>
                </a:cubicBezTo>
                <a:cubicBezTo>
                  <a:pt x="7472" y="12450"/>
                  <a:pt x="7577" y="12439"/>
                  <a:pt x="7592" y="12380"/>
                </a:cubicBezTo>
                <a:cubicBezTo>
                  <a:pt x="7600" y="12347"/>
                  <a:pt x="7583" y="12330"/>
                  <a:pt x="7602" y="12295"/>
                </a:cubicBezTo>
                <a:cubicBezTo>
                  <a:pt x="7612" y="12275"/>
                  <a:pt x="7623" y="12244"/>
                  <a:pt x="7635" y="12227"/>
                </a:cubicBezTo>
                <a:cubicBezTo>
                  <a:pt x="7655" y="12200"/>
                  <a:pt x="7743" y="12150"/>
                  <a:pt x="7773" y="12162"/>
                </a:cubicBezTo>
                <a:cubicBezTo>
                  <a:pt x="7773" y="12175"/>
                  <a:pt x="7780" y="12195"/>
                  <a:pt x="7778" y="12207"/>
                </a:cubicBezTo>
                <a:cubicBezTo>
                  <a:pt x="7770" y="12239"/>
                  <a:pt x="7737" y="12247"/>
                  <a:pt x="7712" y="12264"/>
                </a:cubicBezTo>
                <a:cubicBezTo>
                  <a:pt x="7675" y="12287"/>
                  <a:pt x="7645" y="12305"/>
                  <a:pt x="7643" y="12350"/>
                </a:cubicBezTo>
                <a:cubicBezTo>
                  <a:pt x="7643" y="12379"/>
                  <a:pt x="7653" y="12395"/>
                  <a:pt x="7682" y="12415"/>
                </a:cubicBezTo>
                <a:cubicBezTo>
                  <a:pt x="7708" y="12434"/>
                  <a:pt x="7737" y="12427"/>
                  <a:pt x="7750" y="12459"/>
                </a:cubicBezTo>
                <a:cubicBezTo>
                  <a:pt x="7760" y="12482"/>
                  <a:pt x="7758" y="12524"/>
                  <a:pt x="7762" y="12549"/>
                </a:cubicBezTo>
                <a:cubicBezTo>
                  <a:pt x="7767" y="12587"/>
                  <a:pt x="7768" y="12587"/>
                  <a:pt x="7728" y="12609"/>
                </a:cubicBezTo>
                <a:cubicBezTo>
                  <a:pt x="7687" y="12629"/>
                  <a:pt x="7662" y="12639"/>
                  <a:pt x="7673" y="12684"/>
                </a:cubicBezTo>
                <a:cubicBezTo>
                  <a:pt x="7668" y="12690"/>
                  <a:pt x="7688" y="12744"/>
                  <a:pt x="7702" y="12759"/>
                </a:cubicBezTo>
                <a:cubicBezTo>
                  <a:pt x="7725" y="12784"/>
                  <a:pt x="7737" y="12780"/>
                  <a:pt x="7762" y="12779"/>
                </a:cubicBezTo>
                <a:cubicBezTo>
                  <a:pt x="7818" y="12774"/>
                  <a:pt x="7837" y="12750"/>
                  <a:pt x="7873" y="12717"/>
                </a:cubicBezTo>
                <a:cubicBezTo>
                  <a:pt x="7913" y="12679"/>
                  <a:pt x="7963" y="12680"/>
                  <a:pt x="8008" y="12655"/>
                </a:cubicBezTo>
                <a:cubicBezTo>
                  <a:pt x="8033" y="12642"/>
                  <a:pt x="8055" y="12622"/>
                  <a:pt x="8078" y="12607"/>
                </a:cubicBezTo>
                <a:cubicBezTo>
                  <a:pt x="8113" y="12587"/>
                  <a:pt x="8163" y="12574"/>
                  <a:pt x="8193" y="12547"/>
                </a:cubicBezTo>
                <a:cubicBezTo>
                  <a:pt x="8237" y="12507"/>
                  <a:pt x="8202" y="12410"/>
                  <a:pt x="8183" y="12369"/>
                </a:cubicBezTo>
                <a:cubicBezTo>
                  <a:pt x="8165" y="12325"/>
                  <a:pt x="8138" y="12269"/>
                  <a:pt x="8130" y="12222"/>
                </a:cubicBezTo>
                <a:cubicBezTo>
                  <a:pt x="8120" y="12174"/>
                  <a:pt x="8107" y="12129"/>
                  <a:pt x="8107" y="12080"/>
                </a:cubicBezTo>
                <a:cubicBezTo>
                  <a:pt x="8157" y="12069"/>
                  <a:pt x="8193" y="12084"/>
                  <a:pt x="8230" y="12122"/>
                </a:cubicBezTo>
                <a:cubicBezTo>
                  <a:pt x="8227" y="12127"/>
                  <a:pt x="8318" y="12075"/>
                  <a:pt x="8348" y="12040"/>
                </a:cubicBezTo>
                <a:cubicBezTo>
                  <a:pt x="8363" y="12020"/>
                  <a:pt x="8388" y="11995"/>
                  <a:pt x="8388" y="11969"/>
                </a:cubicBezTo>
                <a:cubicBezTo>
                  <a:pt x="8390" y="11947"/>
                  <a:pt x="8368" y="11932"/>
                  <a:pt x="8382" y="11912"/>
                </a:cubicBezTo>
                <a:cubicBezTo>
                  <a:pt x="8400" y="11885"/>
                  <a:pt x="8417" y="11910"/>
                  <a:pt x="8437" y="11902"/>
                </a:cubicBezTo>
                <a:cubicBezTo>
                  <a:pt x="8463" y="11889"/>
                  <a:pt x="8470" y="11850"/>
                  <a:pt x="8477" y="11824"/>
                </a:cubicBezTo>
                <a:cubicBezTo>
                  <a:pt x="8483" y="11792"/>
                  <a:pt x="8478" y="11784"/>
                  <a:pt x="8503" y="11759"/>
                </a:cubicBezTo>
                <a:cubicBezTo>
                  <a:pt x="8527" y="11735"/>
                  <a:pt x="8560" y="11719"/>
                  <a:pt x="8572" y="11685"/>
                </a:cubicBezTo>
                <a:cubicBezTo>
                  <a:pt x="8583" y="11652"/>
                  <a:pt x="8572" y="11614"/>
                  <a:pt x="8585" y="11579"/>
                </a:cubicBezTo>
                <a:cubicBezTo>
                  <a:pt x="8602" y="11525"/>
                  <a:pt x="8642" y="11480"/>
                  <a:pt x="8665" y="11430"/>
                </a:cubicBezTo>
                <a:cubicBezTo>
                  <a:pt x="8703" y="11352"/>
                  <a:pt x="8728" y="11279"/>
                  <a:pt x="8788" y="11212"/>
                </a:cubicBezTo>
                <a:cubicBezTo>
                  <a:pt x="8828" y="11167"/>
                  <a:pt x="8835" y="11140"/>
                  <a:pt x="8833" y="11080"/>
                </a:cubicBezTo>
                <a:cubicBezTo>
                  <a:pt x="8833" y="11039"/>
                  <a:pt x="8818" y="11045"/>
                  <a:pt x="8797" y="11020"/>
                </a:cubicBezTo>
                <a:cubicBezTo>
                  <a:pt x="8797" y="11020"/>
                  <a:pt x="8790" y="11009"/>
                  <a:pt x="8768" y="11015"/>
                </a:cubicBezTo>
                <a:close/>
                <a:moveTo>
                  <a:pt x="8052" y="11034"/>
                </a:moveTo>
                <a:lnTo>
                  <a:pt x="8052" y="11034"/>
                </a:lnTo>
                <a:cubicBezTo>
                  <a:pt x="8018" y="11032"/>
                  <a:pt x="7975" y="11057"/>
                  <a:pt x="7947" y="11072"/>
                </a:cubicBezTo>
                <a:cubicBezTo>
                  <a:pt x="7902" y="11097"/>
                  <a:pt x="7815" y="11169"/>
                  <a:pt x="7803" y="11219"/>
                </a:cubicBezTo>
                <a:cubicBezTo>
                  <a:pt x="7800" y="11234"/>
                  <a:pt x="7795" y="11270"/>
                  <a:pt x="7797" y="11284"/>
                </a:cubicBezTo>
                <a:cubicBezTo>
                  <a:pt x="7798" y="11299"/>
                  <a:pt x="7812" y="11310"/>
                  <a:pt x="7813" y="11324"/>
                </a:cubicBezTo>
                <a:cubicBezTo>
                  <a:pt x="7813" y="11340"/>
                  <a:pt x="7807" y="11342"/>
                  <a:pt x="7803" y="11357"/>
                </a:cubicBezTo>
                <a:cubicBezTo>
                  <a:pt x="7802" y="11370"/>
                  <a:pt x="7792" y="11377"/>
                  <a:pt x="7793" y="11392"/>
                </a:cubicBezTo>
                <a:cubicBezTo>
                  <a:pt x="7795" y="11404"/>
                  <a:pt x="7817" y="11420"/>
                  <a:pt x="7815" y="11427"/>
                </a:cubicBezTo>
                <a:cubicBezTo>
                  <a:pt x="7813" y="11449"/>
                  <a:pt x="7778" y="11464"/>
                  <a:pt x="7767" y="11480"/>
                </a:cubicBezTo>
                <a:cubicBezTo>
                  <a:pt x="7848" y="11507"/>
                  <a:pt x="7895" y="11415"/>
                  <a:pt x="7937" y="11360"/>
                </a:cubicBezTo>
                <a:cubicBezTo>
                  <a:pt x="7958" y="11329"/>
                  <a:pt x="7972" y="11310"/>
                  <a:pt x="7970" y="11275"/>
                </a:cubicBezTo>
                <a:cubicBezTo>
                  <a:pt x="7970" y="11235"/>
                  <a:pt x="7962" y="11227"/>
                  <a:pt x="7980" y="11187"/>
                </a:cubicBezTo>
                <a:cubicBezTo>
                  <a:pt x="7993" y="11157"/>
                  <a:pt x="8013" y="11130"/>
                  <a:pt x="8018" y="11097"/>
                </a:cubicBezTo>
                <a:cubicBezTo>
                  <a:pt x="8023" y="11079"/>
                  <a:pt x="8017" y="11064"/>
                  <a:pt x="8027" y="11045"/>
                </a:cubicBezTo>
                <a:moveTo>
                  <a:pt x="8490" y="10458"/>
                </a:moveTo>
                <a:lnTo>
                  <a:pt x="8490" y="10458"/>
                </a:lnTo>
                <a:cubicBezTo>
                  <a:pt x="8412" y="10430"/>
                  <a:pt x="8523" y="10397"/>
                  <a:pt x="8492" y="10352"/>
                </a:cubicBezTo>
                <a:cubicBezTo>
                  <a:pt x="8465" y="10310"/>
                  <a:pt x="8403" y="10425"/>
                  <a:pt x="8387" y="10437"/>
                </a:cubicBezTo>
                <a:cubicBezTo>
                  <a:pt x="8333" y="10478"/>
                  <a:pt x="8280" y="10483"/>
                  <a:pt x="8218" y="10487"/>
                </a:cubicBezTo>
                <a:cubicBezTo>
                  <a:pt x="8157" y="10488"/>
                  <a:pt x="8140" y="10538"/>
                  <a:pt x="8087" y="10553"/>
                </a:cubicBezTo>
                <a:cubicBezTo>
                  <a:pt x="8030" y="10568"/>
                  <a:pt x="7963" y="10535"/>
                  <a:pt x="7903" y="10548"/>
                </a:cubicBezTo>
                <a:cubicBezTo>
                  <a:pt x="7850" y="10562"/>
                  <a:pt x="7793" y="10597"/>
                  <a:pt x="7737" y="10597"/>
                </a:cubicBezTo>
                <a:cubicBezTo>
                  <a:pt x="7682" y="10597"/>
                  <a:pt x="7623" y="10550"/>
                  <a:pt x="7585" y="10507"/>
                </a:cubicBezTo>
                <a:cubicBezTo>
                  <a:pt x="7565" y="10485"/>
                  <a:pt x="7547" y="10463"/>
                  <a:pt x="7557" y="10435"/>
                </a:cubicBezTo>
                <a:cubicBezTo>
                  <a:pt x="7563" y="10418"/>
                  <a:pt x="7603" y="10373"/>
                  <a:pt x="7622" y="10362"/>
                </a:cubicBezTo>
                <a:cubicBezTo>
                  <a:pt x="7663" y="10335"/>
                  <a:pt x="7748" y="10362"/>
                  <a:pt x="7795" y="10368"/>
                </a:cubicBezTo>
                <a:cubicBezTo>
                  <a:pt x="7850" y="10375"/>
                  <a:pt x="7895" y="10358"/>
                  <a:pt x="7950" y="10353"/>
                </a:cubicBezTo>
                <a:cubicBezTo>
                  <a:pt x="8013" y="10345"/>
                  <a:pt x="8095" y="10333"/>
                  <a:pt x="8150" y="10302"/>
                </a:cubicBezTo>
                <a:cubicBezTo>
                  <a:pt x="8162" y="10295"/>
                  <a:pt x="8187" y="10277"/>
                  <a:pt x="8190" y="10263"/>
                </a:cubicBezTo>
                <a:cubicBezTo>
                  <a:pt x="8203" y="10222"/>
                  <a:pt x="8142" y="10248"/>
                  <a:pt x="8120" y="10255"/>
                </a:cubicBezTo>
                <a:cubicBezTo>
                  <a:pt x="8083" y="10265"/>
                  <a:pt x="7928" y="10347"/>
                  <a:pt x="7892" y="10307"/>
                </a:cubicBezTo>
                <a:cubicBezTo>
                  <a:pt x="7858" y="10270"/>
                  <a:pt x="7942" y="10217"/>
                  <a:pt x="7957" y="10193"/>
                </a:cubicBezTo>
                <a:cubicBezTo>
                  <a:pt x="7962" y="10180"/>
                  <a:pt x="7923" y="10183"/>
                  <a:pt x="7927" y="10170"/>
                </a:cubicBezTo>
                <a:cubicBezTo>
                  <a:pt x="7957" y="10117"/>
                  <a:pt x="8000" y="10107"/>
                  <a:pt x="7998" y="10043"/>
                </a:cubicBezTo>
                <a:cubicBezTo>
                  <a:pt x="8003" y="10025"/>
                  <a:pt x="8147" y="9970"/>
                  <a:pt x="8115" y="9947"/>
                </a:cubicBezTo>
                <a:cubicBezTo>
                  <a:pt x="8098" y="9920"/>
                  <a:pt x="7773" y="9993"/>
                  <a:pt x="7663" y="9920"/>
                </a:cubicBezTo>
                <a:cubicBezTo>
                  <a:pt x="7568" y="9858"/>
                  <a:pt x="7738" y="9848"/>
                  <a:pt x="7783" y="9848"/>
                </a:cubicBezTo>
                <a:cubicBezTo>
                  <a:pt x="7858" y="9848"/>
                  <a:pt x="7943" y="9892"/>
                  <a:pt x="8017" y="9883"/>
                </a:cubicBezTo>
                <a:cubicBezTo>
                  <a:pt x="8055" y="9862"/>
                  <a:pt x="7923" y="9797"/>
                  <a:pt x="7890" y="9778"/>
                </a:cubicBezTo>
                <a:cubicBezTo>
                  <a:pt x="7828" y="9745"/>
                  <a:pt x="7760" y="9773"/>
                  <a:pt x="7702" y="9747"/>
                </a:cubicBezTo>
                <a:cubicBezTo>
                  <a:pt x="7658" y="9727"/>
                  <a:pt x="7647" y="9682"/>
                  <a:pt x="7662" y="9637"/>
                </a:cubicBezTo>
                <a:cubicBezTo>
                  <a:pt x="7668" y="9615"/>
                  <a:pt x="7683" y="9602"/>
                  <a:pt x="7698" y="9583"/>
                </a:cubicBezTo>
                <a:cubicBezTo>
                  <a:pt x="7702" y="9580"/>
                  <a:pt x="7725" y="9547"/>
                  <a:pt x="7727" y="9545"/>
                </a:cubicBezTo>
                <a:cubicBezTo>
                  <a:pt x="7730" y="9510"/>
                  <a:pt x="7675" y="9517"/>
                  <a:pt x="7712" y="9477"/>
                </a:cubicBezTo>
                <a:cubicBezTo>
                  <a:pt x="7753" y="9432"/>
                  <a:pt x="7815" y="9472"/>
                  <a:pt x="7858" y="9438"/>
                </a:cubicBezTo>
                <a:cubicBezTo>
                  <a:pt x="7910" y="9398"/>
                  <a:pt x="7948" y="9360"/>
                  <a:pt x="8022" y="9360"/>
                </a:cubicBezTo>
                <a:cubicBezTo>
                  <a:pt x="8070" y="9360"/>
                  <a:pt x="8152" y="9397"/>
                  <a:pt x="8190" y="9430"/>
                </a:cubicBezTo>
                <a:cubicBezTo>
                  <a:pt x="8230" y="9463"/>
                  <a:pt x="8242" y="9513"/>
                  <a:pt x="8240" y="9563"/>
                </a:cubicBezTo>
                <a:cubicBezTo>
                  <a:pt x="8238" y="9635"/>
                  <a:pt x="8260" y="9687"/>
                  <a:pt x="8327" y="9725"/>
                </a:cubicBezTo>
                <a:cubicBezTo>
                  <a:pt x="8432" y="9785"/>
                  <a:pt x="8550" y="9785"/>
                  <a:pt x="8662" y="9825"/>
                </a:cubicBezTo>
                <a:cubicBezTo>
                  <a:pt x="8722" y="9847"/>
                  <a:pt x="8800" y="9848"/>
                  <a:pt x="8848" y="9892"/>
                </a:cubicBezTo>
                <a:cubicBezTo>
                  <a:pt x="8900" y="9938"/>
                  <a:pt x="8895" y="9965"/>
                  <a:pt x="8902" y="10027"/>
                </a:cubicBezTo>
                <a:cubicBezTo>
                  <a:pt x="8908" y="10073"/>
                  <a:pt x="8953" y="10122"/>
                  <a:pt x="8942" y="10170"/>
                </a:cubicBezTo>
                <a:cubicBezTo>
                  <a:pt x="8932" y="10212"/>
                  <a:pt x="8867" y="10248"/>
                  <a:pt x="8835" y="10273"/>
                </a:cubicBezTo>
                <a:cubicBezTo>
                  <a:pt x="8795" y="10303"/>
                  <a:pt x="8745" y="10327"/>
                  <a:pt x="8708" y="10362"/>
                </a:cubicBezTo>
                <a:cubicBezTo>
                  <a:pt x="8687" y="10382"/>
                  <a:pt x="8685" y="10390"/>
                  <a:pt x="8678" y="10418"/>
                </a:cubicBezTo>
                <a:cubicBezTo>
                  <a:pt x="8673" y="10438"/>
                  <a:pt x="8682" y="10447"/>
                  <a:pt x="8663" y="10457"/>
                </a:cubicBezTo>
                <a:cubicBezTo>
                  <a:pt x="8645" y="10468"/>
                  <a:pt x="8602" y="10442"/>
                  <a:pt x="8587" y="10450"/>
                </a:cubicBezTo>
                <a:cubicBezTo>
                  <a:pt x="8587" y="10450"/>
                  <a:pt x="8548" y="10480"/>
                  <a:pt x="8490" y="10458"/>
                </a:cubicBezTo>
                <a:close/>
                <a:moveTo>
                  <a:pt x="7100" y="9442"/>
                </a:moveTo>
                <a:lnTo>
                  <a:pt x="7100" y="9442"/>
                </a:lnTo>
                <a:cubicBezTo>
                  <a:pt x="7065" y="9502"/>
                  <a:pt x="7067" y="9558"/>
                  <a:pt x="7007" y="9603"/>
                </a:cubicBezTo>
                <a:cubicBezTo>
                  <a:pt x="6982" y="9622"/>
                  <a:pt x="6937" y="9637"/>
                  <a:pt x="6923" y="9665"/>
                </a:cubicBezTo>
                <a:cubicBezTo>
                  <a:pt x="6888" y="9677"/>
                  <a:pt x="6848" y="9695"/>
                  <a:pt x="6813" y="9710"/>
                </a:cubicBezTo>
                <a:cubicBezTo>
                  <a:pt x="6775" y="9727"/>
                  <a:pt x="6736" y="9760"/>
                  <a:pt x="6693" y="9770"/>
                </a:cubicBezTo>
                <a:cubicBezTo>
                  <a:pt x="6648" y="9780"/>
                  <a:pt x="6631" y="9743"/>
                  <a:pt x="6591" y="9740"/>
                </a:cubicBezTo>
                <a:cubicBezTo>
                  <a:pt x="6553" y="9735"/>
                  <a:pt x="6485" y="9768"/>
                  <a:pt x="6480" y="9813"/>
                </a:cubicBezTo>
                <a:cubicBezTo>
                  <a:pt x="6476" y="9838"/>
                  <a:pt x="6496" y="9885"/>
                  <a:pt x="6501" y="9913"/>
                </a:cubicBezTo>
                <a:cubicBezTo>
                  <a:pt x="6510" y="9957"/>
                  <a:pt x="6526" y="9985"/>
                  <a:pt x="6563" y="10010"/>
                </a:cubicBezTo>
                <a:cubicBezTo>
                  <a:pt x="6605" y="10038"/>
                  <a:pt x="6625" y="10040"/>
                  <a:pt x="6660" y="9993"/>
                </a:cubicBezTo>
                <a:cubicBezTo>
                  <a:pt x="6683" y="9962"/>
                  <a:pt x="6661" y="9917"/>
                  <a:pt x="6685" y="9893"/>
                </a:cubicBezTo>
                <a:cubicBezTo>
                  <a:pt x="6713" y="9865"/>
                  <a:pt x="6795" y="9893"/>
                  <a:pt x="6831" y="9865"/>
                </a:cubicBezTo>
                <a:cubicBezTo>
                  <a:pt x="6883" y="9823"/>
                  <a:pt x="6808" y="9808"/>
                  <a:pt x="6825" y="9775"/>
                </a:cubicBezTo>
                <a:cubicBezTo>
                  <a:pt x="6841" y="9742"/>
                  <a:pt x="6915" y="9768"/>
                  <a:pt x="6940" y="9733"/>
                </a:cubicBezTo>
                <a:cubicBezTo>
                  <a:pt x="6950" y="9720"/>
                  <a:pt x="6950" y="9697"/>
                  <a:pt x="6960" y="9682"/>
                </a:cubicBezTo>
                <a:cubicBezTo>
                  <a:pt x="6972" y="9665"/>
                  <a:pt x="6990" y="9652"/>
                  <a:pt x="7003" y="9637"/>
                </a:cubicBezTo>
                <a:cubicBezTo>
                  <a:pt x="7037" y="9595"/>
                  <a:pt x="7048" y="9592"/>
                  <a:pt x="7103" y="9582"/>
                </a:cubicBezTo>
                <a:cubicBezTo>
                  <a:pt x="7210" y="9563"/>
                  <a:pt x="7303" y="9522"/>
                  <a:pt x="7373" y="9433"/>
                </a:cubicBezTo>
                <a:cubicBezTo>
                  <a:pt x="7408" y="9388"/>
                  <a:pt x="7472" y="9280"/>
                  <a:pt x="7433" y="9218"/>
                </a:cubicBezTo>
                <a:cubicBezTo>
                  <a:pt x="7432" y="9217"/>
                  <a:pt x="7430" y="9208"/>
                  <a:pt x="7428" y="9205"/>
                </a:cubicBezTo>
                <a:cubicBezTo>
                  <a:pt x="7422" y="9202"/>
                  <a:pt x="7425" y="9207"/>
                  <a:pt x="7422" y="9208"/>
                </a:cubicBezTo>
                <a:cubicBezTo>
                  <a:pt x="7422" y="9208"/>
                  <a:pt x="7133" y="9383"/>
                  <a:pt x="7100" y="9442"/>
                </a:cubicBezTo>
                <a:close/>
                <a:moveTo>
                  <a:pt x="8180" y="7076"/>
                </a:moveTo>
                <a:lnTo>
                  <a:pt x="8180" y="7076"/>
                </a:lnTo>
                <a:cubicBezTo>
                  <a:pt x="8142" y="7075"/>
                  <a:pt x="8093" y="6925"/>
                  <a:pt x="8087" y="6831"/>
                </a:cubicBezTo>
                <a:cubicBezTo>
                  <a:pt x="8085" y="6811"/>
                  <a:pt x="8080" y="6790"/>
                  <a:pt x="8083" y="6771"/>
                </a:cubicBezTo>
                <a:cubicBezTo>
                  <a:pt x="8088" y="6740"/>
                  <a:pt x="8107" y="6735"/>
                  <a:pt x="8123" y="6713"/>
                </a:cubicBezTo>
                <a:cubicBezTo>
                  <a:pt x="8148" y="6680"/>
                  <a:pt x="8147" y="6643"/>
                  <a:pt x="8172" y="6611"/>
                </a:cubicBezTo>
                <a:cubicBezTo>
                  <a:pt x="8217" y="6558"/>
                  <a:pt x="8233" y="6536"/>
                  <a:pt x="8245" y="6468"/>
                </a:cubicBezTo>
                <a:cubicBezTo>
                  <a:pt x="8258" y="6399"/>
                  <a:pt x="8285" y="6329"/>
                  <a:pt x="8310" y="6266"/>
                </a:cubicBezTo>
                <a:cubicBezTo>
                  <a:pt x="8335" y="6254"/>
                  <a:pt x="8342" y="6253"/>
                  <a:pt x="8353" y="6274"/>
                </a:cubicBezTo>
                <a:cubicBezTo>
                  <a:pt x="8368" y="6301"/>
                  <a:pt x="8350" y="6361"/>
                  <a:pt x="8347" y="6391"/>
                </a:cubicBezTo>
                <a:cubicBezTo>
                  <a:pt x="8345" y="6423"/>
                  <a:pt x="8348" y="6454"/>
                  <a:pt x="8347" y="6486"/>
                </a:cubicBezTo>
                <a:cubicBezTo>
                  <a:pt x="8343" y="6539"/>
                  <a:pt x="8318" y="6586"/>
                  <a:pt x="8317" y="6641"/>
                </a:cubicBezTo>
                <a:cubicBezTo>
                  <a:pt x="8315" y="6706"/>
                  <a:pt x="8293" y="6760"/>
                  <a:pt x="8272" y="6820"/>
                </a:cubicBezTo>
                <a:cubicBezTo>
                  <a:pt x="8263" y="6846"/>
                  <a:pt x="8228" y="6888"/>
                  <a:pt x="8238" y="6916"/>
                </a:cubicBezTo>
                <a:cubicBezTo>
                  <a:pt x="8250" y="6956"/>
                  <a:pt x="8302" y="6958"/>
                  <a:pt x="8282" y="7003"/>
                </a:cubicBezTo>
                <a:cubicBezTo>
                  <a:pt x="8273" y="7023"/>
                  <a:pt x="8245" y="7045"/>
                  <a:pt x="8227" y="7055"/>
                </a:cubicBezTo>
                <a:lnTo>
                  <a:pt x="8180" y="7076"/>
                </a:lnTo>
                <a:lnTo>
                  <a:pt x="8180" y="7076"/>
                </a:lnTo>
                <a:close/>
                <a:moveTo>
                  <a:pt x="7665" y="4014"/>
                </a:moveTo>
                <a:lnTo>
                  <a:pt x="7665" y="4014"/>
                </a:lnTo>
                <a:cubicBezTo>
                  <a:pt x="7655" y="3987"/>
                  <a:pt x="7672" y="3961"/>
                  <a:pt x="7680" y="3936"/>
                </a:cubicBezTo>
                <a:cubicBezTo>
                  <a:pt x="7703" y="3864"/>
                  <a:pt x="7730" y="3826"/>
                  <a:pt x="7785" y="3777"/>
                </a:cubicBezTo>
                <a:cubicBezTo>
                  <a:pt x="7808" y="3759"/>
                  <a:pt x="7837" y="3737"/>
                  <a:pt x="7850" y="3709"/>
                </a:cubicBezTo>
                <a:cubicBezTo>
                  <a:pt x="7860" y="3689"/>
                  <a:pt x="7858" y="3659"/>
                  <a:pt x="7870" y="3637"/>
                </a:cubicBezTo>
                <a:cubicBezTo>
                  <a:pt x="7893" y="3589"/>
                  <a:pt x="7948" y="3586"/>
                  <a:pt x="7928" y="3516"/>
                </a:cubicBezTo>
                <a:cubicBezTo>
                  <a:pt x="7913" y="3469"/>
                  <a:pt x="7892" y="3446"/>
                  <a:pt x="7945" y="3409"/>
                </a:cubicBezTo>
                <a:cubicBezTo>
                  <a:pt x="7958" y="3399"/>
                  <a:pt x="7988" y="3391"/>
                  <a:pt x="7988" y="3369"/>
                </a:cubicBezTo>
                <a:cubicBezTo>
                  <a:pt x="7988" y="3357"/>
                  <a:pt x="7965" y="3349"/>
                  <a:pt x="7965" y="3329"/>
                </a:cubicBezTo>
                <a:cubicBezTo>
                  <a:pt x="7967" y="3302"/>
                  <a:pt x="7993" y="3294"/>
                  <a:pt x="7988" y="3266"/>
                </a:cubicBezTo>
                <a:cubicBezTo>
                  <a:pt x="7985" y="3252"/>
                  <a:pt x="7967" y="3234"/>
                  <a:pt x="7962" y="3219"/>
                </a:cubicBezTo>
                <a:cubicBezTo>
                  <a:pt x="7950" y="3181"/>
                  <a:pt x="7967" y="3101"/>
                  <a:pt x="7932" y="3074"/>
                </a:cubicBezTo>
                <a:cubicBezTo>
                  <a:pt x="7903" y="3052"/>
                  <a:pt x="7857" y="3069"/>
                  <a:pt x="7823" y="3044"/>
                </a:cubicBezTo>
                <a:cubicBezTo>
                  <a:pt x="7807" y="3031"/>
                  <a:pt x="7803" y="3004"/>
                  <a:pt x="7782" y="2999"/>
                </a:cubicBezTo>
                <a:cubicBezTo>
                  <a:pt x="7758" y="3054"/>
                  <a:pt x="7768" y="3097"/>
                  <a:pt x="7723" y="3141"/>
                </a:cubicBezTo>
                <a:cubicBezTo>
                  <a:pt x="7700" y="3164"/>
                  <a:pt x="7668" y="3187"/>
                  <a:pt x="7640" y="3206"/>
                </a:cubicBezTo>
                <a:cubicBezTo>
                  <a:pt x="7605" y="3227"/>
                  <a:pt x="7563" y="3224"/>
                  <a:pt x="7530" y="3247"/>
                </a:cubicBezTo>
                <a:cubicBezTo>
                  <a:pt x="7508" y="3264"/>
                  <a:pt x="7500" y="3286"/>
                  <a:pt x="7483" y="3307"/>
                </a:cubicBezTo>
                <a:cubicBezTo>
                  <a:pt x="7453" y="3346"/>
                  <a:pt x="7415" y="3366"/>
                  <a:pt x="7380" y="3397"/>
                </a:cubicBezTo>
                <a:cubicBezTo>
                  <a:pt x="7337" y="3432"/>
                  <a:pt x="7327" y="3486"/>
                  <a:pt x="7298" y="3532"/>
                </a:cubicBezTo>
                <a:cubicBezTo>
                  <a:pt x="7265" y="3587"/>
                  <a:pt x="7205" y="3576"/>
                  <a:pt x="7150" y="3597"/>
                </a:cubicBezTo>
                <a:cubicBezTo>
                  <a:pt x="7082" y="3624"/>
                  <a:pt x="6993" y="3654"/>
                  <a:pt x="6933" y="3697"/>
                </a:cubicBezTo>
                <a:cubicBezTo>
                  <a:pt x="6900" y="3721"/>
                  <a:pt x="6881" y="3759"/>
                  <a:pt x="6851" y="3787"/>
                </a:cubicBezTo>
                <a:cubicBezTo>
                  <a:pt x="6840" y="3799"/>
                  <a:pt x="6821" y="3807"/>
                  <a:pt x="6813" y="3822"/>
                </a:cubicBezTo>
                <a:cubicBezTo>
                  <a:pt x="6788" y="3871"/>
                  <a:pt x="6856" y="3932"/>
                  <a:pt x="6830" y="3994"/>
                </a:cubicBezTo>
                <a:cubicBezTo>
                  <a:pt x="6791" y="3971"/>
                  <a:pt x="6755" y="3954"/>
                  <a:pt x="6725" y="3921"/>
                </a:cubicBezTo>
                <a:cubicBezTo>
                  <a:pt x="6688" y="3882"/>
                  <a:pt x="6666" y="3881"/>
                  <a:pt x="6613" y="3872"/>
                </a:cubicBezTo>
                <a:cubicBezTo>
                  <a:pt x="6590" y="3924"/>
                  <a:pt x="6730" y="3982"/>
                  <a:pt x="6711" y="4024"/>
                </a:cubicBezTo>
                <a:cubicBezTo>
                  <a:pt x="6698" y="4054"/>
                  <a:pt x="6653" y="4021"/>
                  <a:pt x="6626" y="4014"/>
                </a:cubicBezTo>
                <a:cubicBezTo>
                  <a:pt x="6543" y="3989"/>
                  <a:pt x="6456" y="3987"/>
                  <a:pt x="6370" y="3979"/>
                </a:cubicBezTo>
                <a:cubicBezTo>
                  <a:pt x="6336" y="3976"/>
                  <a:pt x="6340" y="3961"/>
                  <a:pt x="6333" y="3994"/>
                </a:cubicBezTo>
                <a:cubicBezTo>
                  <a:pt x="6326" y="4027"/>
                  <a:pt x="6351" y="4066"/>
                  <a:pt x="6350" y="4099"/>
                </a:cubicBezTo>
                <a:cubicBezTo>
                  <a:pt x="6350" y="4109"/>
                  <a:pt x="6340" y="4169"/>
                  <a:pt x="6335" y="4179"/>
                </a:cubicBezTo>
                <a:cubicBezTo>
                  <a:pt x="6321" y="4199"/>
                  <a:pt x="6293" y="4196"/>
                  <a:pt x="6270" y="4189"/>
                </a:cubicBezTo>
                <a:cubicBezTo>
                  <a:pt x="6275" y="4236"/>
                  <a:pt x="6300" y="4294"/>
                  <a:pt x="6291" y="4341"/>
                </a:cubicBezTo>
                <a:cubicBezTo>
                  <a:pt x="6286" y="4366"/>
                  <a:pt x="6273" y="4382"/>
                  <a:pt x="6268" y="4407"/>
                </a:cubicBezTo>
                <a:cubicBezTo>
                  <a:pt x="6263" y="4434"/>
                  <a:pt x="6266" y="4449"/>
                  <a:pt x="6275" y="4471"/>
                </a:cubicBezTo>
                <a:cubicBezTo>
                  <a:pt x="6286" y="4498"/>
                  <a:pt x="6305" y="4523"/>
                  <a:pt x="6316" y="4549"/>
                </a:cubicBezTo>
                <a:cubicBezTo>
                  <a:pt x="6321" y="4561"/>
                  <a:pt x="6328" y="4576"/>
                  <a:pt x="6335" y="4586"/>
                </a:cubicBezTo>
                <a:cubicBezTo>
                  <a:pt x="6345" y="4599"/>
                  <a:pt x="6370" y="4611"/>
                  <a:pt x="6376" y="4623"/>
                </a:cubicBezTo>
                <a:cubicBezTo>
                  <a:pt x="6405" y="4674"/>
                  <a:pt x="6326" y="4704"/>
                  <a:pt x="6293" y="4731"/>
                </a:cubicBezTo>
                <a:cubicBezTo>
                  <a:pt x="6236" y="4778"/>
                  <a:pt x="6273" y="4819"/>
                  <a:pt x="6313" y="4858"/>
                </a:cubicBezTo>
                <a:cubicBezTo>
                  <a:pt x="6366" y="4908"/>
                  <a:pt x="6400" y="4916"/>
                  <a:pt x="6468" y="4934"/>
                </a:cubicBezTo>
                <a:cubicBezTo>
                  <a:pt x="6496" y="4943"/>
                  <a:pt x="6521" y="4958"/>
                  <a:pt x="6550" y="4968"/>
                </a:cubicBezTo>
                <a:cubicBezTo>
                  <a:pt x="6568" y="4973"/>
                  <a:pt x="6583" y="4981"/>
                  <a:pt x="6601" y="4984"/>
                </a:cubicBezTo>
                <a:cubicBezTo>
                  <a:pt x="6616" y="4988"/>
                  <a:pt x="6663" y="4978"/>
                  <a:pt x="6675" y="4989"/>
                </a:cubicBezTo>
                <a:cubicBezTo>
                  <a:pt x="6698" y="5011"/>
                  <a:pt x="6671" y="5041"/>
                  <a:pt x="6681" y="5069"/>
                </a:cubicBezTo>
                <a:cubicBezTo>
                  <a:pt x="6693" y="5106"/>
                  <a:pt x="6733" y="5124"/>
                  <a:pt x="6753" y="5154"/>
                </a:cubicBezTo>
                <a:cubicBezTo>
                  <a:pt x="6700" y="5213"/>
                  <a:pt x="6570" y="5134"/>
                  <a:pt x="6510" y="5199"/>
                </a:cubicBezTo>
                <a:cubicBezTo>
                  <a:pt x="6485" y="5228"/>
                  <a:pt x="6506" y="5264"/>
                  <a:pt x="6496" y="5298"/>
                </a:cubicBezTo>
                <a:cubicBezTo>
                  <a:pt x="6485" y="5341"/>
                  <a:pt x="6436" y="5368"/>
                  <a:pt x="6398" y="5383"/>
                </a:cubicBezTo>
                <a:cubicBezTo>
                  <a:pt x="6365" y="5396"/>
                  <a:pt x="6230" y="5358"/>
                  <a:pt x="6230" y="5393"/>
                </a:cubicBezTo>
                <a:cubicBezTo>
                  <a:pt x="6230" y="5419"/>
                  <a:pt x="6280" y="5426"/>
                  <a:pt x="6295" y="5439"/>
                </a:cubicBezTo>
                <a:cubicBezTo>
                  <a:pt x="6326" y="5464"/>
                  <a:pt x="6323" y="5514"/>
                  <a:pt x="6345" y="5551"/>
                </a:cubicBezTo>
                <a:cubicBezTo>
                  <a:pt x="6368" y="5588"/>
                  <a:pt x="6400" y="5604"/>
                  <a:pt x="6430" y="5636"/>
                </a:cubicBezTo>
                <a:cubicBezTo>
                  <a:pt x="6445" y="5653"/>
                  <a:pt x="6468" y="5714"/>
                  <a:pt x="6488" y="5723"/>
                </a:cubicBezTo>
                <a:cubicBezTo>
                  <a:pt x="6515" y="5733"/>
                  <a:pt x="6521" y="5706"/>
                  <a:pt x="6538" y="5688"/>
                </a:cubicBezTo>
                <a:cubicBezTo>
                  <a:pt x="6561" y="5661"/>
                  <a:pt x="6595" y="5643"/>
                  <a:pt x="6615" y="5616"/>
                </a:cubicBezTo>
                <a:cubicBezTo>
                  <a:pt x="6645" y="5574"/>
                  <a:pt x="6621" y="5554"/>
                  <a:pt x="6633" y="5514"/>
                </a:cubicBezTo>
                <a:cubicBezTo>
                  <a:pt x="6650" y="5458"/>
                  <a:pt x="6750" y="5403"/>
                  <a:pt x="6796" y="5371"/>
                </a:cubicBezTo>
                <a:cubicBezTo>
                  <a:pt x="6836" y="5344"/>
                  <a:pt x="6871" y="5354"/>
                  <a:pt x="6915" y="5338"/>
                </a:cubicBezTo>
                <a:cubicBezTo>
                  <a:pt x="7002" y="5304"/>
                  <a:pt x="6863" y="5238"/>
                  <a:pt x="6845" y="5201"/>
                </a:cubicBezTo>
                <a:cubicBezTo>
                  <a:pt x="6883" y="5143"/>
                  <a:pt x="6913" y="5209"/>
                  <a:pt x="6942" y="5223"/>
                </a:cubicBezTo>
                <a:cubicBezTo>
                  <a:pt x="6983" y="5243"/>
                  <a:pt x="6990" y="5269"/>
                  <a:pt x="7020" y="5299"/>
                </a:cubicBezTo>
                <a:cubicBezTo>
                  <a:pt x="7065" y="5341"/>
                  <a:pt x="7143" y="5304"/>
                  <a:pt x="7133" y="5238"/>
                </a:cubicBezTo>
                <a:cubicBezTo>
                  <a:pt x="7123" y="5184"/>
                  <a:pt x="6998" y="5188"/>
                  <a:pt x="7023" y="5134"/>
                </a:cubicBezTo>
                <a:cubicBezTo>
                  <a:pt x="7042" y="5096"/>
                  <a:pt x="7108" y="5124"/>
                  <a:pt x="7142" y="5118"/>
                </a:cubicBezTo>
                <a:cubicBezTo>
                  <a:pt x="7187" y="5108"/>
                  <a:pt x="7223" y="5101"/>
                  <a:pt x="7265" y="5083"/>
                </a:cubicBezTo>
                <a:cubicBezTo>
                  <a:pt x="7323" y="5058"/>
                  <a:pt x="7412" y="5051"/>
                  <a:pt x="7448" y="4993"/>
                </a:cubicBezTo>
                <a:cubicBezTo>
                  <a:pt x="7470" y="4956"/>
                  <a:pt x="7473" y="4889"/>
                  <a:pt x="7457" y="4848"/>
                </a:cubicBezTo>
                <a:cubicBezTo>
                  <a:pt x="7440" y="4804"/>
                  <a:pt x="7377" y="4813"/>
                  <a:pt x="7368" y="4776"/>
                </a:cubicBezTo>
                <a:cubicBezTo>
                  <a:pt x="7422" y="4753"/>
                  <a:pt x="7490" y="4761"/>
                  <a:pt x="7547" y="4751"/>
                </a:cubicBezTo>
                <a:cubicBezTo>
                  <a:pt x="7575" y="4744"/>
                  <a:pt x="7595" y="4741"/>
                  <a:pt x="7605" y="4708"/>
                </a:cubicBezTo>
                <a:cubicBezTo>
                  <a:pt x="7608" y="4693"/>
                  <a:pt x="7618" y="4616"/>
                  <a:pt x="7613" y="4603"/>
                </a:cubicBezTo>
                <a:cubicBezTo>
                  <a:pt x="7600" y="4563"/>
                  <a:pt x="7542" y="4574"/>
                  <a:pt x="7512" y="4556"/>
                </a:cubicBezTo>
                <a:cubicBezTo>
                  <a:pt x="7517" y="4491"/>
                  <a:pt x="7655" y="4476"/>
                  <a:pt x="7577" y="4394"/>
                </a:cubicBezTo>
                <a:cubicBezTo>
                  <a:pt x="7523" y="4337"/>
                  <a:pt x="7400" y="4346"/>
                  <a:pt x="7387" y="4432"/>
                </a:cubicBezTo>
                <a:cubicBezTo>
                  <a:pt x="7432" y="4411"/>
                  <a:pt x="7477" y="4381"/>
                  <a:pt x="7523" y="4357"/>
                </a:cubicBezTo>
                <a:cubicBezTo>
                  <a:pt x="7550" y="4344"/>
                  <a:pt x="7568" y="4337"/>
                  <a:pt x="7583" y="4312"/>
                </a:cubicBezTo>
                <a:cubicBezTo>
                  <a:pt x="7602" y="4281"/>
                  <a:pt x="7600" y="4239"/>
                  <a:pt x="7620" y="4206"/>
                </a:cubicBezTo>
                <a:cubicBezTo>
                  <a:pt x="7635" y="4181"/>
                  <a:pt x="7690" y="4142"/>
                  <a:pt x="7662" y="4114"/>
                </a:cubicBezTo>
                <a:cubicBezTo>
                  <a:pt x="7712" y="4126"/>
                  <a:pt x="7755" y="4139"/>
                  <a:pt x="7803" y="4154"/>
                </a:cubicBezTo>
                <a:cubicBezTo>
                  <a:pt x="7842" y="4167"/>
                  <a:pt x="7853" y="4167"/>
                  <a:pt x="7882" y="4142"/>
                </a:cubicBezTo>
                <a:cubicBezTo>
                  <a:pt x="7927" y="4099"/>
                  <a:pt x="7997" y="4056"/>
                  <a:pt x="8030" y="4004"/>
                </a:cubicBezTo>
                <a:cubicBezTo>
                  <a:pt x="8047" y="3981"/>
                  <a:pt x="8062" y="3907"/>
                  <a:pt x="8038" y="3884"/>
                </a:cubicBezTo>
                <a:cubicBezTo>
                  <a:pt x="7993" y="3839"/>
                  <a:pt x="7917" y="3907"/>
                  <a:pt x="7887" y="3936"/>
                </a:cubicBezTo>
                <a:cubicBezTo>
                  <a:pt x="7853" y="3964"/>
                  <a:pt x="7803" y="4017"/>
                  <a:pt x="7758" y="4027"/>
                </a:cubicBezTo>
                <a:cubicBezTo>
                  <a:pt x="7727" y="4036"/>
                  <a:pt x="7713" y="4019"/>
                  <a:pt x="7683" y="4012"/>
                </a:cubicBezTo>
                <a:cubicBezTo>
                  <a:pt x="7657" y="4006"/>
                  <a:pt x="7632" y="4014"/>
                  <a:pt x="7605" y="4014"/>
                </a:cubicBezTo>
                <a:moveTo>
                  <a:pt x="6281" y="6123"/>
                </a:moveTo>
                <a:lnTo>
                  <a:pt x="6281" y="6123"/>
                </a:lnTo>
                <a:cubicBezTo>
                  <a:pt x="6300" y="6083"/>
                  <a:pt x="6316" y="6046"/>
                  <a:pt x="6273" y="6018"/>
                </a:cubicBezTo>
                <a:cubicBezTo>
                  <a:pt x="6243" y="5998"/>
                  <a:pt x="6190" y="5988"/>
                  <a:pt x="6165" y="5961"/>
                </a:cubicBezTo>
                <a:cubicBezTo>
                  <a:pt x="6135" y="5928"/>
                  <a:pt x="6170" y="5899"/>
                  <a:pt x="6131" y="5869"/>
                </a:cubicBezTo>
                <a:cubicBezTo>
                  <a:pt x="6110" y="5851"/>
                  <a:pt x="6063" y="5838"/>
                  <a:pt x="6035" y="5844"/>
                </a:cubicBezTo>
                <a:cubicBezTo>
                  <a:pt x="6000" y="5851"/>
                  <a:pt x="5960" y="5906"/>
                  <a:pt x="5930" y="5908"/>
                </a:cubicBezTo>
                <a:cubicBezTo>
                  <a:pt x="5900" y="5908"/>
                  <a:pt x="5878" y="5858"/>
                  <a:pt x="5851" y="5844"/>
                </a:cubicBezTo>
                <a:cubicBezTo>
                  <a:pt x="5785" y="5811"/>
                  <a:pt x="5748" y="5859"/>
                  <a:pt x="5745" y="5916"/>
                </a:cubicBezTo>
                <a:cubicBezTo>
                  <a:pt x="5741" y="5986"/>
                  <a:pt x="5665" y="5978"/>
                  <a:pt x="5606" y="5978"/>
                </a:cubicBezTo>
                <a:cubicBezTo>
                  <a:pt x="5543" y="5976"/>
                  <a:pt x="5506" y="5976"/>
                  <a:pt x="5486" y="6043"/>
                </a:cubicBezTo>
                <a:cubicBezTo>
                  <a:pt x="5480" y="6061"/>
                  <a:pt x="5478" y="6086"/>
                  <a:pt x="5478" y="6104"/>
                </a:cubicBezTo>
                <a:cubicBezTo>
                  <a:pt x="5476" y="6148"/>
                  <a:pt x="5481" y="6148"/>
                  <a:pt x="5513" y="6166"/>
                </a:cubicBezTo>
                <a:cubicBezTo>
                  <a:pt x="5536" y="6179"/>
                  <a:pt x="5553" y="6186"/>
                  <a:pt x="5568" y="6208"/>
                </a:cubicBezTo>
                <a:cubicBezTo>
                  <a:pt x="5581" y="6228"/>
                  <a:pt x="5578" y="6249"/>
                  <a:pt x="5590" y="6266"/>
                </a:cubicBezTo>
                <a:cubicBezTo>
                  <a:pt x="5611" y="6301"/>
                  <a:pt x="5661" y="6309"/>
                  <a:pt x="5690" y="6341"/>
                </a:cubicBezTo>
                <a:cubicBezTo>
                  <a:pt x="5710" y="6363"/>
                  <a:pt x="5720" y="6391"/>
                  <a:pt x="5738" y="6413"/>
                </a:cubicBezTo>
                <a:cubicBezTo>
                  <a:pt x="5755" y="6429"/>
                  <a:pt x="5780" y="6439"/>
                  <a:pt x="5795" y="6458"/>
                </a:cubicBezTo>
                <a:cubicBezTo>
                  <a:pt x="5843" y="6516"/>
                  <a:pt x="5728" y="6615"/>
                  <a:pt x="5698" y="6636"/>
                </a:cubicBezTo>
                <a:cubicBezTo>
                  <a:pt x="5691" y="6661"/>
                  <a:pt x="5728" y="6708"/>
                  <a:pt x="5736" y="6736"/>
                </a:cubicBezTo>
                <a:cubicBezTo>
                  <a:pt x="5740" y="6751"/>
                  <a:pt x="5748" y="6776"/>
                  <a:pt x="5750" y="6791"/>
                </a:cubicBezTo>
                <a:cubicBezTo>
                  <a:pt x="5756" y="6843"/>
                  <a:pt x="5695" y="6858"/>
                  <a:pt x="5683" y="6911"/>
                </a:cubicBezTo>
                <a:cubicBezTo>
                  <a:pt x="5676" y="6950"/>
                  <a:pt x="5705" y="6961"/>
                  <a:pt x="5720" y="6991"/>
                </a:cubicBezTo>
                <a:cubicBezTo>
                  <a:pt x="5735" y="7016"/>
                  <a:pt x="5733" y="7036"/>
                  <a:pt x="5730" y="7068"/>
                </a:cubicBezTo>
                <a:cubicBezTo>
                  <a:pt x="5728" y="7080"/>
                  <a:pt x="5720" y="7096"/>
                  <a:pt x="5721" y="7110"/>
                </a:cubicBezTo>
                <a:cubicBezTo>
                  <a:pt x="5723" y="7123"/>
                  <a:pt x="5740" y="7133"/>
                  <a:pt x="5740" y="7146"/>
                </a:cubicBezTo>
                <a:cubicBezTo>
                  <a:pt x="5740" y="7168"/>
                  <a:pt x="5703" y="7196"/>
                  <a:pt x="5693" y="7216"/>
                </a:cubicBezTo>
                <a:cubicBezTo>
                  <a:pt x="5673" y="7250"/>
                  <a:pt x="5648" y="7275"/>
                  <a:pt x="5650" y="7316"/>
                </a:cubicBezTo>
                <a:cubicBezTo>
                  <a:pt x="5651" y="7338"/>
                  <a:pt x="5660" y="7358"/>
                  <a:pt x="5661" y="7380"/>
                </a:cubicBezTo>
                <a:cubicBezTo>
                  <a:pt x="5668" y="7443"/>
                  <a:pt x="5663" y="7511"/>
                  <a:pt x="5678" y="7576"/>
                </a:cubicBezTo>
                <a:cubicBezTo>
                  <a:pt x="5686" y="7613"/>
                  <a:pt x="5701" y="7646"/>
                  <a:pt x="5710" y="7685"/>
                </a:cubicBezTo>
                <a:cubicBezTo>
                  <a:pt x="5716" y="7716"/>
                  <a:pt x="5725" y="7761"/>
                  <a:pt x="5745" y="7788"/>
                </a:cubicBezTo>
                <a:cubicBezTo>
                  <a:pt x="5763" y="7811"/>
                  <a:pt x="5798" y="7828"/>
                  <a:pt x="5828" y="7828"/>
                </a:cubicBezTo>
                <a:cubicBezTo>
                  <a:pt x="5891" y="7831"/>
                  <a:pt x="5925" y="7821"/>
                  <a:pt x="5990" y="7835"/>
                </a:cubicBezTo>
                <a:cubicBezTo>
                  <a:pt x="5986" y="7848"/>
                  <a:pt x="6016" y="7853"/>
                  <a:pt x="6030" y="7860"/>
                </a:cubicBezTo>
                <a:cubicBezTo>
                  <a:pt x="6065" y="7860"/>
                  <a:pt x="6050" y="7790"/>
                  <a:pt x="6031" y="7765"/>
                </a:cubicBezTo>
                <a:cubicBezTo>
                  <a:pt x="5998" y="7723"/>
                  <a:pt x="5970" y="7721"/>
                  <a:pt x="5980" y="7666"/>
                </a:cubicBezTo>
                <a:cubicBezTo>
                  <a:pt x="5986" y="7618"/>
                  <a:pt x="5981" y="7595"/>
                  <a:pt x="5968" y="7546"/>
                </a:cubicBezTo>
                <a:cubicBezTo>
                  <a:pt x="5951" y="7483"/>
                  <a:pt x="5903" y="7481"/>
                  <a:pt x="5883" y="7421"/>
                </a:cubicBezTo>
                <a:cubicBezTo>
                  <a:pt x="5916" y="7381"/>
                  <a:pt x="5948" y="7415"/>
                  <a:pt x="5968" y="7371"/>
                </a:cubicBezTo>
                <a:cubicBezTo>
                  <a:pt x="5988" y="7330"/>
                  <a:pt x="5988" y="7255"/>
                  <a:pt x="6026" y="7230"/>
                </a:cubicBezTo>
                <a:cubicBezTo>
                  <a:pt x="6055" y="7211"/>
                  <a:pt x="6125" y="7206"/>
                  <a:pt x="6106" y="7150"/>
                </a:cubicBezTo>
                <a:cubicBezTo>
                  <a:pt x="6095" y="7120"/>
                  <a:pt x="6046" y="7115"/>
                  <a:pt x="6025" y="7096"/>
                </a:cubicBezTo>
                <a:cubicBezTo>
                  <a:pt x="6001" y="7075"/>
                  <a:pt x="6008" y="7060"/>
                  <a:pt x="6003" y="7030"/>
                </a:cubicBezTo>
                <a:cubicBezTo>
                  <a:pt x="5998" y="7006"/>
                  <a:pt x="5990" y="6975"/>
                  <a:pt x="5980" y="6955"/>
                </a:cubicBezTo>
                <a:cubicBezTo>
                  <a:pt x="5970" y="6935"/>
                  <a:pt x="5931" y="6906"/>
                  <a:pt x="5931" y="6885"/>
                </a:cubicBezTo>
                <a:cubicBezTo>
                  <a:pt x="5930" y="6818"/>
                  <a:pt x="6030" y="6875"/>
                  <a:pt x="6058" y="6881"/>
                </a:cubicBezTo>
                <a:cubicBezTo>
                  <a:pt x="6123" y="6896"/>
                  <a:pt x="6108" y="6815"/>
                  <a:pt x="6106" y="6766"/>
                </a:cubicBezTo>
                <a:cubicBezTo>
                  <a:pt x="6103" y="6706"/>
                  <a:pt x="6031" y="6716"/>
                  <a:pt x="6031" y="6678"/>
                </a:cubicBezTo>
                <a:cubicBezTo>
                  <a:pt x="6040" y="6631"/>
                  <a:pt x="6091" y="6618"/>
                  <a:pt x="6133" y="6595"/>
                </a:cubicBezTo>
                <a:cubicBezTo>
                  <a:pt x="6195" y="6561"/>
                  <a:pt x="6185" y="6518"/>
                  <a:pt x="6193" y="6453"/>
                </a:cubicBezTo>
                <a:cubicBezTo>
                  <a:pt x="6201" y="6391"/>
                  <a:pt x="6205" y="6321"/>
                  <a:pt x="6228" y="6264"/>
                </a:cubicBezTo>
                <a:cubicBezTo>
                  <a:pt x="6243" y="6229"/>
                  <a:pt x="6261" y="6219"/>
                  <a:pt x="6258" y="6178"/>
                </a:cubicBezTo>
                <a:lnTo>
                  <a:pt x="6281" y="6123"/>
                </a:lnTo>
                <a:lnTo>
                  <a:pt x="6281" y="6123"/>
                </a:lnTo>
                <a:close/>
                <a:moveTo>
                  <a:pt x="7915" y="8508"/>
                </a:moveTo>
                <a:lnTo>
                  <a:pt x="7915" y="8508"/>
                </a:lnTo>
                <a:cubicBezTo>
                  <a:pt x="7922" y="8456"/>
                  <a:pt x="7972" y="8480"/>
                  <a:pt x="8000" y="8460"/>
                </a:cubicBezTo>
                <a:cubicBezTo>
                  <a:pt x="8012" y="8435"/>
                  <a:pt x="7990" y="8333"/>
                  <a:pt x="8053" y="8376"/>
                </a:cubicBezTo>
                <a:cubicBezTo>
                  <a:pt x="8090" y="8401"/>
                  <a:pt x="8063" y="8476"/>
                  <a:pt x="8063" y="8511"/>
                </a:cubicBezTo>
                <a:cubicBezTo>
                  <a:pt x="8063" y="8543"/>
                  <a:pt x="8075" y="8575"/>
                  <a:pt x="8050" y="8600"/>
                </a:cubicBezTo>
                <a:cubicBezTo>
                  <a:pt x="8017" y="8631"/>
                  <a:pt x="7953" y="8616"/>
                  <a:pt x="7930" y="8581"/>
                </a:cubicBezTo>
                <a:cubicBezTo>
                  <a:pt x="7917" y="8561"/>
                  <a:pt x="7915" y="8508"/>
                  <a:pt x="7915" y="8508"/>
                </a:cubicBezTo>
                <a:close/>
                <a:moveTo>
                  <a:pt x="7598" y="8000"/>
                </a:moveTo>
                <a:lnTo>
                  <a:pt x="7598" y="8000"/>
                </a:lnTo>
                <a:cubicBezTo>
                  <a:pt x="7562" y="8015"/>
                  <a:pt x="7523" y="8071"/>
                  <a:pt x="7505" y="8103"/>
                </a:cubicBezTo>
                <a:cubicBezTo>
                  <a:pt x="7495" y="8123"/>
                  <a:pt x="7468" y="8146"/>
                  <a:pt x="7475" y="8163"/>
                </a:cubicBezTo>
                <a:cubicBezTo>
                  <a:pt x="7502" y="8185"/>
                  <a:pt x="7525" y="8206"/>
                  <a:pt x="7553" y="8225"/>
                </a:cubicBezTo>
                <a:cubicBezTo>
                  <a:pt x="7590" y="8246"/>
                  <a:pt x="7600" y="8266"/>
                  <a:pt x="7618" y="8305"/>
                </a:cubicBezTo>
                <a:cubicBezTo>
                  <a:pt x="7627" y="8321"/>
                  <a:pt x="7633" y="8336"/>
                  <a:pt x="7637" y="8355"/>
                </a:cubicBezTo>
                <a:cubicBezTo>
                  <a:pt x="7638" y="8358"/>
                  <a:pt x="7638" y="8386"/>
                  <a:pt x="7638" y="8386"/>
                </a:cubicBezTo>
                <a:cubicBezTo>
                  <a:pt x="7662" y="8418"/>
                  <a:pt x="7710" y="8393"/>
                  <a:pt x="7740" y="8383"/>
                </a:cubicBezTo>
                <a:cubicBezTo>
                  <a:pt x="7790" y="8366"/>
                  <a:pt x="7805" y="8361"/>
                  <a:pt x="7822" y="8311"/>
                </a:cubicBezTo>
                <a:cubicBezTo>
                  <a:pt x="7835" y="8271"/>
                  <a:pt x="7868" y="8238"/>
                  <a:pt x="7850" y="8196"/>
                </a:cubicBezTo>
                <a:cubicBezTo>
                  <a:pt x="7838" y="8166"/>
                  <a:pt x="7812" y="8153"/>
                  <a:pt x="7803" y="8120"/>
                </a:cubicBezTo>
                <a:cubicBezTo>
                  <a:pt x="7797" y="8098"/>
                  <a:pt x="7815" y="8085"/>
                  <a:pt x="7797" y="8060"/>
                </a:cubicBezTo>
                <a:cubicBezTo>
                  <a:pt x="7797" y="8060"/>
                  <a:pt x="7657" y="7975"/>
                  <a:pt x="7598" y="8000"/>
                </a:cubicBezTo>
                <a:close/>
                <a:moveTo>
                  <a:pt x="8330" y="7203"/>
                </a:moveTo>
                <a:lnTo>
                  <a:pt x="8330" y="7203"/>
                </a:lnTo>
                <a:cubicBezTo>
                  <a:pt x="8295" y="7203"/>
                  <a:pt x="8238" y="7171"/>
                  <a:pt x="8253" y="7136"/>
                </a:cubicBezTo>
                <a:cubicBezTo>
                  <a:pt x="8262" y="7115"/>
                  <a:pt x="8335" y="7105"/>
                  <a:pt x="8352" y="7110"/>
                </a:cubicBezTo>
                <a:cubicBezTo>
                  <a:pt x="8370" y="7115"/>
                  <a:pt x="8368" y="7125"/>
                  <a:pt x="8383" y="7133"/>
                </a:cubicBezTo>
                <a:cubicBezTo>
                  <a:pt x="8393" y="7138"/>
                  <a:pt x="8408" y="7136"/>
                  <a:pt x="8417" y="7141"/>
                </a:cubicBezTo>
                <a:cubicBezTo>
                  <a:pt x="8455" y="7165"/>
                  <a:pt x="8465" y="7231"/>
                  <a:pt x="8408" y="7236"/>
                </a:cubicBezTo>
                <a:cubicBezTo>
                  <a:pt x="8377" y="7238"/>
                  <a:pt x="8330" y="7203"/>
                  <a:pt x="8330" y="7203"/>
                </a:cubicBezTo>
                <a:close/>
                <a:moveTo>
                  <a:pt x="5601" y="8125"/>
                </a:moveTo>
                <a:lnTo>
                  <a:pt x="5601" y="8125"/>
                </a:lnTo>
                <a:cubicBezTo>
                  <a:pt x="5566" y="8151"/>
                  <a:pt x="5506" y="8156"/>
                  <a:pt x="5485" y="8203"/>
                </a:cubicBezTo>
                <a:cubicBezTo>
                  <a:pt x="5471" y="8231"/>
                  <a:pt x="5498" y="8243"/>
                  <a:pt x="5483" y="8270"/>
                </a:cubicBezTo>
                <a:cubicBezTo>
                  <a:pt x="5471" y="8293"/>
                  <a:pt x="5430" y="8295"/>
                  <a:pt x="5423" y="8325"/>
                </a:cubicBezTo>
                <a:cubicBezTo>
                  <a:pt x="5416" y="8351"/>
                  <a:pt x="5445" y="8381"/>
                  <a:pt x="5451" y="8406"/>
                </a:cubicBezTo>
                <a:cubicBezTo>
                  <a:pt x="5458" y="8430"/>
                  <a:pt x="5453" y="8458"/>
                  <a:pt x="5463" y="8480"/>
                </a:cubicBezTo>
                <a:cubicBezTo>
                  <a:pt x="5471" y="8501"/>
                  <a:pt x="5516" y="8601"/>
                  <a:pt x="5541" y="8535"/>
                </a:cubicBezTo>
                <a:cubicBezTo>
                  <a:pt x="5551" y="8508"/>
                  <a:pt x="5520" y="8453"/>
                  <a:pt x="5511" y="8426"/>
                </a:cubicBezTo>
                <a:cubicBezTo>
                  <a:pt x="5498" y="8380"/>
                  <a:pt x="5523" y="8380"/>
                  <a:pt x="5568" y="8371"/>
                </a:cubicBezTo>
                <a:cubicBezTo>
                  <a:pt x="5601" y="8366"/>
                  <a:pt x="5656" y="8370"/>
                  <a:pt x="5681" y="8341"/>
                </a:cubicBezTo>
                <a:cubicBezTo>
                  <a:pt x="5693" y="8328"/>
                  <a:pt x="5691" y="8310"/>
                  <a:pt x="5703" y="8298"/>
                </a:cubicBezTo>
                <a:cubicBezTo>
                  <a:pt x="5721" y="8278"/>
                  <a:pt x="5763" y="8271"/>
                  <a:pt x="5786" y="8255"/>
                </a:cubicBezTo>
                <a:cubicBezTo>
                  <a:pt x="5826" y="8225"/>
                  <a:pt x="5850" y="8195"/>
                  <a:pt x="5868" y="8153"/>
                </a:cubicBezTo>
                <a:cubicBezTo>
                  <a:pt x="5878" y="8130"/>
                  <a:pt x="5898" y="8075"/>
                  <a:pt x="5841" y="8095"/>
                </a:cubicBezTo>
                <a:cubicBezTo>
                  <a:pt x="5806" y="8108"/>
                  <a:pt x="5803" y="8163"/>
                  <a:pt x="5760" y="8123"/>
                </a:cubicBezTo>
                <a:cubicBezTo>
                  <a:pt x="5745" y="8110"/>
                  <a:pt x="5748" y="8091"/>
                  <a:pt x="5725" y="8076"/>
                </a:cubicBezTo>
                <a:cubicBezTo>
                  <a:pt x="5681" y="8048"/>
                  <a:pt x="5668" y="8023"/>
                  <a:pt x="5650" y="8036"/>
                </a:cubicBezTo>
                <a:cubicBezTo>
                  <a:pt x="5650" y="8036"/>
                  <a:pt x="5640" y="8096"/>
                  <a:pt x="5601" y="8125"/>
                </a:cubicBezTo>
                <a:close/>
                <a:moveTo>
                  <a:pt x="13262" y="2095"/>
                </a:moveTo>
                <a:lnTo>
                  <a:pt x="13262" y="2095"/>
                </a:lnTo>
                <a:cubicBezTo>
                  <a:pt x="13222" y="2074"/>
                  <a:pt x="13184" y="2065"/>
                  <a:pt x="13157" y="2027"/>
                </a:cubicBezTo>
                <a:cubicBezTo>
                  <a:pt x="13129" y="1982"/>
                  <a:pt x="13107" y="1932"/>
                  <a:pt x="13081" y="1887"/>
                </a:cubicBezTo>
                <a:cubicBezTo>
                  <a:pt x="13064" y="1860"/>
                  <a:pt x="13059" y="1790"/>
                  <a:pt x="13036" y="1772"/>
                </a:cubicBezTo>
                <a:cubicBezTo>
                  <a:pt x="13022" y="1762"/>
                  <a:pt x="12967" y="1774"/>
                  <a:pt x="12954" y="1754"/>
                </a:cubicBezTo>
                <a:cubicBezTo>
                  <a:pt x="12962" y="1694"/>
                  <a:pt x="12999" y="1609"/>
                  <a:pt x="13062" y="1584"/>
                </a:cubicBezTo>
                <a:cubicBezTo>
                  <a:pt x="13079" y="1577"/>
                  <a:pt x="13127" y="1592"/>
                  <a:pt x="13142" y="1600"/>
                </a:cubicBezTo>
                <a:cubicBezTo>
                  <a:pt x="13156" y="1607"/>
                  <a:pt x="13172" y="1619"/>
                  <a:pt x="13179" y="1632"/>
                </a:cubicBezTo>
                <a:cubicBezTo>
                  <a:pt x="13184" y="1640"/>
                  <a:pt x="13181" y="1659"/>
                  <a:pt x="13184" y="1665"/>
                </a:cubicBezTo>
                <a:cubicBezTo>
                  <a:pt x="13212" y="1712"/>
                  <a:pt x="13281" y="1677"/>
                  <a:pt x="13314" y="1712"/>
                </a:cubicBezTo>
                <a:cubicBezTo>
                  <a:pt x="13326" y="1722"/>
                  <a:pt x="13326" y="1759"/>
                  <a:pt x="13336" y="1774"/>
                </a:cubicBezTo>
                <a:cubicBezTo>
                  <a:pt x="13344" y="1787"/>
                  <a:pt x="13359" y="1794"/>
                  <a:pt x="13366" y="1807"/>
                </a:cubicBezTo>
                <a:cubicBezTo>
                  <a:pt x="13377" y="1832"/>
                  <a:pt x="13369" y="1860"/>
                  <a:pt x="13407" y="1867"/>
                </a:cubicBezTo>
                <a:cubicBezTo>
                  <a:pt x="13419" y="1869"/>
                  <a:pt x="13432" y="1855"/>
                  <a:pt x="13446" y="1855"/>
                </a:cubicBezTo>
                <a:cubicBezTo>
                  <a:pt x="13464" y="1854"/>
                  <a:pt x="13479" y="1865"/>
                  <a:pt x="13494" y="1869"/>
                </a:cubicBezTo>
                <a:cubicBezTo>
                  <a:pt x="13517" y="1872"/>
                  <a:pt x="13509" y="1879"/>
                  <a:pt x="13539" y="1869"/>
                </a:cubicBezTo>
                <a:cubicBezTo>
                  <a:pt x="13557" y="1864"/>
                  <a:pt x="13566" y="1829"/>
                  <a:pt x="13591" y="1850"/>
                </a:cubicBezTo>
                <a:cubicBezTo>
                  <a:pt x="13601" y="1942"/>
                  <a:pt x="13547" y="1937"/>
                  <a:pt x="13481" y="1965"/>
                </a:cubicBezTo>
                <a:cubicBezTo>
                  <a:pt x="13531" y="2047"/>
                  <a:pt x="13441" y="2080"/>
                  <a:pt x="13369" y="2092"/>
                </a:cubicBezTo>
                <a:cubicBezTo>
                  <a:pt x="13347" y="2095"/>
                  <a:pt x="13314" y="2094"/>
                  <a:pt x="13294" y="2100"/>
                </a:cubicBezTo>
                <a:cubicBezTo>
                  <a:pt x="13276" y="2107"/>
                  <a:pt x="13262" y="2095"/>
                  <a:pt x="13262" y="2095"/>
                </a:cubicBezTo>
                <a:close/>
                <a:moveTo>
                  <a:pt x="13794" y="2225"/>
                </a:moveTo>
                <a:lnTo>
                  <a:pt x="13794" y="2225"/>
                </a:lnTo>
                <a:cubicBezTo>
                  <a:pt x="13794" y="2199"/>
                  <a:pt x="13766" y="2184"/>
                  <a:pt x="13756" y="2159"/>
                </a:cubicBezTo>
                <a:cubicBezTo>
                  <a:pt x="13744" y="2130"/>
                  <a:pt x="13746" y="2100"/>
                  <a:pt x="13739" y="2070"/>
                </a:cubicBezTo>
                <a:cubicBezTo>
                  <a:pt x="13729" y="2037"/>
                  <a:pt x="13703" y="2009"/>
                  <a:pt x="13694" y="1979"/>
                </a:cubicBezTo>
                <a:cubicBezTo>
                  <a:pt x="13688" y="1954"/>
                  <a:pt x="13693" y="1967"/>
                  <a:pt x="13698" y="1945"/>
                </a:cubicBezTo>
                <a:cubicBezTo>
                  <a:pt x="13698" y="1945"/>
                  <a:pt x="13711" y="1905"/>
                  <a:pt x="13711" y="1907"/>
                </a:cubicBezTo>
                <a:cubicBezTo>
                  <a:pt x="13753" y="1860"/>
                  <a:pt x="13858" y="1905"/>
                  <a:pt x="13884" y="1860"/>
                </a:cubicBezTo>
                <a:cubicBezTo>
                  <a:pt x="13906" y="1822"/>
                  <a:pt x="13839" y="1775"/>
                  <a:pt x="13846" y="1732"/>
                </a:cubicBezTo>
                <a:cubicBezTo>
                  <a:pt x="13866" y="1717"/>
                  <a:pt x="13911" y="1704"/>
                  <a:pt x="13928" y="1717"/>
                </a:cubicBezTo>
                <a:cubicBezTo>
                  <a:pt x="13958" y="1740"/>
                  <a:pt x="13943" y="1820"/>
                  <a:pt x="13943" y="1859"/>
                </a:cubicBezTo>
                <a:cubicBezTo>
                  <a:pt x="13944" y="1889"/>
                  <a:pt x="13953" y="1924"/>
                  <a:pt x="13951" y="1952"/>
                </a:cubicBezTo>
                <a:cubicBezTo>
                  <a:pt x="13949" y="1999"/>
                  <a:pt x="13914" y="1990"/>
                  <a:pt x="13884" y="2020"/>
                </a:cubicBezTo>
                <a:cubicBezTo>
                  <a:pt x="13858" y="2047"/>
                  <a:pt x="13863" y="2085"/>
                  <a:pt x="13869" y="2122"/>
                </a:cubicBezTo>
                <a:cubicBezTo>
                  <a:pt x="13873" y="2142"/>
                  <a:pt x="13896" y="2194"/>
                  <a:pt x="13888" y="2214"/>
                </a:cubicBezTo>
                <a:cubicBezTo>
                  <a:pt x="13878" y="2235"/>
                  <a:pt x="13794" y="2254"/>
                  <a:pt x="13794" y="2240"/>
                </a:cubicBezTo>
                <a:lnTo>
                  <a:pt x="13794" y="2225"/>
                </a:lnTo>
                <a:lnTo>
                  <a:pt x="13794" y="2225"/>
                </a:lnTo>
                <a:close/>
                <a:moveTo>
                  <a:pt x="13389" y="810"/>
                </a:moveTo>
                <a:lnTo>
                  <a:pt x="13389" y="810"/>
                </a:lnTo>
                <a:cubicBezTo>
                  <a:pt x="13336" y="780"/>
                  <a:pt x="13237" y="799"/>
                  <a:pt x="13194" y="840"/>
                </a:cubicBezTo>
                <a:cubicBezTo>
                  <a:pt x="13167" y="865"/>
                  <a:pt x="13156" y="904"/>
                  <a:pt x="13136" y="934"/>
                </a:cubicBezTo>
                <a:cubicBezTo>
                  <a:pt x="13116" y="965"/>
                  <a:pt x="13091" y="992"/>
                  <a:pt x="13082" y="1029"/>
                </a:cubicBezTo>
                <a:cubicBezTo>
                  <a:pt x="13067" y="1087"/>
                  <a:pt x="13086" y="1157"/>
                  <a:pt x="13084" y="1217"/>
                </a:cubicBezTo>
                <a:cubicBezTo>
                  <a:pt x="13082" y="1269"/>
                  <a:pt x="13091" y="1309"/>
                  <a:pt x="13099" y="1359"/>
                </a:cubicBezTo>
                <a:cubicBezTo>
                  <a:pt x="13109" y="1417"/>
                  <a:pt x="13096" y="1442"/>
                  <a:pt x="13161" y="1447"/>
                </a:cubicBezTo>
                <a:cubicBezTo>
                  <a:pt x="13197" y="1450"/>
                  <a:pt x="13206" y="1442"/>
                  <a:pt x="13241" y="1432"/>
                </a:cubicBezTo>
                <a:cubicBezTo>
                  <a:pt x="13276" y="1422"/>
                  <a:pt x="13301" y="1430"/>
                  <a:pt x="13312" y="1467"/>
                </a:cubicBezTo>
                <a:cubicBezTo>
                  <a:pt x="13329" y="1524"/>
                  <a:pt x="13307" y="1584"/>
                  <a:pt x="13374" y="1595"/>
                </a:cubicBezTo>
                <a:cubicBezTo>
                  <a:pt x="13466" y="1612"/>
                  <a:pt x="13532" y="1572"/>
                  <a:pt x="13619" y="1554"/>
                </a:cubicBezTo>
                <a:cubicBezTo>
                  <a:pt x="13663" y="1545"/>
                  <a:pt x="13699" y="1530"/>
                  <a:pt x="13741" y="1517"/>
                </a:cubicBezTo>
                <a:cubicBezTo>
                  <a:pt x="13764" y="1510"/>
                  <a:pt x="13769" y="1489"/>
                  <a:pt x="13811" y="1494"/>
                </a:cubicBezTo>
                <a:cubicBezTo>
                  <a:pt x="13821" y="1505"/>
                  <a:pt x="13806" y="1540"/>
                  <a:pt x="13811" y="1560"/>
                </a:cubicBezTo>
                <a:cubicBezTo>
                  <a:pt x="13816" y="1585"/>
                  <a:pt x="13836" y="1642"/>
                  <a:pt x="13851" y="1664"/>
                </a:cubicBezTo>
                <a:cubicBezTo>
                  <a:pt x="13881" y="1709"/>
                  <a:pt x="13963" y="1674"/>
                  <a:pt x="13999" y="1707"/>
                </a:cubicBezTo>
                <a:cubicBezTo>
                  <a:pt x="14023" y="1730"/>
                  <a:pt x="14006" y="1744"/>
                  <a:pt x="14049" y="1744"/>
                </a:cubicBezTo>
                <a:cubicBezTo>
                  <a:pt x="14086" y="1742"/>
                  <a:pt x="14124" y="1722"/>
                  <a:pt x="14143" y="1692"/>
                </a:cubicBezTo>
                <a:cubicBezTo>
                  <a:pt x="14154" y="1674"/>
                  <a:pt x="14154" y="1655"/>
                  <a:pt x="14164" y="1637"/>
                </a:cubicBezTo>
                <a:cubicBezTo>
                  <a:pt x="14181" y="1599"/>
                  <a:pt x="14194" y="1612"/>
                  <a:pt x="14229" y="1604"/>
                </a:cubicBezTo>
                <a:cubicBezTo>
                  <a:pt x="14298" y="1587"/>
                  <a:pt x="14319" y="1500"/>
                  <a:pt x="14276" y="1442"/>
                </a:cubicBezTo>
                <a:cubicBezTo>
                  <a:pt x="14264" y="1425"/>
                  <a:pt x="14238" y="1404"/>
                  <a:pt x="14218" y="1404"/>
                </a:cubicBezTo>
                <a:cubicBezTo>
                  <a:pt x="14184" y="1404"/>
                  <a:pt x="14168" y="1449"/>
                  <a:pt x="14136" y="1449"/>
                </a:cubicBezTo>
                <a:cubicBezTo>
                  <a:pt x="14086" y="1449"/>
                  <a:pt x="14093" y="1367"/>
                  <a:pt x="14051" y="1345"/>
                </a:cubicBezTo>
                <a:cubicBezTo>
                  <a:pt x="13999" y="1317"/>
                  <a:pt x="13969" y="1434"/>
                  <a:pt x="13908" y="1419"/>
                </a:cubicBezTo>
                <a:cubicBezTo>
                  <a:pt x="13836" y="1369"/>
                  <a:pt x="13926" y="1247"/>
                  <a:pt x="13959" y="1222"/>
                </a:cubicBezTo>
                <a:cubicBezTo>
                  <a:pt x="13989" y="1199"/>
                  <a:pt x="14046" y="1207"/>
                  <a:pt x="14076" y="1177"/>
                </a:cubicBezTo>
                <a:cubicBezTo>
                  <a:pt x="14099" y="1150"/>
                  <a:pt x="14099" y="1090"/>
                  <a:pt x="14084" y="1059"/>
                </a:cubicBezTo>
                <a:cubicBezTo>
                  <a:pt x="14049" y="987"/>
                  <a:pt x="13983" y="1037"/>
                  <a:pt x="13936" y="1065"/>
                </a:cubicBezTo>
                <a:cubicBezTo>
                  <a:pt x="13881" y="1100"/>
                  <a:pt x="13786" y="1149"/>
                  <a:pt x="13724" y="1107"/>
                </a:cubicBezTo>
                <a:cubicBezTo>
                  <a:pt x="13683" y="1077"/>
                  <a:pt x="13684" y="1040"/>
                  <a:pt x="13678" y="995"/>
                </a:cubicBezTo>
                <a:cubicBezTo>
                  <a:pt x="13673" y="962"/>
                  <a:pt x="13663" y="967"/>
                  <a:pt x="13629" y="947"/>
                </a:cubicBezTo>
                <a:cubicBezTo>
                  <a:pt x="13604" y="934"/>
                  <a:pt x="13592" y="912"/>
                  <a:pt x="13571" y="897"/>
                </a:cubicBezTo>
                <a:cubicBezTo>
                  <a:pt x="13521" y="867"/>
                  <a:pt x="13394" y="880"/>
                  <a:pt x="13382" y="804"/>
                </a:cubicBezTo>
                <a:moveTo>
                  <a:pt x="13634" y="624"/>
                </a:moveTo>
                <a:lnTo>
                  <a:pt x="13634" y="624"/>
                </a:lnTo>
                <a:cubicBezTo>
                  <a:pt x="13628" y="617"/>
                  <a:pt x="13606" y="587"/>
                  <a:pt x="13601" y="585"/>
                </a:cubicBezTo>
                <a:cubicBezTo>
                  <a:pt x="13572" y="577"/>
                  <a:pt x="13549" y="609"/>
                  <a:pt x="13532" y="627"/>
                </a:cubicBezTo>
                <a:cubicBezTo>
                  <a:pt x="13471" y="692"/>
                  <a:pt x="13502" y="739"/>
                  <a:pt x="13556" y="799"/>
                </a:cubicBezTo>
                <a:cubicBezTo>
                  <a:pt x="13574" y="819"/>
                  <a:pt x="13594" y="822"/>
                  <a:pt x="13621" y="830"/>
                </a:cubicBezTo>
                <a:cubicBezTo>
                  <a:pt x="13646" y="839"/>
                  <a:pt x="13659" y="854"/>
                  <a:pt x="13681" y="862"/>
                </a:cubicBezTo>
                <a:cubicBezTo>
                  <a:pt x="13711" y="874"/>
                  <a:pt x="13763" y="869"/>
                  <a:pt x="13791" y="855"/>
                </a:cubicBezTo>
                <a:cubicBezTo>
                  <a:pt x="13816" y="844"/>
                  <a:pt x="13839" y="822"/>
                  <a:pt x="13838" y="790"/>
                </a:cubicBezTo>
                <a:cubicBezTo>
                  <a:pt x="13834" y="765"/>
                  <a:pt x="13816" y="765"/>
                  <a:pt x="13809" y="745"/>
                </a:cubicBezTo>
                <a:cubicBezTo>
                  <a:pt x="13804" y="730"/>
                  <a:pt x="13814" y="712"/>
                  <a:pt x="13803" y="700"/>
                </a:cubicBezTo>
                <a:cubicBezTo>
                  <a:pt x="13788" y="684"/>
                  <a:pt x="13746" y="699"/>
                  <a:pt x="13728" y="692"/>
                </a:cubicBezTo>
                <a:cubicBezTo>
                  <a:pt x="13703" y="684"/>
                  <a:pt x="13723" y="650"/>
                  <a:pt x="13683" y="655"/>
                </a:cubicBezTo>
                <a:cubicBezTo>
                  <a:pt x="13683" y="655"/>
                  <a:pt x="13658" y="642"/>
                  <a:pt x="13634" y="624"/>
                </a:cubicBezTo>
                <a:close/>
                <a:moveTo>
                  <a:pt x="13813" y="133"/>
                </a:moveTo>
                <a:lnTo>
                  <a:pt x="13813" y="133"/>
                </a:lnTo>
                <a:cubicBezTo>
                  <a:pt x="13801" y="100"/>
                  <a:pt x="13869" y="58"/>
                  <a:pt x="13821" y="38"/>
                </a:cubicBezTo>
                <a:cubicBezTo>
                  <a:pt x="13733" y="0"/>
                  <a:pt x="13769" y="115"/>
                  <a:pt x="13708" y="130"/>
                </a:cubicBezTo>
                <a:cubicBezTo>
                  <a:pt x="13688" y="133"/>
                  <a:pt x="13574" y="110"/>
                  <a:pt x="13587" y="153"/>
                </a:cubicBezTo>
                <a:cubicBezTo>
                  <a:pt x="13602" y="200"/>
                  <a:pt x="13684" y="199"/>
                  <a:pt x="13708" y="245"/>
                </a:cubicBezTo>
                <a:cubicBezTo>
                  <a:pt x="13726" y="282"/>
                  <a:pt x="13724" y="345"/>
                  <a:pt x="13723" y="385"/>
                </a:cubicBezTo>
                <a:cubicBezTo>
                  <a:pt x="13781" y="409"/>
                  <a:pt x="13798" y="340"/>
                  <a:pt x="13848" y="315"/>
                </a:cubicBezTo>
                <a:cubicBezTo>
                  <a:pt x="13883" y="334"/>
                  <a:pt x="13893" y="355"/>
                  <a:pt x="13914" y="380"/>
                </a:cubicBezTo>
                <a:cubicBezTo>
                  <a:pt x="13934" y="405"/>
                  <a:pt x="13933" y="444"/>
                  <a:pt x="13953" y="465"/>
                </a:cubicBezTo>
                <a:cubicBezTo>
                  <a:pt x="14014" y="530"/>
                  <a:pt x="14049" y="379"/>
                  <a:pt x="14006" y="335"/>
                </a:cubicBezTo>
                <a:cubicBezTo>
                  <a:pt x="13991" y="320"/>
                  <a:pt x="13968" y="317"/>
                  <a:pt x="13951" y="302"/>
                </a:cubicBezTo>
                <a:cubicBezTo>
                  <a:pt x="13938" y="290"/>
                  <a:pt x="13934" y="272"/>
                  <a:pt x="13918" y="262"/>
                </a:cubicBezTo>
                <a:cubicBezTo>
                  <a:pt x="13889" y="244"/>
                  <a:pt x="13869" y="262"/>
                  <a:pt x="13853" y="229"/>
                </a:cubicBezTo>
                <a:cubicBezTo>
                  <a:pt x="13844" y="212"/>
                  <a:pt x="13854" y="194"/>
                  <a:pt x="13839" y="172"/>
                </a:cubicBezTo>
                <a:cubicBezTo>
                  <a:pt x="13824" y="152"/>
                  <a:pt x="13813" y="133"/>
                  <a:pt x="13813" y="133"/>
                </a:cubicBezTo>
                <a:close/>
                <a:moveTo>
                  <a:pt x="14109" y="470"/>
                </a:moveTo>
                <a:lnTo>
                  <a:pt x="14109" y="470"/>
                </a:lnTo>
                <a:cubicBezTo>
                  <a:pt x="14083" y="507"/>
                  <a:pt x="14116" y="559"/>
                  <a:pt x="14123" y="592"/>
                </a:cubicBezTo>
                <a:cubicBezTo>
                  <a:pt x="14131" y="637"/>
                  <a:pt x="14094" y="665"/>
                  <a:pt x="14053" y="669"/>
                </a:cubicBezTo>
                <a:cubicBezTo>
                  <a:pt x="14044" y="694"/>
                  <a:pt x="14114" y="759"/>
                  <a:pt x="14138" y="774"/>
                </a:cubicBezTo>
                <a:cubicBezTo>
                  <a:pt x="14166" y="794"/>
                  <a:pt x="14218" y="802"/>
                  <a:pt x="14251" y="794"/>
                </a:cubicBezTo>
                <a:cubicBezTo>
                  <a:pt x="14271" y="745"/>
                  <a:pt x="14203" y="735"/>
                  <a:pt x="14193" y="700"/>
                </a:cubicBezTo>
                <a:cubicBezTo>
                  <a:pt x="14188" y="684"/>
                  <a:pt x="14204" y="667"/>
                  <a:pt x="14204" y="650"/>
                </a:cubicBezTo>
                <a:cubicBezTo>
                  <a:pt x="14206" y="627"/>
                  <a:pt x="14184" y="612"/>
                  <a:pt x="14186" y="590"/>
                </a:cubicBezTo>
                <a:cubicBezTo>
                  <a:pt x="14189" y="534"/>
                  <a:pt x="14274" y="442"/>
                  <a:pt x="14159" y="427"/>
                </a:cubicBezTo>
                <a:cubicBezTo>
                  <a:pt x="14159" y="427"/>
                  <a:pt x="14128" y="444"/>
                  <a:pt x="14109" y="470"/>
                </a:cubicBezTo>
                <a:close/>
                <a:moveTo>
                  <a:pt x="14278" y="564"/>
                </a:moveTo>
                <a:lnTo>
                  <a:pt x="14278" y="564"/>
                </a:lnTo>
                <a:cubicBezTo>
                  <a:pt x="14314" y="540"/>
                  <a:pt x="14318" y="497"/>
                  <a:pt x="14331" y="460"/>
                </a:cubicBezTo>
                <a:cubicBezTo>
                  <a:pt x="14354" y="395"/>
                  <a:pt x="14388" y="429"/>
                  <a:pt x="14434" y="405"/>
                </a:cubicBezTo>
                <a:cubicBezTo>
                  <a:pt x="14503" y="367"/>
                  <a:pt x="14411" y="284"/>
                  <a:pt x="14476" y="245"/>
                </a:cubicBezTo>
                <a:cubicBezTo>
                  <a:pt x="14489" y="237"/>
                  <a:pt x="14523" y="232"/>
                  <a:pt x="14538" y="239"/>
                </a:cubicBezTo>
                <a:cubicBezTo>
                  <a:pt x="14566" y="254"/>
                  <a:pt x="14554" y="252"/>
                  <a:pt x="14544" y="277"/>
                </a:cubicBezTo>
                <a:cubicBezTo>
                  <a:pt x="14536" y="300"/>
                  <a:pt x="14506" y="340"/>
                  <a:pt x="14548" y="345"/>
                </a:cubicBezTo>
                <a:cubicBezTo>
                  <a:pt x="14578" y="349"/>
                  <a:pt x="14611" y="307"/>
                  <a:pt x="14628" y="289"/>
                </a:cubicBezTo>
                <a:cubicBezTo>
                  <a:pt x="14658" y="255"/>
                  <a:pt x="14666" y="242"/>
                  <a:pt x="14711" y="239"/>
                </a:cubicBezTo>
                <a:cubicBezTo>
                  <a:pt x="14739" y="235"/>
                  <a:pt x="14773" y="230"/>
                  <a:pt x="14801" y="235"/>
                </a:cubicBezTo>
                <a:cubicBezTo>
                  <a:pt x="14836" y="242"/>
                  <a:pt x="14866" y="275"/>
                  <a:pt x="14844" y="314"/>
                </a:cubicBezTo>
                <a:cubicBezTo>
                  <a:pt x="14828" y="345"/>
                  <a:pt x="14748" y="347"/>
                  <a:pt x="14711" y="364"/>
                </a:cubicBezTo>
                <a:cubicBezTo>
                  <a:pt x="14653" y="392"/>
                  <a:pt x="14641" y="420"/>
                  <a:pt x="14609" y="465"/>
                </a:cubicBezTo>
                <a:cubicBezTo>
                  <a:pt x="14558" y="539"/>
                  <a:pt x="14474" y="474"/>
                  <a:pt x="14413" y="514"/>
                </a:cubicBezTo>
                <a:cubicBezTo>
                  <a:pt x="14351" y="554"/>
                  <a:pt x="14343" y="659"/>
                  <a:pt x="14253" y="627"/>
                </a:cubicBezTo>
                <a:cubicBezTo>
                  <a:pt x="14239" y="595"/>
                  <a:pt x="14278" y="564"/>
                  <a:pt x="14278" y="564"/>
                </a:cubicBezTo>
                <a:close/>
                <a:moveTo>
                  <a:pt x="14493" y="837"/>
                </a:moveTo>
                <a:lnTo>
                  <a:pt x="14493" y="837"/>
                </a:lnTo>
                <a:cubicBezTo>
                  <a:pt x="14484" y="827"/>
                  <a:pt x="14478" y="817"/>
                  <a:pt x="14469" y="807"/>
                </a:cubicBezTo>
                <a:cubicBezTo>
                  <a:pt x="14446" y="772"/>
                  <a:pt x="14426" y="725"/>
                  <a:pt x="14389" y="704"/>
                </a:cubicBezTo>
                <a:cubicBezTo>
                  <a:pt x="14301" y="717"/>
                  <a:pt x="14304" y="762"/>
                  <a:pt x="14349" y="825"/>
                </a:cubicBezTo>
                <a:cubicBezTo>
                  <a:pt x="14388" y="877"/>
                  <a:pt x="14398" y="889"/>
                  <a:pt x="14339" y="924"/>
                </a:cubicBezTo>
                <a:cubicBezTo>
                  <a:pt x="14306" y="942"/>
                  <a:pt x="14271" y="990"/>
                  <a:pt x="14313" y="1025"/>
                </a:cubicBezTo>
                <a:cubicBezTo>
                  <a:pt x="14358" y="1064"/>
                  <a:pt x="14428" y="1032"/>
                  <a:pt x="14421" y="972"/>
                </a:cubicBezTo>
                <a:cubicBezTo>
                  <a:pt x="14446" y="999"/>
                  <a:pt x="14444" y="1022"/>
                  <a:pt x="14483" y="1034"/>
                </a:cubicBezTo>
                <a:cubicBezTo>
                  <a:pt x="14521" y="1045"/>
                  <a:pt x="14623" y="1039"/>
                  <a:pt x="14618" y="982"/>
                </a:cubicBezTo>
                <a:cubicBezTo>
                  <a:pt x="14614" y="939"/>
                  <a:pt x="14546" y="912"/>
                  <a:pt x="14523" y="882"/>
                </a:cubicBezTo>
                <a:cubicBezTo>
                  <a:pt x="14511" y="867"/>
                  <a:pt x="14493" y="837"/>
                  <a:pt x="14493" y="837"/>
                </a:cubicBezTo>
                <a:close/>
                <a:moveTo>
                  <a:pt x="15808" y="6056"/>
                </a:moveTo>
                <a:lnTo>
                  <a:pt x="15808" y="6056"/>
                </a:lnTo>
                <a:cubicBezTo>
                  <a:pt x="15866" y="6051"/>
                  <a:pt x="15861" y="6146"/>
                  <a:pt x="15868" y="6183"/>
                </a:cubicBezTo>
                <a:cubicBezTo>
                  <a:pt x="15875" y="6224"/>
                  <a:pt x="15871" y="6251"/>
                  <a:pt x="15849" y="6288"/>
                </a:cubicBezTo>
                <a:cubicBezTo>
                  <a:pt x="15823" y="6334"/>
                  <a:pt x="15813" y="6343"/>
                  <a:pt x="15858" y="6376"/>
                </a:cubicBezTo>
                <a:cubicBezTo>
                  <a:pt x="15906" y="6411"/>
                  <a:pt x="15973" y="6456"/>
                  <a:pt x="15988" y="6521"/>
                </a:cubicBezTo>
                <a:cubicBezTo>
                  <a:pt x="15995" y="6548"/>
                  <a:pt x="16001" y="6616"/>
                  <a:pt x="15996" y="6645"/>
                </a:cubicBezTo>
                <a:cubicBezTo>
                  <a:pt x="15991" y="6678"/>
                  <a:pt x="15961" y="6698"/>
                  <a:pt x="15936" y="6720"/>
                </a:cubicBezTo>
                <a:cubicBezTo>
                  <a:pt x="15890" y="6763"/>
                  <a:pt x="15851" y="6813"/>
                  <a:pt x="15809" y="6861"/>
                </a:cubicBezTo>
                <a:cubicBezTo>
                  <a:pt x="15743" y="6938"/>
                  <a:pt x="15706" y="7028"/>
                  <a:pt x="15646" y="7105"/>
                </a:cubicBezTo>
                <a:cubicBezTo>
                  <a:pt x="15593" y="7175"/>
                  <a:pt x="15521" y="7243"/>
                  <a:pt x="15493" y="7328"/>
                </a:cubicBezTo>
                <a:cubicBezTo>
                  <a:pt x="15456" y="7433"/>
                  <a:pt x="15416" y="7525"/>
                  <a:pt x="15413" y="7638"/>
                </a:cubicBezTo>
                <a:cubicBezTo>
                  <a:pt x="15411" y="7713"/>
                  <a:pt x="15424" y="7775"/>
                  <a:pt x="15401" y="7851"/>
                </a:cubicBezTo>
                <a:cubicBezTo>
                  <a:pt x="15389" y="7890"/>
                  <a:pt x="15368" y="7918"/>
                  <a:pt x="15346" y="7951"/>
                </a:cubicBezTo>
                <a:cubicBezTo>
                  <a:pt x="15319" y="7996"/>
                  <a:pt x="15304" y="8050"/>
                  <a:pt x="15279" y="8096"/>
                </a:cubicBezTo>
                <a:cubicBezTo>
                  <a:pt x="15254" y="8146"/>
                  <a:pt x="15229" y="8193"/>
                  <a:pt x="15209" y="8245"/>
                </a:cubicBezTo>
                <a:cubicBezTo>
                  <a:pt x="15189" y="8296"/>
                  <a:pt x="15188" y="8346"/>
                  <a:pt x="15179" y="8400"/>
                </a:cubicBezTo>
                <a:cubicBezTo>
                  <a:pt x="15168" y="8466"/>
                  <a:pt x="15189" y="8541"/>
                  <a:pt x="15163" y="8605"/>
                </a:cubicBezTo>
                <a:cubicBezTo>
                  <a:pt x="15139" y="8666"/>
                  <a:pt x="15059" y="8705"/>
                  <a:pt x="15023" y="8760"/>
                </a:cubicBezTo>
                <a:cubicBezTo>
                  <a:pt x="15001" y="8793"/>
                  <a:pt x="14996" y="8832"/>
                  <a:pt x="14968" y="8862"/>
                </a:cubicBezTo>
                <a:cubicBezTo>
                  <a:pt x="14924" y="8910"/>
                  <a:pt x="14873" y="8922"/>
                  <a:pt x="14823" y="8958"/>
                </a:cubicBezTo>
                <a:cubicBezTo>
                  <a:pt x="14823" y="8958"/>
                  <a:pt x="14753" y="9017"/>
                  <a:pt x="14744" y="9042"/>
                </a:cubicBezTo>
                <a:cubicBezTo>
                  <a:pt x="14734" y="9078"/>
                  <a:pt x="14713" y="9102"/>
                  <a:pt x="14688" y="9130"/>
                </a:cubicBezTo>
                <a:cubicBezTo>
                  <a:pt x="14661" y="9160"/>
                  <a:pt x="14663" y="9158"/>
                  <a:pt x="14629" y="9153"/>
                </a:cubicBezTo>
                <a:cubicBezTo>
                  <a:pt x="14618" y="9152"/>
                  <a:pt x="14588" y="9127"/>
                  <a:pt x="14574" y="9142"/>
                </a:cubicBezTo>
                <a:cubicBezTo>
                  <a:pt x="14561" y="9160"/>
                  <a:pt x="14601" y="9173"/>
                  <a:pt x="14608" y="9177"/>
                </a:cubicBezTo>
                <a:cubicBezTo>
                  <a:pt x="14631" y="9188"/>
                  <a:pt x="14741" y="9205"/>
                  <a:pt x="14728" y="9250"/>
                </a:cubicBezTo>
                <a:cubicBezTo>
                  <a:pt x="14724" y="9263"/>
                  <a:pt x="14663" y="9287"/>
                  <a:pt x="14649" y="9295"/>
                </a:cubicBezTo>
                <a:cubicBezTo>
                  <a:pt x="14629" y="9310"/>
                  <a:pt x="14616" y="9318"/>
                  <a:pt x="14611" y="9343"/>
                </a:cubicBezTo>
                <a:cubicBezTo>
                  <a:pt x="14609" y="9355"/>
                  <a:pt x="14621" y="9367"/>
                  <a:pt x="14619" y="9377"/>
                </a:cubicBezTo>
                <a:cubicBezTo>
                  <a:pt x="14618" y="9385"/>
                  <a:pt x="14606" y="9403"/>
                  <a:pt x="14606" y="9408"/>
                </a:cubicBezTo>
                <a:cubicBezTo>
                  <a:pt x="14609" y="9437"/>
                  <a:pt x="14599" y="9412"/>
                  <a:pt x="14619" y="9438"/>
                </a:cubicBezTo>
                <a:cubicBezTo>
                  <a:pt x="14628" y="9452"/>
                  <a:pt x="14656" y="9463"/>
                  <a:pt x="14659" y="9480"/>
                </a:cubicBezTo>
                <a:cubicBezTo>
                  <a:pt x="14664" y="9500"/>
                  <a:pt x="14636" y="9532"/>
                  <a:pt x="14628" y="9548"/>
                </a:cubicBezTo>
                <a:cubicBezTo>
                  <a:pt x="14598" y="9608"/>
                  <a:pt x="14554" y="9660"/>
                  <a:pt x="14494" y="9692"/>
                </a:cubicBezTo>
                <a:cubicBezTo>
                  <a:pt x="14469" y="9705"/>
                  <a:pt x="14444" y="9717"/>
                  <a:pt x="14416" y="9720"/>
                </a:cubicBezTo>
                <a:cubicBezTo>
                  <a:pt x="14379" y="9725"/>
                  <a:pt x="14359" y="9713"/>
                  <a:pt x="14334" y="9748"/>
                </a:cubicBezTo>
                <a:cubicBezTo>
                  <a:pt x="14319" y="9770"/>
                  <a:pt x="14323" y="9793"/>
                  <a:pt x="14311" y="9817"/>
                </a:cubicBezTo>
                <a:cubicBezTo>
                  <a:pt x="14296" y="9852"/>
                  <a:pt x="14271" y="9860"/>
                  <a:pt x="14239" y="9880"/>
                </a:cubicBezTo>
                <a:cubicBezTo>
                  <a:pt x="14213" y="9898"/>
                  <a:pt x="14169" y="9980"/>
                  <a:pt x="14138" y="9980"/>
                </a:cubicBezTo>
                <a:cubicBezTo>
                  <a:pt x="14111" y="9978"/>
                  <a:pt x="14093" y="9945"/>
                  <a:pt x="14064" y="9938"/>
                </a:cubicBezTo>
                <a:cubicBezTo>
                  <a:pt x="14044" y="9935"/>
                  <a:pt x="14011" y="9935"/>
                  <a:pt x="13991" y="9938"/>
                </a:cubicBezTo>
                <a:cubicBezTo>
                  <a:pt x="13949" y="9942"/>
                  <a:pt x="13909" y="9957"/>
                  <a:pt x="13873" y="9975"/>
                </a:cubicBezTo>
                <a:cubicBezTo>
                  <a:pt x="13818" y="10002"/>
                  <a:pt x="13771" y="10000"/>
                  <a:pt x="13713" y="10017"/>
                </a:cubicBezTo>
                <a:cubicBezTo>
                  <a:pt x="13631" y="10040"/>
                  <a:pt x="13501" y="10043"/>
                  <a:pt x="13434" y="10100"/>
                </a:cubicBezTo>
                <a:cubicBezTo>
                  <a:pt x="13381" y="10145"/>
                  <a:pt x="13376" y="10215"/>
                  <a:pt x="13307" y="10253"/>
                </a:cubicBezTo>
                <a:cubicBezTo>
                  <a:pt x="13279" y="10268"/>
                  <a:pt x="13224" y="10270"/>
                  <a:pt x="13211" y="10303"/>
                </a:cubicBezTo>
                <a:cubicBezTo>
                  <a:pt x="13246" y="10357"/>
                  <a:pt x="13357" y="10283"/>
                  <a:pt x="13399" y="10272"/>
                </a:cubicBezTo>
                <a:cubicBezTo>
                  <a:pt x="13442" y="10257"/>
                  <a:pt x="13481" y="10245"/>
                  <a:pt x="13517" y="10220"/>
                </a:cubicBezTo>
                <a:cubicBezTo>
                  <a:pt x="13556" y="10193"/>
                  <a:pt x="13581" y="10173"/>
                  <a:pt x="13622" y="10158"/>
                </a:cubicBezTo>
                <a:cubicBezTo>
                  <a:pt x="13693" y="10133"/>
                  <a:pt x="13763" y="10115"/>
                  <a:pt x="13831" y="10092"/>
                </a:cubicBezTo>
                <a:cubicBezTo>
                  <a:pt x="13851" y="10085"/>
                  <a:pt x="13896" y="10078"/>
                  <a:pt x="13913" y="10065"/>
                </a:cubicBezTo>
                <a:cubicBezTo>
                  <a:pt x="13934" y="10048"/>
                  <a:pt x="13928" y="10020"/>
                  <a:pt x="13941" y="10003"/>
                </a:cubicBezTo>
                <a:cubicBezTo>
                  <a:pt x="13954" y="9985"/>
                  <a:pt x="13936" y="9990"/>
                  <a:pt x="13968" y="9987"/>
                </a:cubicBezTo>
                <a:cubicBezTo>
                  <a:pt x="13989" y="9983"/>
                  <a:pt x="14051" y="9998"/>
                  <a:pt x="14066" y="10017"/>
                </a:cubicBezTo>
                <a:cubicBezTo>
                  <a:pt x="14088" y="10045"/>
                  <a:pt x="14083" y="10108"/>
                  <a:pt x="14074" y="10142"/>
                </a:cubicBezTo>
                <a:cubicBezTo>
                  <a:pt x="14069" y="10162"/>
                  <a:pt x="14061" y="10172"/>
                  <a:pt x="14059" y="10195"/>
                </a:cubicBezTo>
                <a:cubicBezTo>
                  <a:pt x="14058" y="10215"/>
                  <a:pt x="14068" y="10222"/>
                  <a:pt x="14054" y="10238"/>
                </a:cubicBezTo>
                <a:cubicBezTo>
                  <a:pt x="14028" y="10272"/>
                  <a:pt x="13959" y="10265"/>
                  <a:pt x="13924" y="10300"/>
                </a:cubicBezTo>
                <a:cubicBezTo>
                  <a:pt x="13966" y="10292"/>
                  <a:pt x="14028" y="10300"/>
                  <a:pt x="14061" y="10328"/>
                </a:cubicBezTo>
                <a:cubicBezTo>
                  <a:pt x="14089" y="10353"/>
                  <a:pt x="14096" y="10385"/>
                  <a:pt x="14133" y="10403"/>
                </a:cubicBezTo>
                <a:cubicBezTo>
                  <a:pt x="14151" y="10413"/>
                  <a:pt x="14174" y="10422"/>
                  <a:pt x="14194" y="10430"/>
                </a:cubicBezTo>
                <a:cubicBezTo>
                  <a:pt x="14229" y="10445"/>
                  <a:pt x="14274" y="10445"/>
                  <a:pt x="14306" y="10463"/>
                </a:cubicBezTo>
                <a:cubicBezTo>
                  <a:pt x="14363" y="10498"/>
                  <a:pt x="14416" y="10573"/>
                  <a:pt x="14359" y="10625"/>
                </a:cubicBezTo>
                <a:cubicBezTo>
                  <a:pt x="14311" y="10670"/>
                  <a:pt x="14249" y="10700"/>
                  <a:pt x="14194" y="10737"/>
                </a:cubicBezTo>
                <a:cubicBezTo>
                  <a:pt x="14151" y="10765"/>
                  <a:pt x="14143" y="10792"/>
                  <a:pt x="14109" y="10827"/>
                </a:cubicBezTo>
                <a:cubicBezTo>
                  <a:pt x="14058" y="10879"/>
                  <a:pt x="13964" y="10857"/>
                  <a:pt x="13898" y="10845"/>
                </a:cubicBezTo>
                <a:cubicBezTo>
                  <a:pt x="13864" y="10838"/>
                  <a:pt x="13838" y="10812"/>
                  <a:pt x="13804" y="10812"/>
                </a:cubicBezTo>
                <a:cubicBezTo>
                  <a:pt x="13766" y="10810"/>
                  <a:pt x="13721" y="10838"/>
                  <a:pt x="13689" y="10859"/>
                </a:cubicBezTo>
                <a:cubicBezTo>
                  <a:pt x="13654" y="10880"/>
                  <a:pt x="13624" y="10910"/>
                  <a:pt x="13592" y="10937"/>
                </a:cubicBezTo>
                <a:cubicBezTo>
                  <a:pt x="13574" y="10950"/>
                  <a:pt x="13532" y="10985"/>
                  <a:pt x="13532" y="10985"/>
                </a:cubicBezTo>
                <a:cubicBezTo>
                  <a:pt x="13504" y="11010"/>
                  <a:pt x="13459" y="11055"/>
                  <a:pt x="13444" y="11089"/>
                </a:cubicBezTo>
                <a:cubicBezTo>
                  <a:pt x="13434" y="11114"/>
                  <a:pt x="13447" y="11135"/>
                  <a:pt x="13442" y="11159"/>
                </a:cubicBezTo>
                <a:cubicBezTo>
                  <a:pt x="13439" y="11182"/>
                  <a:pt x="13414" y="11215"/>
                  <a:pt x="13399" y="11232"/>
                </a:cubicBezTo>
                <a:cubicBezTo>
                  <a:pt x="13372" y="11264"/>
                  <a:pt x="13356" y="11260"/>
                  <a:pt x="13317" y="11270"/>
                </a:cubicBezTo>
                <a:cubicBezTo>
                  <a:pt x="13281" y="11279"/>
                  <a:pt x="13246" y="11299"/>
                  <a:pt x="13212" y="11315"/>
                </a:cubicBezTo>
                <a:cubicBezTo>
                  <a:pt x="13136" y="11352"/>
                  <a:pt x="13079" y="11402"/>
                  <a:pt x="12989" y="11404"/>
                </a:cubicBezTo>
                <a:cubicBezTo>
                  <a:pt x="12954" y="11404"/>
                  <a:pt x="12869" y="11410"/>
                  <a:pt x="12836" y="11389"/>
                </a:cubicBezTo>
                <a:cubicBezTo>
                  <a:pt x="12814" y="11374"/>
                  <a:pt x="12812" y="11349"/>
                  <a:pt x="12782" y="11335"/>
                </a:cubicBezTo>
                <a:cubicBezTo>
                  <a:pt x="12747" y="11320"/>
                  <a:pt x="12711" y="11319"/>
                  <a:pt x="12674" y="11317"/>
                </a:cubicBezTo>
                <a:cubicBezTo>
                  <a:pt x="12634" y="11314"/>
                  <a:pt x="12604" y="11315"/>
                  <a:pt x="12566" y="11325"/>
                </a:cubicBezTo>
                <a:cubicBezTo>
                  <a:pt x="12546" y="11330"/>
                  <a:pt x="12507" y="11349"/>
                  <a:pt x="12486" y="11347"/>
                </a:cubicBezTo>
                <a:cubicBezTo>
                  <a:pt x="12471" y="11347"/>
                  <a:pt x="12457" y="11340"/>
                  <a:pt x="12454" y="11325"/>
                </a:cubicBezTo>
                <a:cubicBezTo>
                  <a:pt x="12427" y="11315"/>
                  <a:pt x="12396" y="11330"/>
                  <a:pt x="12364" y="11329"/>
                </a:cubicBezTo>
                <a:cubicBezTo>
                  <a:pt x="12312" y="11327"/>
                  <a:pt x="12262" y="11317"/>
                  <a:pt x="12211" y="11317"/>
                </a:cubicBezTo>
                <a:cubicBezTo>
                  <a:pt x="12197" y="11317"/>
                  <a:pt x="12162" y="11310"/>
                  <a:pt x="12151" y="11319"/>
                </a:cubicBezTo>
                <a:cubicBezTo>
                  <a:pt x="12094" y="11360"/>
                  <a:pt x="12224" y="11392"/>
                  <a:pt x="12249" y="11400"/>
                </a:cubicBezTo>
                <a:cubicBezTo>
                  <a:pt x="12297" y="11412"/>
                  <a:pt x="12339" y="11402"/>
                  <a:pt x="12386" y="11407"/>
                </a:cubicBezTo>
                <a:cubicBezTo>
                  <a:pt x="12424" y="11410"/>
                  <a:pt x="12464" y="11429"/>
                  <a:pt x="12501" y="11440"/>
                </a:cubicBezTo>
                <a:cubicBezTo>
                  <a:pt x="12571" y="11464"/>
                  <a:pt x="12647" y="11462"/>
                  <a:pt x="12714" y="11487"/>
                </a:cubicBezTo>
                <a:cubicBezTo>
                  <a:pt x="12779" y="11512"/>
                  <a:pt x="12834" y="11512"/>
                  <a:pt x="12904" y="11519"/>
                </a:cubicBezTo>
                <a:cubicBezTo>
                  <a:pt x="12956" y="11522"/>
                  <a:pt x="13004" y="11542"/>
                  <a:pt x="13056" y="11540"/>
                </a:cubicBezTo>
                <a:cubicBezTo>
                  <a:pt x="13101" y="11539"/>
                  <a:pt x="13136" y="11517"/>
                  <a:pt x="13177" y="11514"/>
                </a:cubicBezTo>
                <a:cubicBezTo>
                  <a:pt x="13234" y="11509"/>
                  <a:pt x="13294" y="11530"/>
                  <a:pt x="13352" y="11529"/>
                </a:cubicBezTo>
                <a:cubicBezTo>
                  <a:pt x="13386" y="11529"/>
                  <a:pt x="13406" y="11512"/>
                  <a:pt x="13432" y="11520"/>
                </a:cubicBezTo>
                <a:cubicBezTo>
                  <a:pt x="13461" y="11530"/>
                  <a:pt x="13484" y="11567"/>
                  <a:pt x="13509" y="11582"/>
                </a:cubicBezTo>
                <a:cubicBezTo>
                  <a:pt x="13542" y="11602"/>
                  <a:pt x="13566" y="11609"/>
                  <a:pt x="13607" y="11600"/>
                </a:cubicBezTo>
                <a:cubicBezTo>
                  <a:pt x="13679" y="11585"/>
                  <a:pt x="13748" y="11559"/>
                  <a:pt x="13818" y="11540"/>
                </a:cubicBezTo>
                <a:cubicBezTo>
                  <a:pt x="13846" y="11532"/>
                  <a:pt x="13881" y="11524"/>
                  <a:pt x="13908" y="11509"/>
                </a:cubicBezTo>
                <a:cubicBezTo>
                  <a:pt x="13948" y="11487"/>
                  <a:pt x="14024" y="11439"/>
                  <a:pt x="14034" y="11394"/>
                </a:cubicBezTo>
                <a:cubicBezTo>
                  <a:pt x="14044" y="11349"/>
                  <a:pt x="14029" y="11359"/>
                  <a:pt x="14073" y="11334"/>
                </a:cubicBezTo>
                <a:cubicBezTo>
                  <a:pt x="14091" y="11324"/>
                  <a:pt x="14109" y="11327"/>
                  <a:pt x="14099" y="11300"/>
                </a:cubicBezTo>
                <a:cubicBezTo>
                  <a:pt x="14198" y="11240"/>
                  <a:pt x="14341" y="11269"/>
                  <a:pt x="14419" y="11352"/>
                </a:cubicBezTo>
                <a:cubicBezTo>
                  <a:pt x="14448" y="11382"/>
                  <a:pt x="14461" y="11422"/>
                  <a:pt x="14484" y="11454"/>
                </a:cubicBezTo>
                <a:cubicBezTo>
                  <a:pt x="14524" y="11505"/>
                  <a:pt x="14583" y="11484"/>
                  <a:pt x="14641" y="11492"/>
                </a:cubicBezTo>
                <a:cubicBezTo>
                  <a:pt x="14703" y="11502"/>
                  <a:pt x="14706" y="11530"/>
                  <a:pt x="14739" y="11572"/>
                </a:cubicBezTo>
                <a:cubicBezTo>
                  <a:pt x="14784" y="11627"/>
                  <a:pt x="14858" y="11640"/>
                  <a:pt x="14921" y="11659"/>
                </a:cubicBezTo>
                <a:cubicBezTo>
                  <a:pt x="14961" y="11669"/>
                  <a:pt x="14994" y="11692"/>
                  <a:pt x="15031" y="11707"/>
                </a:cubicBezTo>
                <a:cubicBezTo>
                  <a:pt x="15083" y="11725"/>
                  <a:pt x="15113" y="11702"/>
                  <a:pt x="15163" y="11705"/>
                </a:cubicBezTo>
                <a:cubicBezTo>
                  <a:pt x="15243" y="11710"/>
                  <a:pt x="15318" y="11774"/>
                  <a:pt x="15341" y="11845"/>
                </a:cubicBezTo>
                <a:cubicBezTo>
                  <a:pt x="15364" y="11915"/>
                  <a:pt x="15403" y="11977"/>
                  <a:pt x="15419" y="12049"/>
                </a:cubicBezTo>
                <a:cubicBezTo>
                  <a:pt x="15429" y="12097"/>
                  <a:pt x="15459" y="12144"/>
                  <a:pt x="15493" y="12177"/>
                </a:cubicBezTo>
                <a:cubicBezTo>
                  <a:pt x="15511" y="12195"/>
                  <a:pt x="15538" y="12207"/>
                  <a:pt x="15553" y="12229"/>
                </a:cubicBezTo>
                <a:cubicBezTo>
                  <a:pt x="15563" y="12244"/>
                  <a:pt x="15563" y="12260"/>
                  <a:pt x="15573" y="12275"/>
                </a:cubicBezTo>
                <a:cubicBezTo>
                  <a:pt x="15599" y="12312"/>
                  <a:pt x="15644" y="12329"/>
                  <a:pt x="15666" y="12372"/>
                </a:cubicBezTo>
                <a:cubicBezTo>
                  <a:pt x="15684" y="12412"/>
                  <a:pt x="15701" y="12459"/>
                  <a:pt x="15718" y="12500"/>
                </a:cubicBezTo>
                <a:cubicBezTo>
                  <a:pt x="15734" y="12545"/>
                  <a:pt x="15744" y="12579"/>
                  <a:pt x="15784" y="12607"/>
                </a:cubicBezTo>
                <a:cubicBezTo>
                  <a:pt x="15818" y="12630"/>
                  <a:pt x="15856" y="12642"/>
                  <a:pt x="15890" y="12667"/>
                </a:cubicBezTo>
                <a:cubicBezTo>
                  <a:pt x="15938" y="12702"/>
                  <a:pt x="15990" y="12715"/>
                  <a:pt x="16048" y="12739"/>
                </a:cubicBezTo>
                <a:cubicBezTo>
                  <a:pt x="16081" y="12752"/>
                  <a:pt x="16105" y="12765"/>
                  <a:pt x="16130" y="12790"/>
                </a:cubicBezTo>
                <a:cubicBezTo>
                  <a:pt x="16158" y="12817"/>
                  <a:pt x="16183" y="12865"/>
                  <a:pt x="16221" y="12880"/>
                </a:cubicBezTo>
                <a:lnTo>
                  <a:pt x="16206" y="12854"/>
                </a:lnTo>
                <a:cubicBezTo>
                  <a:pt x="16236" y="12860"/>
                  <a:pt x="16253" y="12949"/>
                  <a:pt x="16256" y="12979"/>
                </a:cubicBezTo>
                <a:cubicBezTo>
                  <a:pt x="16260" y="12999"/>
                  <a:pt x="16258" y="13011"/>
                  <a:pt x="16258" y="13031"/>
                </a:cubicBezTo>
                <a:cubicBezTo>
                  <a:pt x="16260" y="13071"/>
                  <a:pt x="16290" y="13094"/>
                  <a:pt x="16301" y="13129"/>
                </a:cubicBezTo>
                <a:cubicBezTo>
                  <a:pt x="16333" y="13229"/>
                  <a:pt x="16293" y="13316"/>
                  <a:pt x="16298" y="13419"/>
                </a:cubicBezTo>
                <a:cubicBezTo>
                  <a:pt x="16300" y="13449"/>
                  <a:pt x="16290" y="13492"/>
                  <a:pt x="16296" y="13521"/>
                </a:cubicBezTo>
                <a:cubicBezTo>
                  <a:pt x="16308" y="13571"/>
                  <a:pt x="16345" y="13591"/>
                  <a:pt x="16340" y="13647"/>
                </a:cubicBezTo>
                <a:cubicBezTo>
                  <a:pt x="16331" y="13732"/>
                  <a:pt x="16331" y="13807"/>
                  <a:pt x="16343" y="13894"/>
                </a:cubicBezTo>
                <a:cubicBezTo>
                  <a:pt x="16348" y="13934"/>
                  <a:pt x="16351" y="13964"/>
                  <a:pt x="16371" y="13999"/>
                </a:cubicBezTo>
                <a:cubicBezTo>
                  <a:pt x="16395" y="14037"/>
                  <a:pt x="16401" y="14051"/>
                  <a:pt x="16398" y="14094"/>
                </a:cubicBezTo>
                <a:cubicBezTo>
                  <a:pt x="16396" y="14142"/>
                  <a:pt x="16406" y="14181"/>
                  <a:pt x="16423" y="14226"/>
                </a:cubicBezTo>
                <a:cubicBezTo>
                  <a:pt x="16440" y="14274"/>
                  <a:pt x="16441" y="14324"/>
                  <a:pt x="16456" y="14374"/>
                </a:cubicBezTo>
                <a:cubicBezTo>
                  <a:pt x="16466" y="14411"/>
                  <a:pt x="16473" y="14431"/>
                  <a:pt x="16495" y="14464"/>
                </a:cubicBezTo>
                <a:cubicBezTo>
                  <a:pt x="16530" y="14516"/>
                  <a:pt x="16543" y="14577"/>
                  <a:pt x="16563" y="14636"/>
                </a:cubicBezTo>
                <a:cubicBezTo>
                  <a:pt x="16576" y="14672"/>
                  <a:pt x="16606" y="14701"/>
                  <a:pt x="16616" y="14739"/>
                </a:cubicBezTo>
                <a:cubicBezTo>
                  <a:pt x="16625" y="14781"/>
                  <a:pt x="16630" y="14824"/>
                  <a:pt x="16638" y="14867"/>
                </a:cubicBezTo>
                <a:cubicBezTo>
                  <a:pt x="16653" y="14952"/>
                  <a:pt x="16673" y="15021"/>
                  <a:pt x="16718" y="15097"/>
                </a:cubicBezTo>
                <a:cubicBezTo>
                  <a:pt x="16751" y="15154"/>
                  <a:pt x="16828" y="15256"/>
                  <a:pt x="16825" y="15321"/>
                </a:cubicBezTo>
                <a:cubicBezTo>
                  <a:pt x="16821" y="15323"/>
                  <a:pt x="16818" y="15321"/>
                  <a:pt x="16815" y="15318"/>
                </a:cubicBezTo>
                <a:lnTo>
                  <a:pt x="16811" y="15324"/>
                </a:lnTo>
                <a:cubicBezTo>
                  <a:pt x="16830" y="15328"/>
                  <a:pt x="16881" y="15431"/>
                  <a:pt x="16888" y="15459"/>
                </a:cubicBezTo>
                <a:cubicBezTo>
                  <a:pt x="16898" y="15499"/>
                  <a:pt x="16898" y="15518"/>
                  <a:pt x="16928" y="15553"/>
                </a:cubicBezTo>
                <a:cubicBezTo>
                  <a:pt x="16948" y="15576"/>
                  <a:pt x="16975" y="15599"/>
                  <a:pt x="16988" y="15628"/>
                </a:cubicBezTo>
                <a:cubicBezTo>
                  <a:pt x="17000" y="15656"/>
                  <a:pt x="17006" y="15688"/>
                  <a:pt x="17018" y="15714"/>
                </a:cubicBezTo>
                <a:cubicBezTo>
                  <a:pt x="17028" y="15739"/>
                  <a:pt x="17041" y="15749"/>
                  <a:pt x="17053" y="15769"/>
                </a:cubicBezTo>
                <a:cubicBezTo>
                  <a:pt x="17071" y="15801"/>
                  <a:pt x="17098" y="15923"/>
                  <a:pt x="17121" y="15814"/>
                </a:cubicBezTo>
                <a:cubicBezTo>
                  <a:pt x="17156" y="15823"/>
                  <a:pt x="17190" y="15836"/>
                  <a:pt x="17225" y="15843"/>
                </a:cubicBezTo>
                <a:cubicBezTo>
                  <a:pt x="17253" y="15849"/>
                  <a:pt x="17366" y="15848"/>
                  <a:pt x="17381" y="15883"/>
                </a:cubicBezTo>
                <a:cubicBezTo>
                  <a:pt x="17396" y="15918"/>
                  <a:pt x="17363" y="15921"/>
                  <a:pt x="17418" y="15949"/>
                </a:cubicBezTo>
                <a:cubicBezTo>
                  <a:pt x="17461" y="15971"/>
                  <a:pt x="17500" y="16003"/>
                  <a:pt x="17546" y="16018"/>
                </a:cubicBezTo>
                <a:cubicBezTo>
                  <a:pt x="17601" y="16034"/>
                  <a:pt x="17656" y="16036"/>
                  <a:pt x="17713" y="16041"/>
                </a:cubicBezTo>
                <a:cubicBezTo>
                  <a:pt x="17845" y="16053"/>
                  <a:pt x="17928" y="16189"/>
                  <a:pt x="18036" y="16254"/>
                </a:cubicBezTo>
                <a:cubicBezTo>
                  <a:pt x="18100" y="16293"/>
                  <a:pt x="18160" y="16326"/>
                  <a:pt x="18192" y="16398"/>
                </a:cubicBezTo>
                <a:cubicBezTo>
                  <a:pt x="18210" y="16444"/>
                  <a:pt x="18213" y="16476"/>
                  <a:pt x="18252" y="16513"/>
                </a:cubicBezTo>
                <a:cubicBezTo>
                  <a:pt x="18283" y="16544"/>
                  <a:pt x="18320" y="16578"/>
                  <a:pt x="18347" y="16616"/>
                </a:cubicBezTo>
                <a:cubicBezTo>
                  <a:pt x="18408" y="16708"/>
                  <a:pt x="18433" y="16816"/>
                  <a:pt x="18492" y="16909"/>
                </a:cubicBezTo>
                <a:cubicBezTo>
                  <a:pt x="18520" y="16954"/>
                  <a:pt x="18553" y="16996"/>
                  <a:pt x="18578" y="17044"/>
                </a:cubicBezTo>
                <a:cubicBezTo>
                  <a:pt x="18588" y="17064"/>
                  <a:pt x="18612" y="17124"/>
                  <a:pt x="18645" y="17103"/>
                </a:cubicBezTo>
                <a:cubicBezTo>
                  <a:pt x="18685" y="17169"/>
                  <a:pt x="18748" y="17234"/>
                  <a:pt x="18798" y="17295"/>
                </a:cubicBezTo>
                <a:cubicBezTo>
                  <a:pt x="18828" y="17330"/>
                  <a:pt x="18852" y="17345"/>
                  <a:pt x="18895" y="17363"/>
                </a:cubicBezTo>
                <a:cubicBezTo>
                  <a:pt x="18932" y="17380"/>
                  <a:pt x="18977" y="17390"/>
                  <a:pt x="19010" y="17415"/>
                </a:cubicBezTo>
                <a:cubicBezTo>
                  <a:pt x="19023" y="17426"/>
                  <a:pt x="19030" y="17443"/>
                  <a:pt x="19048" y="17450"/>
                </a:cubicBezTo>
                <a:cubicBezTo>
                  <a:pt x="19035" y="17465"/>
                  <a:pt x="19015" y="17491"/>
                  <a:pt x="18995" y="17501"/>
                </a:cubicBezTo>
                <a:cubicBezTo>
                  <a:pt x="18960" y="17520"/>
                  <a:pt x="18937" y="17515"/>
                  <a:pt x="18903" y="17543"/>
                </a:cubicBezTo>
                <a:cubicBezTo>
                  <a:pt x="18863" y="17576"/>
                  <a:pt x="18833" y="17608"/>
                  <a:pt x="18830" y="17663"/>
                </a:cubicBezTo>
                <a:cubicBezTo>
                  <a:pt x="18825" y="17733"/>
                  <a:pt x="18822" y="17820"/>
                  <a:pt x="18842" y="17888"/>
                </a:cubicBezTo>
                <a:cubicBezTo>
                  <a:pt x="18865" y="17965"/>
                  <a:pt x="18892" y="18043"/>
                  <a:pt x="18918" y="18121"/>
                </a:cubicBezTo>
                <a:cubicBezTo>
                  <a:pt x="18957" y="18238"/>
                  <a:pt x="19040" y="18328"/>
                  <a:pt x="19102" y="18433"/>
                </a:cubicBezTo>
                <a:cubicBezTo>
                  <a:pt x="19152" y="18520"/>
                  <a:pt x="19210" y="18578"/>
                  <a:pt x="19280" y="18648"/>
                </a:cubicBezTo>
                <a:cubicBezTo>
                  <a:pt x="19297" y="18663"/>
                  <a:pt x="19308" y="18681"/>
                  <a:pt x="19325" y="18696"/>
                </a:cubicBezTo>
                <a:cubicBezTo>
                  <a:pt x="19348" y="18721"/>
                  <a:pt x="19403" y="18740"/>
                  <a:pt x="19417" y="18765"/>
                </a:cubicBezTo>
                <a:lnTo>
                  <a:pt x="19395" y="18746"/>
                </a:lnTo>
                <a:cubicBezTo>
                  <a:pt x="19435" y="18743"/>
                  <a:pt x="19455" y="18846"/>
                  <a:pt x="19458" y="18878"/>
                </a:cubicBezTo>
                <a:cubicBezTo>
                  <a:pt x="19463" y="18930"/>
                  <a:pt x="19512" y="19010"/>
                  <a:pt x="19468" y="19051"/>
                </a:cubicBezTo>
                <a:cubicBezTo>
                  <a:pt x="19425" y="19095"/>
                  <a:pt x="19307" y="19076"/>
                  <a:pt x="19255" y="19071"/>
                </a:cubicBezTo>
                <a:cubicBezTo>
                  <a:pt x="19185" y="19063"/>
                  <a:pt x="19120" y="19050"/>
                  <a:pt x="19077" y="18995"/>
                </a:cubicBezTo>
                <a:cubicBezTo>
                  <a:pt x="19050" y="18961"/>
                  <a:pt x="19008" y="18925"/>
                  <a:pt x="18970" y="18905"/>
                </a:cubicBezTo>
                <a:cubicBezTo>
                  <a:pt x="18930" y="18883"/>
                  <a:pt x="18887" y="18895"/>
                  <a:pt x="18863" y="18848"/>
                </a:cubicBezTo>
                <a:cubicBezTo>
                  <a:pt x="18847" y="18813"/>
                  <a:pt x="18863" y="18776"/>
                  <a:pt x="18853" y="18741"/>
                </a:cubicBezTo>
                <a:cubicBezTo>
                  <a:pt x="18840" y="18696"/>
                  <a:pt x="18792" y="18666"/>
                  <a:pt x="18750" y="18651"/>
                </a:cubicBezTo>
                <a:cubicBezTo>
                  <a:pt x="18688" y="18630"/>
                  <a:pt x="18617" y="18625"/>
                  <a:pt x="18552" y="18630"/>
                </a:cubicBezTo>
                <a:cubicBezTo>
                  <a:pt x="18498" y="18635"/>
                  <a:pt x="18470" y="18668"/>
                  <a:pt x="18420" y="18683"/>
                </a:cubicBezTo>
                <a:cubicBezTo>
                  <a:pt x="18317" y="18713"/>
                  <a:pt x="18230" y="18718"/>
                  <a:pt x="18127" y="18693"/>
                </a:cubicBezTo>
                <a:cubicBezTo>
                  <a:pt x="18045" y="18671"/>
                  <a:pt x="17906" y="18688"/>
                  <a:pt x="17885" y="18788"/>
                </a:cubicBezTo>
                <a:cubicBezTo>
                  <a:pt x="17941" y="18785"/>
                  <a:pt x="17993" y="18751"/>
                  <a:pt x="18051" y="18743"/>
                </a:cubicBezTo>
                <a:cubicBezTo>
                  <a:pt x="18120" y="18735"/>
                  <a:pt x="18168" y="18770"/>
                  <a:pt x="18232" y="18788"/>
                </a:cubicBezTo>
                <a:cubicBezTo>
                  <a:pt x="18370" y="18830"/>
                  <a:pt x="18487" y="18716"/>
                  <a:pt x="18623" y="18738"/>
                </a:cubicBezTo>
                <a:cubicBezTo>
                  <a:pt x="18683" y="18748"/>
                  <a:pt x="18737" y="18795"/>
                  <a:pt x="18772" y="18840"/>
                </a:cubicBezTo>
                <a:cubicBezTo>
                  <a:pt x="18810" y="18890"/>
                  <a:pt x="18835" y="18921"/>
                  <a:pt x="18890" y="18958"/>
                </a:cubicBezTo>
                <a:cubicBezTo>
                  <a:pt x="18937" y="18990"/>
                  <a:pt x="19002" y="19038"/>
                  <a:pt x="19032" y="19086"/>
                </a:cubicBezTo>
                <a:cubicBezTo>
                  <a:pt x="19063" y="19138"/>
                  <a:pt x="19058" y="19176"/>
                  <a:pt x="19120" y="19206"/>
                </a:cubicBezTo>
                <a:cubicBezTo>
                  <a:pt x="19182" y="19236"/>
                  <a:pt x="19243" y="19268"/>
                  <a:pt x="19307" y="19293"/>
                </a:cubicBezTo>
                <a:cubicBezTo>
                  <a:pt x="19348" y="19310"/>
                  <a:pt x="19355" y="19313"/>
                  <a:pt x="19380" y="19348"/>
                </a:cubicBezTo>
                <a:cubicBezTo>
                  <a:pt x="19432" y="19425"/>
                  <a:pt x="19557" y="19450"/>
                  <a:pt x="19575" y="19545"/>
                </a:cubicBezTo>
                <a:cubicBezTo>
                  <a:pt x="19587" y="19607"/>
                  <a:pt x="19577" y="19673"/>
                  <a:pt x="19598" y="19733"/>
                </a:cubicBezTo>
                <a:cubicBezTo>
                  <a:pt x="19617" y="19792"/>
                  <a:pt x="19675" y="19827"/>
                  <a:pt x="19698" y="19885"/>
                </a:cubicBezTo>
                <a:cubicBezTo>
                  <a:pt x="19720" y="19935"/>
                  <a:pt x="19720" y="19990"/>
                  <a:pt x="19740" y="20040"/>
                </a:cubicBezTo>
                <a:cubicBezTo>
                  <a:pt x="19763" y="20097"/>
                  <a:pt x="19817" y="20132"/>
                  <a:pt x="19838" y="20188"/>
                </a:cubicBezTo>
                <a:cubicBezTo>
                  <a:pt x="19857" y="20243"/>
                  <a:pt x="19845" y="20302"/>
                  <a:pt x="19837" y="20355"/>
                </a:cubicBezTo>
                <a:cubicBezTo>
                  <a:pt x="19825" y="20415"/>
                  <a:pt x="19818" y="20473"/>
                  <a:pt x="19812" y="20533"/>
                </a:cubicBezTo>
                <a:cubicBezTo>
                  <a:pt x="19787" y="20708"/>
                  <a:pt x="19603" y="20747"/>
                  <a:pt x="19488" y="20838"/>
                </a:cubicBezTo>
                <a:cubicBezTo>
                  <a:pt x="19405" y="20905"/>
                  <a:pt x="19342" y="21090"/>
                  <a:pt x="19383" y="21178"/>
                </a:cubicBezTo>
                <a:cubicBezTo>
                  <a:pt x="19413" y="21242"/>
                  <a:pt x="19413" y="21257"/>
                  <a:pt x="19492" y="21258"/>
                </a:cubicBezTo>
                <a:lnTo>
                  <a:pt x="19530" y="21287"/>
                </a:lnTo>
                <a:cubicBezTo>
                  <a:pt x="19582" y="21350"/>
                  <a:pt x="19587" y="21412"/>
                  <a:pt x="19685" y="21423"/>
                </a:cubicBezTo>
                <a:cubicBezTo>
                  <a:pt x="19738" y="21430"/>
                  <a:pt x="19790" y="21425"/>
                  <a:pt x="19843" y="21415"/>
                </a:cubicBezTo>
                <a:cubicBezTo>
                  <a:pt x="19870" y="21410"/>
                  <a:pt x="19913" y="21408"/>
                  <a:pt x="19935" y="21393"/>
                </a:cubicBezTo>
                <a:cubicBezTo>
                  <a:pt x="19963" y="21373"/>
                  <a:pt x="19955" y="21338"/>
                  <a:pt x="19972" y="21307"/>
                </a:cubicBezTo>
                <a:cubicBezTo>
                  <a:pt x="19988" y="21273"/>
                  <a:pt x="20028" y="21253"/>
                  <a:pt x="20043" y="21220"/>
                </a:cubicBezTo>
                <a:cubicBezTo>
                  <a:pt x="20053" y="21193"/>
                  <a:pt x="20040" y="21165"/>
                  <a:pt x="20045" y="21138"/>
                </a:cubicBezTo>
                <a:cubicBezTo>
                  <a:pt x="20050" y="21110"/>
                  <a:pt x="20075" y="21100"/>
                  <a:pt x="20088" y="21073"/>
                </a:cubicBezTo>
                <a:cubicBezTo>
                  <a:pt x="20108" y="21033"/>
                  <a:pt x="20103" y="20983"/>
                  <a:pt x="20152" y="20957"/>
                </a:cubicBezTo>
                <a:cubicBezTo>
                  <a:pt x="20173" y="20945"/>
                  <a:pt x="20208" y="20948"/>
                  <a:pt x="20233" y="20950"/>
                </a:cubicBezTo>
                <a:cubicBezTo>
                  <a:pt x="20345" y="20955"/>
                  <a:pt x="20457" y="20938"/>
                  <a:pt x="20569" y="20943"/>
                </a:cubicBezTo>
                <a:cubicBezTo>
                  <a:pt x="20667" y="20947"/>
                  <a:pt x="20767" y="20947"/>
                  <a:pt x="20865" y="20953"/>
                </a:cubicBezTo>
                <a:cubicBezTo>
                  <a:pt x="20914" y="20957"/>
                  <a:pt x="20957" y="20972"/>
                  <a:pt x="21005" y="20977"/>
                </a:cubicBezTo>
                <a:cubicBezTo>
                  <a:pt x="21065" y="20985"/>
                  <a:pt x="21130" y="20987"/>
                  <a:pt x="21189" y="21007"/>
                </a:cubicBezTo>
                <a:cubicBezTo>
                  <a:pt x="21220" y="21017"/>
                  <a:pt x="21252" y="21037"/>
                  <a:pt x="21282" y="21052"/>
                </a:cubicBezTo>
                <a:cubicBezTo>
                  <a:pt x="21339" y="21085"/>
                  <a:pt x="21389" y="21093"/>
                  <a:pt x="21459" y="21095"/>
                </a:cubicBezTo>
                <a:cubicBezTo>
                  <a:pt x="21599" y="21098"/>
                  <a:pt x="21692" y="21167"/>
                  <a:pt x="21810" y="21233"/>
                </a:cubicBezTo>
                <a:cubicBezTo>
                  <a:pt x="21895" y="21282"/>
                  <a:pt x="21950" y="21343"/>
                  <a:pt x="22015" y="21415"/>
                </a:cubicBezTo>
                <a:cubicBezTo>
                  <a:pt x="22085" y="21490"/>
                  <a:pt x="22174" y="21544"/>
                  <a:pt x="22242" y="21624"/>
                </a:cubicBezTo>
                <a:cubicBezTo>
                  <a:pt x="22305" y="21700"/>
                  <a:pt x="22302" y="21769"/>
                  <a:pt x="22297" y="21865"/>
                </a:cubicBezTo>
                <a:cubicBezTo>
                  <a:pt x="22295" y="21910"/>
                  <a:pt x="22292" y="21950"/>
                  <a:pt x="22300" y="21994"/>
                </a:cubicBezTo>
                <a:cubicBezTo>
                  <a:pt x="22310" y="22037"/>
                  <a:pt x="22317" y="22072"/>
                  <a:pt x="22315" y="22117"/>
                </a:cubicBezTo>
                <a:cubicBezTo>
                  <a:pt x="22314" y="22159"/>
                  <a:pt x="22302" y="22199"/>
                  <a:pt x="22300" y="22239"/>
                </a:cubicBezTo>
                <a:cubicBezTo>
                  <a:pt x="22299" y="22282"/>
                  <a:pt x="22319" y="22320"/>
                  <a:pt x="22329" y="22362"/>
                </a:cubicBezTo>
                <a:cubicBezTo>
                  <a:pt x="22337" y="22397"/>
                  <a:pt x="22344" y="22430"/>
                  <a:pt x="22340" y="22467"/>
                </a:cubicBezTo>
                <a:cubicBezTo>
                  <a:pt x="22339" y="22489"/>
                  <a:pt x="22344" y="22544"/>
                  <a:pt x="22330" y="22555"/>
                </a:cubicBezTo>
                <a:lnTo>
                  <a:pt x="22327" y="22569"/>
                </a:lnTo>
                <a:cubicBezTo>
                  <a:pt x="22332" y="22599"/>
                  <a:pt x="22339" y="22665"/>
                  <a:pt x="22332" y="22699"/>
                </a:cubicBezTo>
                <a:cubicBezTo>
                  <a:pt x="22325" y="22744"/>
                  <a:pt x="22299" y="22790"/>
                  <a:pt x="22274" y="22830"/>
                </a:cubicBezTo>
                <a:cubicBezTo>
                  <a:pt x="22252" y="22865"/>
                  <a:pt x="22239" y="22899"/>
                  <a:pt x="22222" y="22937"/>
                </a:cubicBezTo>
                <a:cubicBezTo>
                  <a:pt x="22207" y="22969"/>
                  <a:pt x="22175" y="22999"/>
                  <a:pt x="22167" y="23034"/>
                </a:cubicBezTo>
                <a:cubicBezTo>
                  <a:pt x="22159" y="23070"/>
                  <a:pt x="22164" y="23107"/>
                  <a:pt x="22154" y="23145"/>
                </a:cubicBezTo>
                <a:cubicBezTo>
                  <a:pt x="22140" y="23209"/>
                  <a:pt x="22125" y="23260"/>
                  <a:pt x="22129" y="23325"/>
                </a:cubicBezTo>
                <a:cubicBezTo>
                  <a:pt x="22132" y="23384"/>
                  <a:pt x="22125" y="23425"/>
                  <a:pt x="22104" y="23479"/>
                </a:cubicBezTo>
                <a:cubicBezTo>
                  <a:pt x="22077" y="23542"/>
                  <a:pt x="22074" y="23612"/>
                  <a:pt x="22042" y="23672"/>
                </a:cubicBezTo>
                <a:cubicBezTo>
                  <a:pt x="21997" y="23657"/>
                  <a:pt x="21907" y="23704"/>
                  <a:pt x="21869" y="23729"/>
                </a:cubicBezTo>
                <a:cubicBezTo>
                  <a:pt x="21852" y="23739"/>
                  <a:pt x="21814" y="23759"/>
                  <a:pt x="21802" y="23774"/>
                </a:cubicBezTo>
                <a:cubicBezTo>
                  <a:pt x="21794" y="23786"/>
                  <a:pt x="21797" y="23797"/>
                  <a:pt x="21792" y="23812"/>
                </a:cubicBezTo>
                <a:cubicBezTo>
                  <a:pt x="21775" y="23869"/>
                  <a:pt x="21722" y="23904"/>
                  <a:pt x="21685" y="23952"/>
                </a:cubicBezTo>
                <a:cubicBezTo>
                  <a:pt x="21664" y="23981"/>
                  <a:pt x="21629" y="24024"/>
                  <a:pt x="21590" y="24027"/>
                </a:cubicBezTo>
                <a:cubicBezTo>
                  <a:pt x="21584" y="24031"/>
                  <a:pt x="21487" y="24022"/>
                  <a:pt x="21435" y="24017"/>
                </a:cubicBezTo>
                <a:cubicBezTo>
                  <a:pt x="21402" y="24014"/>
                  <a:pt x="21370" y="24006"/>
                  <a:pt x="21337" y="24002"/>
                </a:cubicBezTo>
                <a:cubicBezTo>
                  <a:pt x="21329" y="23952"/>
                  <a:pt x="21274" y="23996"/>
                  <a:pt x="21252" y="24006"/>
                </a:cubicBezTo>
                <a:cubicBezTo>
                  <a:pt x="21225" y="24017"/>
                  <a:pt x="21194" y="24022"/>
                  <a:pt x="21164" y="24021"/>
                </a:cubicBezTo>
                <a:cubicBezTo>
                  <a:pt x="21244" y="24039"/>
                  <a:pt x="21330" y="24032"/>
                  <a:pt x="21410" y="24051"/>
                </a:cubicBezTo>
                <a:cubicBezTo>
                  <a:pt x="21442" y="24057"/>
                  <a:pt x="21532" y="24087"/>
                  <a:pt x="21529" y="24131"/>
                </a:cubicBezTo>
                <a:cubicBezTo>
                  <a:pt x="21559" y="24144"/>
                  <a:pt x="21600" y="24139"/>
                  <a:pt x="21584" y="24191"/>
                </a:cubicBezTo>
                <a:cubicBezTo>
                  <a:pt x="21577" y="24214"/>
                  <a:pt x="21534" y="24251"/>
                  <a:pt x="21517" y="24271"/>
                </a:cubicBezTo>
                <a:cubicBezTo>
                  <a:pt x="21497" y="24296"/>
                  <a:pt x="21472" y="24317"/>
                  <a:pt x="21449" y="24339"/>
                </a:cubicBezTo>
                <a:cubicBezTo>
                  <a:pt x="21432" y="24354"/>
                  <a:pt x="21420" y="24359"/>
                  <a:pt x="21414" y="24382"/>
                </a:cubicBezTo>
                <a:cubicBezTo>
                  <a:pt x="21409" y="24402"/>
                  <a:pt x="21417" y="24419"/>
                  <a:pt x="21407" y="24437"/>
                </a:cubicBezTo>
                <a:cubicBezTo>
                  <a:pt x="21387" y="24469"/>
                  <a:pt x="21315" y="24499"/>
                  <a:pt x="21282" y="24509"/>
                </a:cubicBezTo>
                <a:cubicBezTo>
                  <a:pt x="21227" y="24527"/>
                  <a:pt x="21155" y="24559"/>
                  <a:pt x="21102" y="24534"/>
                </a:cubicBezTo>
                <a:cubicBezTo>
                  <a:pt x="21054" y="24511"/>
                  <a:pt x="21065" y="24444"/>
                  <a:pt x="21014" y="24421"/>
                </a:cubicBezTo>
                <a:cubicBezTo>
                  <a:pt x="21029" y="24456"/>
                  <a:pt x="21042" y="24492"/>
                  <a:pt x="21059" y="24529"/>
                </a:cubicBezTo>
                <a:cubicBezTo>
                  <a:pt x="21020" y="24517"/>
                  <a:pt x="20985" y="24529"/>
                  <a:pt x="20950" y="24546"/>
                </a:cubicBezTo>
                <a:cubicBezTo>
                  <a:pt x="20929" y="24516"/>
                  <a:pt x="20885" y="24551"/>
                  <a:pt x="20862" y="24564"/>
                </a:cubicBezTo>
                <a:cubicBezTo>
                  <a:pt x="20837" y="24577"/>
                  <a:pt x="20805" y="24579"/>
                  <a:pt x="20784" y="24601"/>
                </a:cubicBezTo>
                <a:cubicBezTo>
                  <a:pt x="20762" y="24619"/>
                  <a:pt x="20754" y="24642"/>
                  <a:pt x="20722" y="24652"/>
                </a:cubicBezTo>
                <a:cubicBezTo>
                  <a:pt x="20690" y="24662"/>
                  <a:pt x="20645" y="24661"/>
                  <a:pt x="20610" y="24667"/>
                </a:cubicBezTo>
                <a:cubicBezTo>
                  <a:pt x="20567" y="24674"/>
                  <a:pt x="20505" y="24677"/>
                  <a:pt x="20469" y="24701"/>
                </a:cubicBezTo>
                <a:cubicBezTo>
                  <a:pt x="20519" y="24751"/>
                  <a:pt x="20690" y="24699"/>
                  <a:pt x="20750" y="24681"/>
                </a:cubicBezTo>
                <a:cubicBezTo>
                  <a:pt x="20789" y="24667"/>
                  <a:pt x="20854" y="24617"/>
                  <a:pt x="20890" y="24639"/>
                </a:cubicBezTo>
                <a:cubicBezTo>
                  <a:pt x="20892" y="24717"/>
                  <a:pt x="20894" y="24799"/>
                  <a:pt x="20895" y="24877"/>
                </a:cubicBezTo>
                <a:cubicBezTo>
                  <a:pt x="20895" y="24922"/>
                  <a:pt x="20897" y="24962"/>
                  <a:pt x="20854" y="24982"/>
                </a:cubicBezTo>
                <a:cubicBezTo>
                  <a:pt x="20890" y="25006"/>
                  <a:pt x="20920" y="24969"/>
                  <a:pt x="20934" y="25024"/>
                </a:cubicBezTo>
                <a:cubicBezTo>
                  <a:pt x="20947" y="25072"/>
                  <a:pt x="20922" y="25079"/>
                  <a:pt x="20889" y="25101"/>
                </a:cubicBezTo>
                <a:cubicBezTo>
                  <a:pt x="20842" y="25129"/>
                  <a:pt x="20797" y="25154"/>
                  <a:pt x="20760" y="25192"/>
                </a:cubicBezTo>
                <a:cubicBezTo>
                  <a:pt x="20710" y="25242"/>
                  <a:pt x="20632" y="25277"/>
                  <a:pt x="20560" y="25269"/>
                </a:cubicBezTo>
                <a:cubicBezTo>
                  <a:pt x="20507" y="25264"/>
                  <a:pt x="20460" y="25237"/>
                  <a:pt x="20410" y="25219"/>
                </a:cubicBezTo>
                <a:cubicBezTo>
                  <a:pt x="20362" y="25201"/>
                  <a:pt x="20364" y="25209"/>
                  <a:pt x="20328" y="25237"/>
                </a:cubicBezTo>
                <a:cubicBezTo>
                  <a:pt x="20283" y="25271"/>
                  <a:pt x="20222" y="25297"/>
                  <a:pt x="20167" y="25311"/>
                </a:cubicBezTo>
                <a:cubicBezTo>
                  <a:pt x="20120" y="25322"/>
                  <a:pt x="20060" y="25309"/>
                  <a:pt x="20015" y="25326"/>
                </a:cubicBezTo>
                <a:cubicBezTo>
                  <a:pt x="19993" y="25334"/>
                  <a:pt x="19967" y="25352"/>
                  <a:pt x="19988" y="25381"/>
                </a:cubicBezTo>
                <a:cubicBezTo>
                  <a:pt x="20012" y="25411"/>
                  <a:pt x="20167" y="25389"/>
                  <a:pt x="20205" y="25392"/>
                </a:cubicBezTo>
                <a:cubicBezTo>
                  <a:pt x="20258" y="25397"/>
                  <a:pt x="20312" y="25394"/>
                  <a:pt x="20364" y="25404"/>
                </a:cubicBezTo>
                <a:cubicBezTo>
                  <a:pt x="20400" y="25412"/>
                  <a:pt x="20414" y="25431"/>
                  <a:pt x="20445" y="25444"/>
                </a:cubicBezTo>
                <a:cubicBezTo>
                  <a:pt x="20459" y="25451"/>
                  <a:pt x="20484" y="25447"/>
                  <a:pt x="20495" y="25454"/>
                </a:cubicBezTo>
                <a:cubicBezTo>
                  <a:pt x="20505" y="25461"/>
                  <a:pt x="20505" y="25469"/>
                  <a:pt x="20512" y="25474"/>
                </a:cubicBezTo>
                <a:cubicBezTo>
                  <a:pt x="20540" y="25496"/>
                  <a:pt x="20559" y="25506"/>
                  <a:pt x="20595" y="25512"/>
                </a:cubicBezTo>
                <a:cubicBezTo>
                  <a:pt x="20627" y="25519"/>
                  <a:pt x="20642" y="25529"/>
                  <a:pt x="20670" y="25541"/>
                </a:cubicBezTo>
                <a:cubicBezTo>
                  <a:pt x="20702" y="25554"/>
                  <a:pt x="20737" y="25551"/>
                  <a:pt x="20769" y="25567"/>
                </a:cubicBezTo>
                <a:cubicBezTo>
                  <a:pt x="20852" y="25607"/>
                  <a:pt x="20900" y="25699"/>
                  <a:pt x="20887" y="25789"/>
                </a:cubicBezTo>
                <a:lnTo>
                  <a:pt x="20894" y="25798"/>
                </a:lnTo>
                <a:cubicBezTo>
                  <a:pt x="20917" y="25779"/>
                  <a:pt x="20955" y="25796"/>
                  <a:pt x="20982" y="25789"/>
                </a:cubicBezTo>
                <a:cubicBezTo>
                  <a:pt x="21020" y="25781"/>
                  <a:pt x="21060" y="25768"/>
                  <a:pt x="21092" y="25747"/>
                </a:cubicBezTo>
                <a:cubicBezTo>
                  <a:pt x="21102" y="25741"/>
                  <a:pt x="21094" y="25736"/>
                  <a:pt x="21112" y="25727"/>
                </a:cubicBezTo>
                <a:cubicBezTo>
                  <a:pt x="21124" y="25722"/>
                  <a:pt x="21144" y="25727"/>
                  <a:pt x="21155" y="25727"/>
                </a:cubicBezTo>
                <a:cubicBezTo>
                  <a:pt x="21194" y="25727"/>
                  <a:pt x="21237" y="25734"/>
                  <a:pt x="21274" y="25724"/>
                </a:cubicBezTo>
                <a:cubicBezTo>
                  <a:pt x="21290" y="25719"/>
                  <a:pt x="21305" y="25706"/>
                  <a:pt x="21325" y="25701"/>
                </a:cubicBezTo>
                <a:cubicBezTo>
                  <a:pt x="21350" y="25696"/>
                  <a:pt x="21370" y="25702"/>
                  <a:pt x="21395" y="25702"/>
                </a:cubicBezTo>
                <a:cubicBezTo>
                  <a:pt x="21439" y="25701"/>
                  <a:pt x="21479" y="25689"/>
                  <a:pt x="21525" y="25691"/>
                </a:cubicBezTo>
                <a:cubicBezTo>
                  <a:pt x="21564" y="25692"/>
                  <a:pt x="21599" y="25694"/>
                  <a:pt x="21637" y="25687"/>
                </a:cubicBezTo>
                <a:cubicBezTo>
                  <a:pt x="21657" y="25684"/>
                  <a:pt x="21679" y="25684"/>
                  <a:pt x="21695" y="25679"/>
                </a:cubicBezTo>
                <a:cubicBezTo>
                  <a:pt x="21709" y="25677"/>
                  <a:pt x="21719" y="25666"/>
                  <a:pt x="21730" y="25664"/>
                </a:cubicBezTo>
                <a:cubicBezTo>
                  <a:pt x="21790" y="25656"/>
                  <a:pt x="21799" y="25741"/>
                  <a:pt x="21797" y="25786"/>
                </a:cubicBezTo>
                <a:cubicBezTo>
                  <a:pt x="21794" y="25836"/>
                  <a:pt x="21752" y="25881"/>
                  <a:pt x="21749" y="25929"/>
                </a:cubicBezTo>
                <a:cubicBezTo>
                  <a:pt x="21745" y="25966"/>
                  <a:pt x="21729" y="25996"/>
                  <a:pt x="21725" y="26034"/>
                </a:cubicBezTo>
                <a:cubicBezTo>
                  <a:pt x="21722" y="26079"/>
                  <a:pt x="21737" y="26124"/>
                  <a:pt x="21742" y="26169"/>
                </a:cubicBezTo>
                <a:cubicBezTo>
                  <a:pt x="21749" y="26238"/>
                  <a:pt x="21747" y="26286"/>
                  <a:pt x="21724" y="26353"/>
                </a:cubicBezTo>
                <a:cubicBezTo>
                  <a:pt x="21697" y="26436"/>
                  <a:pt x="21680" y="26464"/>
                  <a:pt x="21592" y="26459"/>
                </a:cubicBezTo>
                <a:cubicBezTo>
                  <a:pt x="21529" y="26458"/>
                  <a:pt x="21439" y="26441"/>
                  <a:pt x="21385" y="26484"/>
                </a:cubicBezTo>
                <a:cubicBezTo>
                  <a:pt x="21360" y="26504"/>
                  <a:pt x="21345" y="26539"/>
                  <a:pt x="21319" y="26556"/>
                </a:cubicBezTo>
                <a:cubicBezTo>
                  <a:pt x="21285" y="26576"/>
                  <a:pt x="21244" y="26576"/>
                  <a:pt x="21207" y="26583"/>
                </a:cubicBezTo>
                <a:cubicBezTo>
                  <a:pt x="21089" y="26606"/>
                  <a:pt x="21044" y="26699"/>
                  <a:pt x="20970" y="26778"/>
                </a:cubicBezTo>
                <a:cubicBezTo>
                  <a:pt x="20930" y="26821"/>
                  <a:pt x="20934" y="26868"/>
                  <a:pt x="20957" y="26916"/>
                </a:cubicBezTo>
                <a:cubicBezTo>
                  <a:pt x="20975" y="26954"/>
                  <a:pt x="21044" y="27041"/>
                  <a:pt x="20992" y="27068"/>
                </a:cubicBezTo>
                <a:cubicBezTo>
                  <a:pt x="20969" y="27079"/>
                  <a:pt x="20929" y="27064"/>
                  <a:pt x="20905" y="27063"/>
                </a:cubicBezTo>
                <a:cubicBezTo>
                  <a:pt x="20867" y="27061"/>
                  <a:pt x="20827" y="27061"/>
                  <a:pt x="20789" y="27059"/>
                </a:cubicBezTo>
                <a:cubicBezTo>
                  <a:pt x="20710" y="27054"/>
                  <a:pt x="20650" y="27034"/>
                  <a:pt x="20570" y="27064"/>
                </a:cubicBezTo>
                <a:cubicBezTo>
                  <a:pt x="20507" y="27089"/>
                  <a:pt x="20457" y="27129"/>
                  <a:pt x="20397" y="27159"/>
                </a:cubicBezTo>
                <a:cubicBezTo>
                  <a:pt x="20332" y="27194"/>
                  <a:pt x="20253" y="27226"/>
                  <a:pt x="20183" y="27248"/>
                </a:cubicBezTo>
                <a:cubicBezTo>
                  <a:pt x="20148" y="27259"/>
                  <a:pt x="20113" y="27256"/>
                  <a:pt x="20078" y="27266"/>
                </a:cubicBezTo>
                <a:cubicBezTo>
                  <a:pt x="20043" y="27274"/>
                  <a:pt x="20008" y="27298"/>
                  <a:pt x="19975" y="27311"/>
                </a:cubicBezTo>
                <a:cubicBezTo>
                  <a:pt x="19917" y="27334"/>
                  <a:pt x="19853" y="27353"/>
                  <a:pt x="19803" y="27393"/>
                </a:cubicBezTo>
                <a:cubicBezTo>
                  <a:pt x="19733" y="27448"/>
                  <a:pt x="19727" y="27541"/>
                  <a:pt x="19640" y="27569"/>
                </a:cubicBezTo>
                <a:cubicBezTo>
                  <a:pt x="19640" y="27569"/>
                  <a:pt x="19562" y="27543"/>
                  <a:pt x="19562" y="27539"/>
                </a:cubicBezTo>
                <a:cubicBezTo>
                  <a:pt x="19537" y="27533"/>
                  <a:pt x="19513" y="27513"/>
                  <a:pt x="19488" y="27503"/>
                </a:cubicBezTo>
                <a:cubicBezTo>
                  <a:pt x="19440" y="27483"/>
                  <a:pt x="19392" y="27468"/>
                  <a:pt x="19342" y="27449"/>
                </a:cubicBezTo>
                <a:cubicBezTo>
                  <a:pt x="19237" y="27413"/>
                  <a:pt x="19142" y="27348"/>
                  <a:pt x="19032" y="27329"/>
                </a:cubicBezTo>
                <a:cubicBezTo>
                  <a:pt x="19000" y="27323"/>
                  <a:pt x="18980" y="27311"/>
                  <a:pt x="18952" y="27299"/>
                </a:cubicBezTo>
                <a:cubicBezTo>
                  <a:pt x="18910" y="27281"/>
                  <a:pt x="18868" y="27279"/>
                  <a:pt x="18825" y="27276"/>
                </a:cubicBezTo>
                <a:cubicBezTo>
                  <a:pt x="18780" y="27273"/>
                  <a:pt x="18733" y="27261"/>
                  <a:pt x="18687" y="27264"/>
                </a:cubicBezTo>
                <a:cubicBezTo>
                  <a:pt x="18643" y="27268"/>
                  <a:pt x="18623" y="27288"/>
                  <a:pt x="18588" y="27313"/>
                </a:cubicBezTo>
                <a:cubicBezTo>
                  <a:pt x="18437" y="27419"/>
                  <a:pt x="18248" y="27339"/>
                  <a:pt x="18081" y="27393"/>
                </a:cubicBezTo>
                <a:cubicBezTo>
                  <a:pt x="17995" y="27419"/>
                  <a:pt x="17906" y="27454"/>
                  <a:pt x="17821" y="27486"/>
                </a:cubicBezTo>
                <a:cubicBezTo>
                  <a:pt x="17788" y="27498"/>
                  <a:pt x="17685" y="27533"/>
                  <a:pt x="17658" y="27511"/>
                </a:cubicBezTo>
                <a:cubicBezTo>
                  <a:pt x="17658" y="27511"/>
                  <a:pt x="17598" y="27484"/>
                  <a:pt x="17566" y="27476"/>
                </a:cubicBezTo>
                <a:cubicBezTo>
                  <a:pt x="17551" y="27473"/>
                  <a:pt x="17500" y="27471"/>
                  <a:pt x="17491" y="27458"/>
                </a:cubicBezTo>
                <a:cubicBezTo>
                  <a:pt x="17483" y="27446"/>
                  <a:pt x="17496" y="27424"/>
                  <a:pt x="17496" y="27411"/>
                </a:cubicBezTo>
                <a:cubicBezTo>
                  <a:pt x="17496" y="27389"/>
                  <a:pt x="17493" y="27379"/>
                  <a:pt x="17478" y="27359"/>
                </a:cubicBezTo>
                <a:cubicBezTo>
                  <a:pt x="17411" y="27278"/>
                  <a:pt x="17325" y="27286"/>
                  <a:pt x="17241" y="27341"/>
                </a:cubicBezTo>
                <a:cubicBezTo>
                  <a:pt x="17195" y="27373"/>
                  <a:pt x="17158" y="27409"/>
                  <a:pt x="17100" y="27418"/>
                </a:cubicBezTo>
                <a:cubicBezTo>
                  <a:pt x="17035" y="27428"/>
                  <a:pt x="16965" y="27384"/>
                  <a:pt x="16915" y="27349"/>
                </a:cubicBezTo>
                <a:cubicBezTo>
                  <a:pt x="16860" y="27311"/>
                  <a:pt x="16790" y="27273"/>
                  <a:pt x="16748" y="27219"/>
                </a:cubicBezTo>
                <a:cubicBezTo>
                  <a:pt x="16710" y="27169"/>
                  <a:pt x="16663" y="27098"/>
                  <a:pt x="16596" y="27084"/>
                </a:cubicBezTo>
                <a:cubicBezTo>
                  <a:pt x="16590" y="27139"/>
                  <a:pt x="16675" y="27181"/>
                  <a:pt x="16703" y="27223"/>
                </a:cubicBezTo>
                <a:cubicBezTo>
                  <a:pt x="16731" y="27266"/>
                  <a:pt x="16725" y="27298"/>
                  <a:pt x="16730" y="27344"/>
                </a:cubicBezTo>
                <a:cubicBezTo>
                  <a:pt x="16738" y="27399"/>
                  <a:pt x="16746" y="27396"/>
                  <a:pt x="16681" y="27409"/>
                </a:cubicBezTo>
                <a:cubicBezTo>
                  <a:pt x="16631" y="27421"/>
                  <a:pt x="16560" y="27419"/>
                  <a:pt x="16513" y="27446"/>
                </a:cubicBezTo>
                <a:cubicBezTo>
                  <a:pt x="16475" y="27468"/>
                  <a:pt x="16455" y="27514"/>
                  <a:pt x="16418" y="27541"/>
                </a:cubicBezTo>
                <a:cubicBezTo>
                  <a:pt x="16386" y="27566"/>
                  <a:pt x="16356" y="27581"/>
                  <a:pt x="16316" y="27588"/>
                </a:cubicBezTo>
                <a:cubicBezTo>
                  <a:pt x="16213" y="27603"/>
                  <a:pt x="16128" y="27546"/>
                  <a:pt x="16025" y="27551"/>
                </a:cubicBezTo>
                <a:cubicBezTo>
                  <a:pt x="15948" y="27591"/>
                  <a:pt x="15873" y="27603"/>
                  <a:pt x="15824" y="27613"/>
                </a:cubicBezTo>
                <a:cubicBezTo>
                  <a:pt x="15778" y="27623"/>
                  <a:pt x="15679" y="27631"/>
                  <a:pt x="15649" y="27676"/>
                </a:cubicBezTo>
                <a:cubicBezTo>
                  <a:pt x="15629" y="27701"/>
                  <a:pt x="15646" y="27746"/>
                  <a:pt x="15653" y="27778"/>
                </a:cubicBezTo>
                <a:cubicBezTo>
                  <a:pt x="15663" y="27828"/>
                  <a:pt x="15673" y="27866"/>
                  <a:pt x="15641" y="27910"/>
                </a:cubicBezTo>
                <a:cubicBezTo>
                  <a:pt x="15614" y="27943"/>
                  <a:pt x="15571" y="27981"/>
                  <a:pt x="15531" y="27995"/>
                </a:cubicBezTo>
                <a:cubicBezTo>
                  <a:pt x="15446" y="28021"/>
                  <a:pt x="15358" y="27975"/>
                  <a:pt x="15281" y="27946"/>
                </a:cubicBezTo>
                <a:cubicBezTo>
                  <a:pt x="15219" y="27923"/>
                  <a:pt x="15176" y="27900"/>
                  <a:pt x="15116" y="27881"/>
                </a:cubicBezTo>
                <a:cubicBezTo>
                  <a:pt x="15054" y="27871"/>
                  <a:pt x="14983" y="27881"/>
                  <a:pt x="14951" y="27871"/>
                </a:cubicBezTo>
                <a:cubicBezTo>
                  <a:pt x="14951" y="27871"/>
                  <a:pt x="14934" y="27866"/>
                  <a:pt x="14904" y="27874"/>
                </a:cubicBezTo>
                <a:cubicBezTo>
                  <a:pt x="14881" y="27881"/>
                  <a:pt x="14866" y="27861"/>
                  <a:pt x="14846" y="27854"/>
                </a:cubicBezTo>
                <a:cubicBezTo>
                  <a:pt x="14818" y="27848"/>
                  <a:pt x="14758" y="27844"/>
                  <a:pt x="14734" y="27863"/>
                </a:cubicBezTo>
                <a:cubicBezTo>
                  <a:pt x="14684" y="27896"/>
                  <a:pt x="14739" y="28001"/>
                  <a:pt x="14664" y="27993"/>
                </a:cubicBezTo>
                <a:cubicBezTo>
                  <a:pt x="14614" y="27986"/>
                  <a:pt x="14596" y="27936"/>
                  <a:pt x="14569" y="27903"/>
                </a:cubicBezTo>
                <a:cubicBezTo>
                  <a:pt x="14549" y="27876"/>
                  <a:pt x="14528" y="27869"/>
                  <a:pt x="14499" y="27859"/>
                </a:cubicBezTo>
                <a:cubicBezTo>
                  <a:pt x="14399" y="27823"/>
                  <a:pt x="14329" y="27739"/>
                  <a:pt x="14238" y="27694"/>
                </a:cubicBezTo>
                <a:cubicBezTo>
                  <a:pt x="14193" y="27674"/>
                  <a:pt x="14144" y="27664"/>
                  <a:pt x="14103" y="27636"/>
                </a:cubicBezTo>
                <a:cubicBezTo>
                  <a:pt x="14074" y="27616"/>
                  <a:pt x="14053" y="27593"/>
                  <a:pt x="14019" y="27581"/>
                </a:cubicBezTo>
                <a:cubicBezTo>
                  <a:pt x="13979" y="27568"/>
                  <a:pt x="13938" y="27569"/>
                  <a:pt x="13896" y="27569"/>
                </a:cubicBezTo>
                <a:cubicBezTo>
                  <a:pt x="13839" y="27569"/>
                  <a:pt x="13838" y="27579"/>
                  <a:pt x="13799" y="27611"/>
                </a:cubicBezTo>
                <a:cubicBezTo>
                  <a:pt x="13724" y="27676"/>
                  <a:pt x="13602" y="27653"/>
                  <a:pt x="13514" y="27676"/>
                </a:cubicBezTo>
                <a:cubicBezTo>
                  <a:pt x="13486" y="27684"/>
                  <a:pt x="13461" y="27703"/>
                  <a:pt x="13432" y="27709"/>
                </a:cubicBezTo>
                <a:cubicBezTo>
                  <a:pt x="13381" y="27723"/>
                  <a:pt x="13349" y="27713"/>
                  <a:pt x="13304" y="27744"/>
                </a:cubicBezTo>
                <a:cubicBezTo>
                  <a:pt x="13244" y="27784"/>
                  <a:pt x="13182" y="27823"/>
                  <a:pt x="13147" y="27886"/>
                </a:cubicBezTo>
                <a:cubicBezTo>
                  <a:pt x="13129" y="27920"/>
                  <a:pt x="13122" y="27940"/>
                  <a:pt x="13084" y="27946"/>
                </a:cubicBezTo>
                <a:cubicBezTo>
                  <a:pt x="13037" y="27955"/>
                  <a:pt x="12984" y="27936"/>
                  <a:pt x="12939" y="27960"/>
                </a:cubicBezTo>
                <a:cubicBezTo>
                  <a:pt x="12897" y="27983"/>
                  <a:pt x="12834" y="28056"/>
                  <a:pt x="12822" y="28105"/>
                </a:cubicBezTo>
                <a:cubicBezTo>
                  <a:pt x="12802" y="28185"/>
                  <a:pt x="12796" y="28258"/>
                  <a:pt x="12756" y="28331"/>
                </a:cubicBezTo>
                <a:cubicBezTo>
                  <a:pt x="12741" y="28358"/>
                  <a:pt x="12679" y="28436"/>
                  <a:pt x="12699" y="28468"/>
                </a:cubicBezTo>
                <a:cubicBezTo>
                  <a:pt x="12721" y="28498"/>
                  <a:pt x="12802" y="28475"/>
                  <a:pt x="12832" y="28498"/>
                </a:cubicBezTo>
                <a:cubicBezTo>
                  <a:pt x="12866" y="28525"/>
                  <a:pt x="12832" y="28593"/>
                  <a:pt x="12814" y="28626"/>
                </a:cubicBezTo>
                <a:cubicBezTo>
                  <a:pt x="12799" y="28653"/>
                  <a:pt x="12771" y="28665"/>
                  <a:pt x="12751" y="28686"/>
                </a:cubicBezTo>
                <a:cubicBezTo>
                  <a:pt x="12736" y="28703"/>
                  <a:pt x="12732" y="28731"/>
                  <a:pt x="12702" y="28738"/>
                </a:cubicBezTo>
                <a:cubicBezTo>
                  <a:pt x="12702" y="28738"/>
                  <a:pt x="12612" y="28733"/>
                  <a:pt x="12584" y="28756"/>
                </a:cubicBezTo>
                <a:cubicBezTo>
                  <a:pt x="12546" y="28788"/>
                  <a:pt x="12562" y="28876"/>
                  <a:pt x="12537" y="28926"/>
                </a:cubicBezTo>
                <a:cubicBezTo>
                  <a:pt x="12516" y="28971"/>
                  <a:pt x="12516" y="29025"/>
                  <a:pt x="12462" y="29050"/>
                </a:cubicBezTo>
                <a:cubicBezTo>
                  <a:pt x="12404" y="29076"/>
                  <a:pt x="12292" y="29085"/>
                  <a:pt x="12231" y="29056"/>
                </a:cubicBezTo>
                <a:cubicBezTo>
                  <a:pt x="12187" y="29038"/>
                  <a:pt x="12151" y="28983"/>
                  <a:pt x="12121" y="28943"/>
                </a:cubicBezTo>
                <a:cubicBezTo>
                  <a:pt x="12094" y="28908"/>
                  <a:pt x="12059" y="28871"/>
                  <a:pt x="12016" y="28856"/>
                </a:cubicBezTo>
                <a:cubicBezTo>
                  <a:pt x="11957" y="28838"/>
                  <a:pt x="11892" y="28860"/>
                  <a:pt x="11834" y="28853"/>
                </a:cubicBezTo>
                <a:cubicBezTo>
                  <a:pt x="11792" y="28848"/>
                  <a:pt x="11712" y="28818"/>
                  <a:pt x="11686" y="28781"/>
                </a:cubicBezTo>
                <a:cubicBezTo>
                  <a:pt x="11672" y="28765"/>
                  <a:pt x="11667" y="28745"/>
                  <a:pt x="11651" y="28725"/>
                </a:cubicBezTo>
                <a:cubicBezTo>
                  <a:pt x="11629" y="28700"/>
                  <a:pt x="11617" y="28688"/>
                  <a:pt x="11617" y="28653"/>
                </a:cubicBezTo>
                <a:cubicBezTo>
                  <a:pt x="11587" y="28645"/>
                  <a:pt x="11586" y="28678"/>
                  <a:pt x="11571" y="28693"/>
                </a:cubicBezTo>
                <a:cubicBezTo>
                  <a:pt x="11549" y="28713"/>
                  <a:pt x="11529" y="28713"/>
                  <a:pt x="11499" y="28711"/>
                </a:cubicBezTo>
                <a:cubicBezTo>
                  <a:pt x="11457" y="28708"/>
                  <a:pt x="11412" y="28696"/>
                  <a:pt x="11377" y="28673"/>
                </a:cubicBezTo>
                <a:cubicBezTo>
                  <a:pt x="11340" y="28648"/>
                  <a:pt x="11319" y="28620"/>
                  <a:pt x="11272" y="28615"/>
                </a:cubicBezTo>
                <a:cubicBezTo>
                  <a:pt x="11184" y="28605"/>
                  <a:pt x="11117" y="28615"/>
                  <a:pt x="11050" y="28670"/>
                </a:cubicBezTo>
                <a:cubicBezTo>
                  <a:pt x="10977" y="28731"/>
                  <a:pt x="10882" y="28721"/>
                  <a:pt x="10789" y="28721"/>
                </a:cubicBezTo>
                <a:cubicBezTo>
                  <a:pt x="10764" y="28721"/>
                  <a:pt x="10709" y="28735"/>
                  <a:pt x="10685" y="28725"/>
                </a:cubicBezTo>
                <a:cubicBezTo>
                  <a:pt x="10665" y="28716"/>
                  <a:pt x="10664" y="28698"/>
                  <a:pt x="10640" y="28691"/>
                </a:cubicBezTo>
                <a:cubicBezTo>
                  <a:pt x="10609" y="28681"/>
                  <a:pt x="10535" y="28730"/>
                  <a:pt x="10515" y="28753"/>
                </a:cubicBezTo>
                <a:cubicBezTo>
                  <a:pt x="10477" y="28795"/>
                  <a:pt x="10522" y="28875"/>
                  <a:pt x="10492" y="28928"/>
                </a:cubicBezTo>
                <a:cubicBezTo>
                  <a:pt x="10479" y="28951"/>
                  <a:pt x="10427" y="28988"/>
                  <a:pt x="10460" y="29023"/>
                </a:cubicBezTo>
                <a:cubicBezTo>
                  <a:pt x="10459" y="29026"/>
                  <a:pt x="10367" y="29000"/>
                  <a:pt x="10342" y="28998"/>
                </a:cubicBezTo>
                <a:cubicBezTo>
                  <a:pt x="10295" y="28991"/>
                  <a:pt x="10287" y="29040"/>
                  <a:pt x="10247" y="29056"/>
                </a:cubicBezTo>
                <a:cubicBezTo>
                  <a:pt x="10185" y="29080"/>
                  <a:pt x="10075" y="29056"/>
                  <a:pt x="10045" y="29133"/>
                </a:cubicBezTo>
                <a:cubicBezTo>
                  <a:pt x="10039" y="29146"/>
                  <a:pt x="10057" y="29168"/>
                  <a:pt x="10040" y="29183"/>
                </a:cubicBezTo>
                <a:cubicBezTo>
                  <a:pt x="10022" y="29200"/>
                  <a:pt x="10007" y="29175"/>
                  <a:pt x="9994" y="29165"/>
                </a:cubicBezTo>
                <a:cubicBezTo>
                  <a:pt x="9942" y="29131"/>
                  <a:pt x="9909" y="29138"/>
                  <a:pt x="9922" y="29220"/>
                </a:cubicBezTo>
                <a:cubicBezTo>
                  <a:pt x="9927" y="29250"/>
                  <a:pt x="9944" y="29255"/>
                  <a:pt x="9925" y="29280"/>
                </a:cubicBezTo>
                <a:cubicBezTo>
                  <a:pt x="9912" y="29300"/>
                  <a:pt x="9877" y="29291"/>
                  <a:pt x="9864" y="29313"/>
                </a:cubicBezTo>
                <a:cubicBezTo>
                  <a:pt x="9835" y="29351"/>
                  <a:pt x="9879" y="29376"/>
                  <a:pt x="9905" y="29401"/>
                </a:cubicBezTo>
                <a:cubicBezTo>
                  <a:pt x="9975" y="29466"/>
                  <a:pt x="9942" y="29513"/>
                  <a:pt x="9877" y="29571"/>
                </a:cubicBezTo>
                <a:cubicBezTo>
                  <a:pt x="9847" y="29598"/>
                  <a:pt x="9802" y="29613"/>
                  <a:pt x="9774" y="29640"/>
                </a:cubicBezTo>
                <a:cubicBezTo>
                  <a:pt x="9759" y="29656"/>
                  <a:pt x="9764" y="29658"/>
                  <a:pt x="9752" y="29675"/>
                </a:cubicBezTo>
                <a:cubicBezTo>
                  <a:pt x="9730" y="29705"/>
                  <a:pt x="9712" y="29738"/>
                  <a:pt x="9672" y="29750"/>
                </a:cubicBezTo>
                <a:cubicBezTo>
                  <a:pt x="9644" y="29756"/>
                  <a:pt x="9649" y="29765"/>
                  <a:pt x="9624" y="29736"/>
                </a:cubicBezTo>
                <a:cubicBezTo>
                  <a:pt x="9607" y="29716"/>
                  <a:pt x="9604" y="29698"/>
                  <a:pt x="9594" y="29673"/>
                </a:cubicBezTo>
                <a:cubicBezTo>
                  <a:pt x="9569" y="29613"/>
                  <a:pt x="9572" y="29551"/>
                  <a:pt x="9524" y="29505"/>
                </a:cubicBezTo>
                <a:cubicBezTo>
                  <a:pt x="9484" y="29463"/>
                  <a:pt x="9465" y="29433"/>
                  <a:pt x="9410" y="29411"/>
                </a:cubicBezTo>
                <a:cubicBezTo>
                  <a:pt x="9354" y="29388"/>
                  <a:pt x="9312" y="29355"/>
                  <a:pt x="9260" y="29323"/>
                </a:cubicBezTo>
                <a:cubicBezTo>
                  <a:pt x="9225" y="29303"/>
                  <a:pt x="9190" y="29288"/>
                  <a:pt x="9147" y="29285"/>
                </a:cubicBezTo>
                <a:cubicBezTo>
                  <a:pt x="9073" y="29278"/>
                  <a:pt x="9107" y="29331"/>
                  <a:pt x="9070" y="29380"/>
                </a:cubicBezTo>
                <a:cubicBezTo>
                  <a:pt x="9042" y="29416"/>
                  <a:pt x="9008" y="29430"/>
                  <a:pt x="8967" y="29430"/>
                </a:cubicBezTo>
                <a:cubicBezTo>
                  <a:pt x="8937" y="29430"/>
                  <a:pt x="8892" y="29443"/>
                  <a:pt x="8863" y="29431"/>
                </a:cubicBezTo>
                <a:cubicBezTo>
                  <a:pt x="8838" y="29421"/>
                  <a:pt x="8812" y="29381"/>
                  <a:pt x="8795" y="29358"/>
                </a:cubicBezTo>
                <a:cubicBezTo>
                  <a:pt x="8722" y="29250"/>
                  <a:pt x="8897" y="29245"/>
                  <a:pt x="8942" y="29185"/>
                </a:cubicBezTo>
                <a:cubicBezTo>
                  <a:pt x="8953" y="29168"/>
                  <a:pt x="8952" y="29146"/>
                  <a:pt x="8963" y="29130"/>
                </a:cubicBezTo>
                <a:cubicBezTo>
                  <a:pt x="8975" y="29111"/>
                  <a:pt x="8998" y="29106"/>
                  <a:pt x="9015" y="29093"/>
                </a:cubicBezTo>
                <a:cubicBezTo>
                  <a:pt x="9067" y="29050"/>
                  <a:pt x="9085" y="29038"/>
                  <a:pt x="9162" y="29045"/>
                </a:cubicBezTo>
                <a:cubicBezTo>
                  <a:pt x="9215" y="29048"/>
                  <a:pt x="9270" y="29058"/>
                  <a:pt x="9325" y="29063"/>
                </a:cubicBezTo>
                <a:cubicBezTo>
                  <a:pt x="9362" y="29066"/>
                  <a:pt x="9372" y="29050"/>
                  <a:pt x="9405" y="29030"/>
                </a:cubicBezTo>
                <a:cubicBezTo>
                  <a:pt x="9452" y="29000"/>
                  <a:pt x="9487" y="28961"/>
                  <a:pt x="9507" y="28911"/>
                </a:cubicBezTo>
                <a:cubicBezTo>
                  <a:pt x="9527" y="28865"/>
                  <a:pt x="9530" y="28828"/>
                  <a:pt x="9580" y="28806"/>
                </a:cubicBezTo>
                <a:cubicBezTo>
                  <a:pt x="9612" y="28793"/>
                  <a:pt x="9615" y="28795"/>
                  <a:pt x="9634" y="28771"/>
                </a:cubicBezTo>
                <a:cubicBezTo>
                  <a:pt x="9660" y="28735"/>
                  <a:pt x="9692" y="28700"/>
                  <a:pt x="9719" y="28661"/>
                </a:cubicBezTo>
                <a:cubicBezTo>
                  <a:pt x="9737" y="28633"/>
                  <a:pt x="9762" y="28606"/>
                  <a:pt x="9779" y="28578"/>
                </a:cubicBezTo>
                <a:cubicBezTo>
                  <a:pt x="9809" y="28528"/>
                  <a:pt x="9782" y="28470"/>
                  <a:pt x="9812" y="28418"/>
                </a:cubicBezTo>
                <a:cubicBezTo>
                  <a:pt x="9832" y="28385"/>
                  <a:pt x="9864" y="28371"/>
                  <a:pt x="9892" y="28345"/>
                </a:cubicBezTo>
                <a:cubicBezTo>
                  <a:pt x="9925" y="28316"/>
                  <a:pt x="9930" y="28291"/>
                  <a:pt x="9940" y="28251"/>
                </a:cubicBezTo>
                <a:cubicBezTo>
                  <a:pt x="9954" y="28203"/>
                  <a:pt x="9979" y="28168"/>
                  <a:pt x="10007" y="28128"/>
                </a:cubicBezTo>
                <a:cubicBezTo>
                  <a:pt x="10024" y="28105"/>
                  <a:pt x="10027" y="28061"/>
                  <a:pt x="10050" y="28051"/>
                </a:cubicBezTo>
                <a:cubicBezTo>
                  <a:pt x="10084" y="28033"/>
                  <a:pt x="10154" y="28065"/>
                  <a:pt x="10189" y="28065"/>
                </a:cubicBezTo>
                <a:cubicBezTo>
                  <a:pt x="10245" y="28066"/>
                  <a:pt x="10217" y="28040"/>
                  <a:pt x="10249" y="28001"/>
                </a:cubicBezTo>
                <a:cubicBezTo>
                  <a:pt x="10274" y="27970"/>
                  <a:pt x="10307" y="27988"/>
                  <a:pt x="10332" y="27966"/>
                </a:cubicBezTo>
                <a:cubicBezTo>
                  <a:pt x="10345" y="27955"/>
                  <a:pt x="10340" y="27935"/>
                  <a:pt x="10354" y="27925"/>
                </a:cubicBezTo>
                <a:cubicBezTo>
                  <a:pt x="10369" y="27910"/>
                  <a:pt x="10387" y="27916"/>
                  <a:pt x="10405" y="27913"/>
                </a:cubicBezTo>
                <a:cubicBezTo>
                  <a:pt x="10435" y="27908"/>
                  <a:pt x="10464" y="27894"/>
                  <a:pt x="10492" y="27881"/>
                </a:cubicBezTo>
                <a:cubicBezTo>
                  <a:pt x="10537" y="27859"/>
                  <a:pt x="10515" y="27873"/>
                  <a:pt x="10502" y="27826"/>
                </a:cubicBezTo>
                <a:cubicBezTo>
                  <a:pt x="10485" y="27768"/>
                  <a:pt x="10524" y="27666"/>
                  <a:pt x="10575" y="27631"/>
                </a:cubicBezTo>
                <a:cubicBezTo>
                  <a:pt x="10595" y="27619"/>
                  <a:pt x="10622" y="27621"/>
                  <a:pt x="10642" y="27614"/>
                </a:cubicBezTo>
                <a:cubicBezTo>
                  <a:pt x="10677" y="27601"/>
                  <a:pt x="10699" y="27583"/>
                  <a:pt x="10719" y="27551"/>
                </a:cubicBezTo>
                <a:cubicBezTo>
                  <a:pt x="10735" y="27528"/>
                  <a:pt x="10744" y="27506"/>
                  <a:pt x="10770" y="27489"/>
                </a:cubicBezTo>
                <a:cubicBezTo>
                  <a:pt x="10805" y="27466"/>
                  <a:pt x="10834" y="27468"/>
                  <a:pt x="10842" y="27426"/>
                </a:cubicBezTo>
                <a:cubicBezTo>
                  <a:pt x="10849" y="27396"/>
                  <a:pt x="10840" y="27364"/>
                  <a:pt x="10845" y="27334"/>
                </a:cubicBezTo>
                <a:cubicBezTo>
                  <a:pt x="10850" y="27301"/>
                  <a:pt x="10860" y="27274"/>
                  <a:pt x="10860" y="27239"/>
                </a:cubicBezTo>
                <a:cubicBezTo>
                  <a:pt x="10862" y="27181"/>
                  <a:pt x="10869" y="27123"/>
                  <a:pt x="10875" y="27066"/>
                </a:cubicBezTo>
                <a:cubicBezTo>
                  <a:pt x="10882" y="27008"/>
                  <a:pt x="10872" y="26944"/>
                  <a:pt x="10892" y="26888"/>
                </a:cubicBezTo>
                <a:cubicBezTo>
                  <a:pt x="10914" y="26826"/>
                  <a:pt x="10942" y="26786"/>
                  <a:pt x="10944" y="26718"/>
                </a:cubicBezTo>
                <a:cubicBezTo>
                  <a:pt x="10965" y="26709"/>
                  <a:pt x="11000" y="26724"/>
                  <a:pt x="11024" y="26728"/>
                </a:cubicBezTo>
                <a:cubicBezTo>
                  <a:pt x="11069" y="26734"/>
                  <a:pt x="11107" y="26746"/>
                  <a:pt x="11149" y="26759"/>
                </a:cubicBezTo>
                <a:cubicBezTo>
                  <a:pt x="11192" y="26776"/>
                  <a:pt x="11232" y="26796"/>
                  <a:pt x="11279" y="26786"/>
                </a:cubicBezTo>
                <a:cubicBezTo>
                  <a:pt x="11317" y="26778"/>
                  <a:pt x="11367" y="26763"/>
                  <a:pt x="11392" y="26733"/>
                </a:cubicBezTo>
                <a:cubicBezTo>
                  <a:pt x="11417" y="26701"/>
                  <a:pt x="11421" y="26674"/>
                  <a:pt x="11459" y="26648"/>
                </a:cubicBezTo>
                <a:cubicBezTo>
                  <a:pt x="11494" y="26623"/>
                  <a:pt x="11516" y="26618"/>
                  <a:pt x="11509" y="26573"/>
                </a:cubicBezTo>
                <a:cubicBezTo>
                  <a:pt x="11502" y="26516"/>
                  <a:pt x="11464" y="26469"/>
                  <a:pt x="11459" y="26411"/>
                </a:cubicBezTo>
                <a:cubicBezTo>
                  <a:pt x="11454" y="26354"/>
                  <a:pt x="11481" y="26338"/>
                  <a:pt x="11509" y="26294"/>
                </a:cubicBezTo>
                <a:cubicBezTo>
                  <a:pt x="11534" y="26258"/>
                  <a:pt x="11544" y="26226"/>
                  <a:pt x="11489" y="26214"/>
                </a:cubicBezTo>
                <a:cubicBezTo>
                  <a:pt x="11531" y="26153"/>
                  <a:pt x="11719" y="26156"/>
                  <a:pt x="11786" y="26156"/>
                </a:cubicBezTo>
                <a:cubicBezTo>
                  <a:pt x="11922" y="26156"/>
                  <a:pt x="12051" y="26136"/>
                  <a:pt x="12184" y="26106"/>
                </a:cubicBezTo>
                <a:cubicBezTo>
                  <a:pt x="12262" y="26088"/>
                  <a:pt x="12332" y="26074"/>
                  <a:pt x="12409" y="26099"/>
                </a:cubicBezTo>
                <a:cubicBezTo>
                  <a:pt x="12497" y="26129"/>
                  <a:pt x="12619" y="26126"/>
                  <a:pt x="12711" y="26121"/>
                </a:cubicBezTo>
                <a:cubicBezTo>
                  <a:pt x="12731" y="26119"/>
                  <a:pt x="12756" y="26111"/>
                  <a:pt x="12774" y="26114"/>
                </a:cubicBezTo>
                <a:cubicBezTo>
                  <a:pt x="12812" y="26121"/>
                  <a:pt x="12862" y="26168"/>
                  <a:pt x="12892" y="26189"/>
                </a:cubicBezTo>
                <a:cubicBezTo>
                  <a:pt x="12941" y="26221"/>
                  <a:pt x="12994" y="26244"/>
                  <a:pt x="13051" y="26249"/>
                </a:cubicBezTo>
                <a:cubicBezTo>
                  <a:pt x="13102" y="26254"/>
                  <a:pt x="13144" y="26236"/>
                  <a:pt x="13194" y="26228"/>
                </a:cubicBezTo>
                <a:cubicBezTo>
                  <a:pt x="13277" y="26214"/>
                  <a:pt x="13369" y="26214"/>
                  <a:pt x="13451" y="26191"/>
                </a:cubicBezTo>
                <a:cubicBezTo>
                  <a:pt x="13522" y="26169"/>
                  <a:pt x="13577" y="26161"/>
                  <a:pt x="13651" y="26179"/>
                </a:cubicBezTo>
                <a:cubicBezTo>
                  <a:pt x="13668" y="26184"/>
                  <a:pt x="13691" y="26184"/>
                  <a:pt x="13691" y="26184"/>
                </a:cubicBezTo>
                <a:cubicBezTo>
                  <a:pt x="13716" y="26146"/>
                  <a:pt x="13708" y="26094"/>
                  <a:pt x="13699" y="26053"/>
                </a:cubicBezTo>
                <a:cubicBezTo>
                  <a:pt x="13686" y="25988"/>
                  <a:pt x="13668" y="25951"/>
                  <a:pt x="13689" y="25888"/>
                </a:cubicBezTo>
                <a:cubicBezTo>
                  <a:pt x="13716" y="25809"/>
                  <a:pt x="13696" y="25692"/>
                  <a:pt x="13763" y="25634"/>
                </a:cubicBezTo>
                <a:cubicBezTo>
                  <a:pt x="13838" y="25569"/>
                  <a:pt x="13959" y="25557"/>
                  <a:pt x="14031" y="25477"/>
                </a:cubicBezTo>
                <a:cubicBezTo>
                  <a:pt x="14063" y="25439"/>
                  <a:pt x="14078" y="25396"/>
                  <a:pt x="14099" y="25354"/>
                </a:cubicBezTo>
                <a:cubicBezTo>
                  <a:pt x="14123" y="25311"/>
                  <a:pt x="14161" y="25277"/>
                  <a:pt x="14196" y="25246"/>
                </a:cubicBezTo>
                <a:cubicBezTo>
                  <a:pt x="14218" y="25224"/>
                  <a:pt x="14243" y="25206"/>
                  <a:pt x="14264" y="25184"/>
                </a:cubicBezTo>
                <a:cubicBezTo>
                  <a:pt x="14304" y="25144"/>
                  <a:pt x="14321" y="25092"/>
                  <a:pt x="14349" y="25049"/>
                </a:cubicBezTo>
                <a:cubicBezTo>
                  <a:pt x="14368" y="25017"/>
                  <a:pt x="14381" y="25026"/>
                  <a:pt x="14411" y="25012"/>
                </a:cubicBezTo>
                <a:cubicBezTo>
                  <a:pt x="14451" y="24994"/>
                  <a:pt x="14459" y="24952"/>
                  <a:pt x="14481" y="24919"/>
                </a:cubicBezTo>
                <a:cubicBezTo>
                  <a:pt x="14514" y="24867"/>
                  <a:pt x="14591" y="24829"/>
                  <a:pt x="14614" y="24771"/>
                </a:cubicBezTo>
                <a:cubicBezTo>
                  <a:pt x="14628" y="24736"/>
                  <a:pt x="14598" y="24731"/>
                  <a:pt x="14563" y="24741"/>
                </a:cubicBezTo>
                <a:cubicBezTo>
                  <a:pt x="14511" y="24756"/>
                  <a:pt x="14498" y="24796"/>
                  <a:pt x="14464" y="24829"/>
                </a:cubicBezTo>
                <a:cubicBezTo>
                  <a:pt x="14419" y="24874"/>
                  <a:pt x="14366" y="24889"/>
                  <a:pt x="14336" y="24949"/>
                </a:cubicBezTo>
                <a:cubicBezTo>
                  <a:pt x="14319" y="24986"/>
                  <a:pt x="14311" y="25021"/>
                  <a:pt x="14279" y="25049"/>
                </a:cubicBezTo>
                <a:cubicBezTo>
                  <a:pt x="14229" y="25096"/>
                  <a:pt x="14144" y="25121"/>
                  <a:pt x="14083" y="25149"/>
                </a:cubicBezTo>
                <a:cubicBezTo>
                  <a:pt x="14024" y="25177"/>
                  <a:pt x="13963" y="25197"/>
                  <a:pt x="13899" y="25216"/>
                </a:cubicBezTo>
                <a:cubicBezTo>
                  <a:pt x="13858" y="25227"/>
                  <a:pt x="13819" y="25237"/>
                  <a:pt x="13778" y="25241"/>
                </a:cubicBezTo>
                <a:cubicBezTo>
                  <a:pt x="13719" y="25246"/>
                  <a:pt x="13668" y="25264"/>
                  <a:pt x="13611" y="25281"/>
                </a:cubicBezTo>
                <a:cubicBezTo>
                  <a:pt x="13561" y="25294"/>
                  <a:pt x="13501" y="25306"/>
                  <a:pt x="13481" y="25356"/>
                </a:cubicBezTo>
                <a:cubicBezTo>
                  <a:pt x="13466" y="25399"/>
                  <a:pt x="13454" y="25432"/>
                  <a:pt x="13429" y="25474"/>
                </a:cubicBezTo>
                <a:cubicBezTo>
                  <a:pt x="13384" y="25544"/>
                  <a:pt x="13424" y="25649"/>
                  <a:pt x="13311" y="25641"/>
                </a:cubicBezTo>
                <a:cubicBezTo>
                  <a:pt x="13234" y="25636"/>
                  <a:pt x="13157" y="25624"/>
                  <a:pt x="13081" y="25639"/>
                </a:cubicBezTo>
                <a:cubicBezTo>
                  <a:pt x="13014" y="25651"/>
                  <a:pt x="12952" y="25667"/>
                  <a:pt x="12884" y="25666"/>
                </a:cubicBezTo>
                <a:cubicBezTo>
                  <a:pt x="12829" y="25664"/>
                  <a:pt x="12714" y="25629"/>
                  <a:pt x="12679" y="25584"/>
                </a:cubicBezTo>
                <a:cubicBezTo>
                  <a:pt x="12659" y="25559"/>
                  <a:pt x="12657" y="25521"/>
                  <a:pt x="12634" y="25499"/>
                </a:cubicBezTo>
                <a:cubicBezTo>
                  <a:pt x="12609" y="25474"/>
                  <a:pt x="12571" y="25479"/>
                  <a:pt x="12544" y="25459"/>
                </a:cubicBezTo>
                <a:cubicBezTo>
                  <a:pt x="12502" y="25427"/>
                  <a:pt x="12461" y="25384"/>
                  <a:pt x="12412" y="25354"/>
                </a:cubicBezTo>
                <a:cubicBezTo>
                  <a:pt x="12351" y="25317"/>
                  <a:pt x="12282" y="25211"/>
                  <a:pt x="12267" y="25141"/>
                </a:cubicBezTo>
                <a:cubicBezTo>
                  <a:pt x="12254" y="25082"/>
                  <a:pt x="12256" y="25044"/>
                  <a:pt x="12187" y="25024"/>
                </a:cubicBezTo>
                <a:cubicBezTo>
                  <a:pt x="12139" y="25009"/>
                  <a:pt x="12089" y="24987"/>
                  <a:pt x="12039" y="24997"/>
                </a:cubicBezTo>
                <a:cubicBezTo>
                  <a:pt x="12001" y="25006"/>
                  <a:pt x="11914" y="25029"/>
                  <a:pt x="11901" y="25077"/>
                </a:cubicBezTo>
                <a:cubicBezTo>
                  <a:pt x="11891" y="25119"/>
                  <a:pt x="11946" y="25141"/>
                  <a:pt x="11977" y="25142"/>
                </a:cubicBezTo>
                <a:cubicBezTo>
                  <a:pt x="11942" y="25167"/>
                  <a:pt x="11894" y="25171"/>
                  <a:pt x="11851" y="25167"/>
                </a:cubicBezTo>
                <a:cubicBezTo>
                  <a:pt x="11816" y="25164"/>
                  <a:pt x="11781" y="25156"/>
                  <a:pt x="11747" y="25146"/>
                </a:cubicBezTo>
                <a:cubicBezTo>
                  <a:pt x="11732" y="25141"/>
                  <a:pt x="11709" y="25126"/>
                  <a:pt x="11694" y="25126"/>
                </a:cubicBezTo>
                <a:cubicBezTo>
                  <a:pt x="11641" y="25129"/>
                  <a:pt x="11654" y="25204"/>
                  <a:pt x="11604" y="25219"/>
                </a:cubicBezTo>
                <a:cubicBezTo>
                  <a:pt x="11561" y="25231"/>
                  <a:pt x="11521" y="25207"/>
                  <a:pt x="11486" y="25187"/>
                </a:cubicBezTo>
                <a:cubicBezTo>
                  <a:pt x="11454" y="25166"/>
                  <a:pt x="11385" y="25154"/>
                  <a:pt x="11367" y="25119"/>
                </a:cubicBezTo>
                <a:cubicBezTo>
                  <a:pt x="11327" y="25046"/>
                  <a:pt x="11436" y="24946"/>
                  <a:pt x="11497" y="24932"/>
                </a:cubicBezTo>
                <a:cubicBezTo>
                  <a:pt x="11509" y="24931"/>
                  <a:pt x="11732" y="24926"/>
                  <a:pt x="11686" y="24869"/>
                </a:cubicBezTo>
                <a:cubicBezTo>
                  <a:pt x="11672" y="24852"/>
                  <a:pt x="11561" y="24851"/>
                  <a:pt x="11534" y="24849"/>
                </a:cubicBezTo>
                <a:cubicBezTo>
                  <a:pt x="11474" y="24844"/>
                  <a:pt x="11414" y="24859"/>
                  <a:pt x="11354" y="24861"/>
                </a:cubicBezTo>
                <a:cubicBezTo>
                  <a:pt x="11267" y="24862"/>
                  <a:pt x="11250" y="24786"/>
                  <a:pt x="11240" y="24716"/>
                </a:cubicBezTo>
                <a:cubicBezTo>
                  <a:pt x="11237" y="24677"/>
                  <a:pt x="11222" y="24646"/>
                  <a:pt x="11197" y="24619"/>
                </a:cubicBezTo>
                <a:cubicBezTo>
                  <a:pt x="11160" y="24581"/>
                  <a:pt x="11145" y="24589"/>
                  <a:pt x="11107" y="24621"/>
                </a:cubicBezTo>
                <a:cubicBezTo>
                  <a:pt x="11080" y="24642"/>
                  <a:pt x="11054" y="24674"/>
                  <a:pt x="11019" y="24681"/>
                </a:cubicBezTo>
                <a:cubicBezTo>
                  <a:pt x="10977" y="24691"/>
                  <a:pt x="10927" y="24669"/>
                  <a:pt x="10885" y="24667"/>
                </a:cubicBezTo>
                <a:cubicBezTo>
                  <a:pt x="10819" y="24664"/>
                  <a:pt x="10754" y="24679"/>
                  <a:pt x="10689" y="24686"/>
                </a:cubicBezTo>
                <a:cubicBezTo>
                  <a:pt x="10650" y="24689"/>
                  <a:pt x="10645" y="24682"/>
                  <a:pt x="10635" y="24712"/>
                </a:cubicBezTo>
                <a:cubicBezTo>
                  <a:pt x="10627" y="24736"/>
                  <a:pt x="10634" y="24767"/>
                  <a:pt x="10627" y="24794"/>
                </a:cubicBezTo>
                <a:cubicBezTo>
                  <a:pt x="10619" y="24817"/>
                  <a:pt x="10612" y="24846"/>
                  <a:pt x="10597" y="24866"/>
                </a:cubicBezTo>
                <a:cubicBezTo>
                  <a:pt x="10577" y="24894"/>
                  <a:pt x="10494" y="24929"/>
                  <a:pt x="10494" y="24929"/>
                </a:cubicBezTo>
                <a:cubicBezTo>
                  <a:pt x="10455" y="24926"/>
                  <a:pt x="10417" y="24911"/>
                  <a:pt x="10377" y="24914"/>
                </a:cubicBezTo>
                <a:cubicBezTo>
                  <a:pt x="10325" y="24919"/>
                  <a:pt x="10280" y="24962"/>
                  <a:pt x="10232" y="24984"/>
                </a:cubicBezTo>
                <a:cubicBezTo>
                  <a:pt x="10180" y="25007"/>
                  <a:pt x="10152" y="25056"/>
                  <a:pt x="10097" y="25066"/>
                </a:cubicBezTo>
                <a:cubicBezTo>
                  <a:pt x="10039" y="25074"/>
                  <a:pt x="9992" y="25034"/>
                  <a:pt x="9960" y="24986"/>
                </a:cubicBezTo>
                <a:cubicBezTo>
                  <a:pt x="9950" y="24972"/>
                  <a:pt x="9945" y="24956"/>
                  <a:pt x="9935" y="24941"/>
                </a:cubicBezTo>
                <a:cubicBezTo>
                  <a:pt x="9929" y="24931"/>
                  <a:pt x="9912" y="24931"/>
                  <a:pt x="9909" y="24917"/>
                </a:cubicBezTo>
                <a:cubicBezTo>
                  <a:pt x="9904" y="24892"/>
                  <a:pt x="9950" y="24841"/>
                  <a:pt x="9972" y="24826"/>
                </a:cubicBezTo>
                <a:cubicBezTo>
                  <a:pt x="10015" y="24796"/>
                  <a:pt x="10087" y="24794"/>
                  <a:pt x="10137" y="24796"/>
                </a:cubicBezTo>
                <a:cubicBezTo>
                  <a:pt x="10125" y="24747"/>
                  <a:pt x="10075" y="24737"/>
                  <a:pt x="10032" y="24736"/>
                </a:cubicBezTo>
                <a:cubicBezTo>
                  <a:pt x="10012" y="24736"/>
                  <a:pt x="9982" y="24742"/>
                  <a:pt x="9964" y="24729"/>
                </a:cubicBezTo>
                <a:cubicBezTo>
                  <a:pt x="9945" y="24714"/>
                  <a:pt x="9945" y="24687"/>
                  <a:pt x="9922" y="24672"/>
                </a:cubicBezTo>
                <a:cubicBezTo>
                  <a:pt x="9855" y="24631"/>
                  <a:pt x="9792" y="24684"/>
                  <a:pt x="9744" y="24726"/>
                </a:cubicBezTo>
                <a:cubicBezTo>
                  <a:pt x="9690" y="24771"/>
                  <a:pt x="9644" y="24782"/>
                  <a:pt x="9620" y="24706"/>
                </a:cubicBezTo>
                <a:cubicBezTo>
                  <a:pt x="9585" y="24579"/>
                  <a:pt x="9689" y="24611"/>
                  <a:pt x="9775" y="24594"/>
                </a:cubicBezTo>
                <a:cubicBezTo>
                  <a:pt x="9819" y="24586"/>
                  <a:pt x="9792" y="24589"/>
                  <a:pt x="9807" y="24574"/>
                </a:cubicBezTo>
                <a:cubicBezTo>
                  <a:pt x="9807" y="24574"/>
                  <a:pt x="9807" y="24559"/>
                  <a:pt x="9809" y="24554"/>
                </a:cubicBezTo>
                <a:cubicBezTo>
                  <a:pt x="9817" y="24542"/>
                  <a:pt x="9837" y="24537"/>
                  <a:pt x="9847" y="24527"/>
                </a:cubicBezTo>
                <a:cubicBezTo>
                  <a:pt x="9914" y="24449"/>
                  <a:pt x="9879" y="24316"/>
                  <a:pt x="9794" y="24262"/>
                </a:cubicBezTo>
                <a:cubicBezTo>
                  <a:pt x="9727" y="24219"/>
                  <a:pt x="9629" y="24264"/>
                  <a:pt x="9559" y="24277"/>
                </a:cubicBezTo>
                <a:cubicBezTo>
                  <a:pt x="9514" y="24286"/>
                  <a:pt x="9454" y="24296"/>
                  <a:pt x="9479" y="24231"/>
                </a:cubicBezTo>
                <a:cubicBezTo>
                  <a:pt x="9500" y="24172"/>
                  <a:pt x="9572" y="24149"/>
                  <a:pt x="9622" y="24122"/>
                </a:cubicBezTo>
                <a:cubicBezTo>
                  <a:pt x="9690" y="24087"/>
                  <a:pt x="9762" y="24064"/>
                  <a:pt x="9832" y="24034"/>
                </a:cubicBezTo>
                <a:cubicBezTo>
                  <a:pt x="9942" y="23986"/>
                  <a:pt x="9877" y="23911"/>
                  <a:pt x="9905" y="23826"/>
                </a:cubicBezTo>
                <a:cubicBezTo>
                  <a:pt x="9934" y="23744"/>
                  <a:pt x="10024" y="23741"/>
                  <a:pt x="10100" y="23769"/>
                </a:cubicBezTo>
                <a:cubicBezTo>
                  <a:pt x="10122" y="23777"/>
                  <a:pt x="10145" y="23791"/>
                  <a:pt x="10165" y="23804"/>
                </a:cubicBezTo>
                <a:cubicBezTo>
                  <a:pt x="10154" y="23812"/>
                  <a:pt x="10147" y="23827"/>
                  <a:pt x="10152" y="23844"/>
                </a:cubicBezTo>
                <a:cubicBezTo>
                  <a:pt x="10172" y="23847"/>
                  <a:pt x="10215" y="23836"/>
                  <a:pt x="10229" y="23817"/>
                </a:cubicBezTo>
                <a:cubicBezTo>
                  <a:pt x="10250" y="23789"/>
                  <a:pt x="10225" y="23777"/>
                  <a:pt x="10269" y="23774"/>
                </a:cubicBezTo>
                <a:cubicBezTo>
                  <a:pt x="10295" y="23771"/>
                  <a:pt x="10325" y="23797"/>
                  <a:pt x="10354" y="23784"/>
                </a:cubicBezTo>
                <a:cubicBezTo>
                  <a:pt x="10379" y="23774"/>
                  <a:pt x="10400" y="23736"/>
                  <a:pt x="10429" y="23722"/>
                </a:cubicBezTo>
                <a:cubicBezTo>
                  <a:pt x="10365" y="23704"/>
                  <a:pt x="10499" y="23652"/>
                  <a:pt x="10517" y="23634"/>
                </a:cubicBezTo>
                <a:cubicBezTo>
                  <a:pt x="10547" y="23605"/>
                  <a:pt x="10610" y="23530"/>
                  <a:pt x="10622" y="23532"/>
                </a:cubicBezTo>
                <a:cubicBezTo>
                  <a:pt x="10629" y="23485"/>
                  <a:pt x="10662" y="23472"/>
                  <a:pt x="10704" y="23464"/>
                </a:cubicBezTo>
                <a:cubicBezTo>
                  <a:pt x="10770" y="23452"/>
                  <a:pt x="10842" y="23435"/>
                  <a:pt x="10907" y="23415"/>
                </a:cubicBezTo>
                <a:cubicBezTo>
                  <a:pt x="10982" y="23390"/>
                  <a:pt x="11034" y="23404"/>
                  <a:pt x="11097" y="23347"/>
                </a:cubicBezTo>
                <a:cubicBezTo>
                  <a:pt x="11145" y="23304"/>
                  <a:pt x="11189" y="23234"/>
                  <a:pt x="11249" y="23207"/>
                </a:cubicBezTo>
                <a:cubicBezTo>
                  <a:pt x="11317" y="23177"/>
                  <a:pt x="11387" y="23195"/>
                  <a:pt x="11444" y="23134"/>
                </a:cubicBezTo>
                <a:cubicBezTo>
                  <a:pt x="11496" y="23079"/>
                  <a:pt x="11549" y="23014"/>
                  <a:pt x="11592" y="22950"/>
                </a:cubicBezTo>
                <a:cubicBezTo>
                  <a:pt x="11626" y="22902"/>
                  <a:pt x="11654" y="22849"/>
                  <a:pt x="11677" y="22794"/>
                </a:cubicBezTo>
                <a:cubicBezTo>
                  <a:pt x="11689" y="22765"/>
                  <a:pt x="11734" y="22645"/>
                  <a:pt x="11734" y="22645"/>
                </a:cubicBezTo>
                <a:cubicBezTo>
                  <a:pt x="11739" y="22572"/>
                  <a:pt x="11804" y="22510"/>
                  <a:pt x="11792" y="22434"/>
                </a:cubicBezTo>
                <a:cubicBezTo>
                  <a:pt x="11789" y="22412"/>
                  <a:pt x="11777" y="22399"/>
                  <a:pt x="11771" y="22377"/>
                </a:cubicBezTo>
                <a:cubicBezTo>
                  <a:pt x="11761" y="22347"/>
                  <a:pt x="11761" y="22304"/>
                  <a:pt x="11761" y="22272"/>
                </a:cubicBezTo>
                <a:cubicBezTo>
                  <a:pt x="11759" y="22242"/>
                  <a:pt x="11764" y="22212"/>
                  <a:pt x="11749" y="22187"/>
                </a:cubicBezTo>
                <a:cubicBezTo>
                  <a:pt x="11734" y="22157"/>
                  <a:pt x="11699" y="22137"/>
                  <a:pt x="11689" y="22104"/>
                </a:cubicBezTo>
                <a:cubicBezTo>
                  <a:pt x="11677" y="22069"/>
                  <a:pt x="11681" y="22030"/>
                  <a:pt x="11669" y="21992"/>
                </a:cubicBezTo>
                <a:cubicBezTo>
                  <a:pt x="11651" y="21929"/>
                  <a:pt x="11662" y="21895"/>
                  <a:pt x="11706" y="21844"/>
                </a:cubicBezTo>
                <a:cubicBezTo>
                  <a:pt x="11727" y="21817"/>
                  <a:pt x="11774" y="21784"/>
                  <a:pt x="11786" y="21750"/>
                </a:cubicBezTo>
                <a:cubicBezTo>
                  <a:pt x="11799" y="21717"/>
                  <a:pt x="11779" y="21700"/>
                  <a:pt x="11759" y="21672"/>
                </a:cubicBezTo>
                <a:cubicBezTo>
                  <a:pt x="11714" y="21604"/>
                  <a:pt x="11607" y="21502"/>
                  <a:pt x="11606" y="21413"/>
                </a:cubicBezTo>
                <a:cubicBezTo>
                  <a:pt x="11606" y="21378"/>
                  <a:pt x="11634" y="21362"/>
                  <a:pt x="11642" y="21330"/>
                </a:cubicBezTo>
                <a:cubicBezTo>
                  <a:pt x="11651" y="21293"/>
                  <a:pt x="11626" y="21252"/>
                  <a:pt x="11599" y="21225"/>
                </a:cubicBezTo>
                <a:cubicBezTo>
                  <a:pt x="11542" y="21172"/>
                  <a:pt x="11452" y="21165"/>
                  <a:pt x="11379" y="21158"/>
                </a:cubicBezTo>
                <a:cubicBezTo>
                  <a:pt x="11310" y="21152"/>
                  <a:pt x="11240" y="21147"/>
                  <a:pt x="11179" y="21178"/>
                </a:cubicBezTo>
                <a:cubicBezTo>
                  <a:pt x="11144" y="21197"/>
                  <a:pt x="11147" y="21232"/>
                  <a:pt x="11119" y="21253"/>
                </a:cubicBezTo>
                <a:cubicBezTo>
                  <a:pt x="11085" y="21280"/>
                  <a:pt x="11034" y="21280"/>
                  <a:pt x="11010" y="21325"/>
                </a:cubicBezTo>
                <a:cubicBezTo>
                  <a:pt x="10995" y="21352"/>
                  <a:pt x="11004" y="21393"/>
                  <a:pt x="11009" y="21422"/>
                </a:cubicBezTo>
                <a:cubicBezTo>
                  <a:pt x="11012" y="21440"/>
                  <a:pt x="11027" y="21463"/>
                  <a:pt x="11027" y="21478"/>
                </a:cubicBezTo>
                <a:cubicBezTo>
                  <a:pt x="11027" y="21502"/>
                  <a:pt x="11007" y="21515"/>
                  <a:pt x="10987" y="21524"/>
                </a:cubicBezTo>
                <a:cubicBezTo>
                  <a:pt x="10959" y="21535"/>
                  <a:pt x="10957" y="21537"/>
                  <a:pt x="10927" y="21512"/>
                </a:cubicBezTo>
                <a:cubicBezTo>
                  <a:pt x="10904" y="21493"/>
                  <a:pt x="10879" y="21440"/>
                  <a:pt x="10854" y="21428"/>
                </a:cubicBezTo>
                <a:cubicBezTo>
                  <a:pt x="10822" y="21413"/>
                  <a:pt x="10785" y="21442"/>
                  <a:pt x="10755" y="21458"/>
                </a:cubicBezTo>
                <a:cubicBezTo>
                  <a:pt x="10717" y="21482"/>
                  <a:pt x="10684" y="21515"/>
                  <a:pt x="10640" y="21527"/>
                </a:cubicBezTo>
                <a:cubicBezTo>
                  <a:pt x="10600" y="21537"/>
                  <a:pt x="10560" y="21547"/>
                  <a:pt x="10530" y="21524"/>
                </a:cubicBezTo>
                <a:cubicBezTo>
                  <a:pt x="10517" y="21450"/>
                  <a:pt x="10545" y="21395"/>
                  <a:pt x="10580" y="21333"/>
                </a:cubicBezTo>
                <a:cubicBezTo>
                  <a:pt x="10597" y="21305"/>
                  <a:pt x="10617" y="21275"/>
                  <a:pt x="10640" y="21250"/>
                </a:cubicBezTo>
                <a:cubicBezTo>
                  <a:pt x="10669" y="21220"/>
                  <a:pt x="10692" y="21183"/>
                  <a:pt x="10720" y="21152"/>
                </a:cubicBezTo>
                <a:cubicBezTo>
                  <a:pt x="10770" y="21100"/>
                  <a:pt x="10814" y="21052"/>
                  <a:pt x="10882" y="21022"/>
                </a:cubicBezTo>
                <a:cubicBezTo>
                  <a:pt x="10917" y="21007"/>
                  <a:pt x="10952" y="21008"/>
                  <a:pt x="10985" y="20992"/>
                </a:cubicBezTo>
                <a:cubicBezTo>
                  <a:pt x="11040" y="20963"/>
                  <a:pt x="11079" y="20930"/>
                  <a:pt x="11114" y="20882"/>
                </a:cubicBezTo>
                <a:cubicBezTo>
                  <a:pt x="11135" y="20850"/>
                  <a:pt x="11139" y="20833"/>
                  <a:pt x="11169" y="20820"/>
                </a:cubicBezTo>
                <a:cubicBezTo>
                  <a:pt x="11222" y="20793"/>
                  <a:pt x="11269" y="20792"/>
                  <a:pt x="11305" y="20738"/>
                </a:cubicBezTo>
                <a:cubicBezTo>
                  <a:pt x="11339" y="20690"/>
                  <a:pt x="11345" y="20643"/>
                  <a:pt x="11357" y="20590"/>
                </a:cubicBezTo>
                <a:cubicBezTo>
                  <a:pt x="11365" y="20560"/>
                  <a:pt x="11379" y="20557"/>
                  <a:pt x="11399" y="20533"/>
                </a:cubicBezTo>
                <a:cubicBezTo>
                  <a:pt x="11426" y="20502"/>
                  <a:pt x="11437" y="20447"/>
                  <a:pt x="11454" y="20410"/>
                </a:cubicBezTo>
                <a:cubicBezTo>
                  <a:pt x="11471" y="20375"/>
                  <a:pt x="11482" y="20357"/>
                  <a:pt x="11509" y="20327"/>
                </a:cubicBezTo>
                <a:cubicBezTo>
                  <a:pt x="11521" y="20315"/>
                  <a:pt x="11531" y="20302"/>
                  <a:pt x="11536" y="20288"/>
                </a:cubicBezTo>
                <a:cubicBezTo>
                  <a:pt x="11467" y="20260"/>
                  <a:pt x="11416" y="20368"/>
                  <a:pt x="11370" y="20402"/>
                </a:cubicBezTo>
                <a:cubicBezTo>
                  <a:pt x="11320" y="20440"/>
                  <a:pt x="11259" y="20502"/>
                  <a:pt x="11197" y="20455"/>
                </a:cubicBezTo>
                <a:cubicBezTo>
                  <a:pt x="11152" y="20422"/>
                  <a:pt x="11110" y="20375"/>
                  <a:pt x="11069" y="20338"/>
                </a:cubicBezTo>
                <a:cubicBezTo>
                  <a:pt x="11047" y="20318"/>
                  <a:pt x="11017" y="20293"/>
                  <a:pt x="11022" y="20262"/>
                </a:cubicBezTo>
                <a:cubicBezTo>
                  <a:pt x="11025" y="20237"/>
                  <a:pt x="11054" y="20222"/>
                  <a:pt x="11047" y="20195"/>
                </a:cubicBezTo>
                <a:cubicBezTo>
                  <a:pt x="11039" y="20168"/>
                  <a:pt x="10995" y="20150"/>
                  <a:pt x="10972" y="20140"/>
                </a:cubicBezTo>
                <a:cubicBezTo>
                  <a:pt x="10934" y="20123"/>
                  <a:pt x="10895" y="20120"/>
                  <a:pt x="10857" y="20113"/>
                </a:cubicBezTo>
                <a:cubicBezTo>
                  <a:pt x="10809" y="20103"/>
                  <a:pt x="10787" y="20083"/>
                  <a:pt x="10752" y="20050"/>
                </a:cubicBezTo>
                <a:cubicBezTo>
                  <a:pt x="10729" y="20028"/>
                  <a:pt x="10695" y="20027"/>
                  <a:pt x="10695" y="20027"/>
                </a:cubicBezTo>
                <a:cubicBezTo>
                  <a:pt x="10650" y="20043"/>
                  <a:pt x="10632" y="19950"/>
                  <a:pt x="10640" y="19917"/>
                </a:cubicBezTo>
                <a:cubicBezTo>
                  <a:pt x="10645" y="19897"/>
                  <a:pt x="10635" y="19890"/>
                  <a:pt x="10657" y="19880"/>
                </a:cubicBezTo>
                <a:cubicBezTo>
                  <a:pt x="10704" y="19858"/>
                  <a:pt x="10754" y="19908"/>
                  <a:pt x="10782" y="19933"/>
                </a:cubicBezTo>
                <a:cubicBezTo>
                  <a:pt x="10815" y="19967"/>
                  <a:pt x="10884" y="19987"/>
                  <a:pt x="10907" y="19928"/>
                </a:cubicBezTo>
                <a:cubicBezTo>
                  <a:pt x="10922" y="19890"/>
                  <a:pt x="10864" y="19857"/>
                  <a:pt x="10849" y="19825"/>
                </a:cubicBezTo>
                <a:cubicBezTo>
                  <a:pt x="10839" y="19803"/>
                  <a:pt x="10834" y="19773"/>
                  <a:pt x="10829" y="19750"/>
                </a:cubicBezTo>
                <a:cubicBezTo>
                  <a:pt x="10839" y="19725"/>
                  <a:pt x="10890" y="19730"/>
                  <a:pt x="10912" y="19705"/>
                </a:cubicBezTo>
                <a:cubicBezTo>
                  <a:pt x="10922" y="19693"/>
                  <a:pt x="10922" y="19678"/>
                  <a:pt x="10934" y="19668"/>
                </a:cubicBezTo>
                <a:cubicBezTo>
                  <a:pt x="10972" y="19638"/>
                  <a:pt x="11049" y="19640"/>
                  <a:pt x="11095" y="19635"/>
                </a:cubicBezTo>
                <a:cubicBezTo>
                  <a:pt x="11152" y="19628"/>
                  <a:pt x="11204" y="19603"/>
                  <a:pt x="11262" y="19607"/>
                </a:cubicBezTo>
                <a:cubicBezTo>
                  <a:pt x="11304" y="19608"/>
                  <a:pt x="11339" y="19623"/>
                  <a:pt x="11380" y="19632"/>
                </a:cubicBezTo>
                <a:cubicBezTo>
                  <a:pt x="11404" y="19657"/>
                  <a:pt x="11402" y="19668"/>
                  <a:pt x="11404" y="19698"/>
                </a:cubicBezTo>
                <a:cubicBezTo>
                  <a:pt x="11406" y="19732"/>
                  <a:pt x="11407" y="19745"/>
                  <a:pt x="11429" y="19773"/>
                </a:cubicBezTo>
                <a:cubicBezTo>
                  <a:pt x="11454" y="19805"/>
                  <a:pt x="11492" y="19833"/>
                  <a:pt x="11514" y="19865"/>
                </a:cubicBezTo>
                <a:cubicBezTo>
                  <a:pt x="11534" y="19895"/>
                  <a:pt x="11536" y="19925"/>
                  <a:pt x="11559" y="19955"/>
                </a:cubicBezTo>
                <a:cubicBezTo>
                  <a:pt x="11622" y="19958"/>
                  <a:pt x="11677" y="19927"/>
                  <a:pt x="11742" y="19932"/>
                </a:cubicBezTo>
                <a:cubicBezTo>
                  <a:pt x="11769" y="19933"/>
                  <a:pt x="11837" y="19935"/>
                  <a:pt x="11851" y="19968"/>
                </a:cubicBezTo>
                <a:cubicBezTo>
                  <a:pt x="11864" y="20002"/>
                  <a:pt x="11802" y="20033"/>
                  <a:pt x="11782" y="20053"/>
                </a:cubicBezTo>
                <a:cubicBezTo>
                  <a:pt x="11741" y="20095"/>
                  <a:pt x="11762" y="20092"/>
                  <a:pt x="11804" y="20095"/>
                </a:cubicBezTo>
                <a:cubicBezTo>
                  <a:pt x="11869" y="20100"/>
                  <a:pt x="11906" y="20132"/>
                  <a:pt x="11966" y="20097"/>
                </a:cubicBezTo>
                <a:cubicBezTo>
                  <a:pt x="12007" y="20072"/>
                  <a:pt x="12054" y="20022"/>
                  <a:pt x="12101" y="20008"/>
                </a:cubicBezTo>
                <a:cubicBezTo>
                  <a:pt x="12144" y="19998"/>
                  <a:pt x="12196" y="20017"/>
                  <a:pt x="12199" y="19955"/>
                </a:cubicBezTo>
                <a:cubicBezTo>
                  <a:pt x="12202" y="19925"/>
                  <a:pt x="12167" y="19888"/>
                  <a:pt x="12182" y="19858"/>
                </a:cubicBezTo>
                <a:cubicBezTo>
                  <a:pt x="12189" y="19857"/>
                  <a:pt x="12247" y="19840"/>
                  <a:pt x="12302" y="19892"/>
                </a:cubicBezTo>
                <a:cubicBezTo>
                  <a:pt x="12321" y="19910"/>
                  <a:pt x="12327" y="19947"/>
                  <a:pt x="12351" y="19957"/>
                </a:cubicBezTo>
                <a:cubicBezTo>
                  <a:pt x="12372" y="19967"/>
                  <a:pt x="12397" y="19948"/>
                  <a:pt x="12422" y="19943"/>
                </a:cubicBezTo>
                <a:cubicBezTo>
                  <a:pt x="12464" y="19937"/>
                  <a:pt x="12492" y="19952"/>
                  <a:pt x="12532" y="19960"/>
                </a:cubicBezTo>
                <a:cubicBezTo>
                  <a:pt x="12596" y="19970"/>
                  <a:pt x="12669" y="19960"/>
                  <a:pt x="12729" y="19937"/>
                </a:cubicBezTo>
                <a:cubicBezTo>
                  <a:pt x="12794" y="19912"/>
                  <a:pt x="12841" y="19852"/>
                  <a:pt x="12901" y="19818"/>
                </a:cubicBezTo>
                <a:cubicBezTo>
                  <a:pt x="12954" y="19790"/>
                  <a:pt x="12996" y="19805"/>
                  <a:pt x="13049" y="19825"/>
                </a:cubicBezTo>
                <a:cubicBezTo>
                  <a:pt x="13109" y="19847"/>
                  <a:pt x="13159" y="19850"/>
                  <a:pt x="13206" y="19898"/>
                </a:cubicBezTo>
                <a:cubicBezTo>
                  <a:pt x="13254" y="19948"/>
                  <a:pt x="13296" y="19988"/>
                  <a:pt x="13351" y="20030"/>
                </a:cubicBezTo>
                <a:cubicBezTo>
                  <a:pt x="13389" y="20060"/>
                  <a:pt x="13431" y="20075"/>
                  <a:pt x="13477" y="20093"/>
                </a:cubicBezTo>
                <a:cubicBezTo>
                  <a:pt x="13531" y="20117"/>
                  <a:pt x="13572" y="20182"/>
                  <a:pt x="13629" y="20158"/>
                </a:cubicBezTo>
                <a:cubicBezTo>
                  <a:pt x="13644" y="20127"/>
                  <a:pt x="13632" y="20123"/>
                  <a:pt x="13611" y="20093"/>
                </a:cubicBezTo>
                <a:cubicBezTo>
                  <a:pt x="13579" y="20047"/>
                  <a:pt x="13594" y="20007"/>
                  <a:pt x="13559" y="19960"/>
                </a:cubicBezTo>
                <a:cubicBezTo>
                  <a:pt x="13522" y="19913"/>
                  <a:pt x="13489" y="19870"/>
                  <a:pt x="13459" y="19822"/>
                </a:cubicBezTo>
                <a:cubicBezTo>
                  <a:pt x="13437" y="19783"/>
                  <a:pt x="13397" y="19712"/>
                  <a:pt x="13407" y="19667"/>
                </a:cubicBezTo>
                <a:cubicBezTo>
                  <a:pt x="13417" y="19613"/>
                  <a:pt x="13502" y="19597"/>
                  <a:pt x="13546" y="19578"/>
                </a:cubicBezTo>
                <a:cubicBezTo>
                  <a:pt x="13589" y="19560"/>
                  <a:pt x="13616" y="19538"/>
                  <a:pt x="13658" y="19550"/>
                </a:cubicBezTo>
                <a:cubicBezTo>
                  <a:pt x="13686" y="19558"/>
                  <a:pt x="13688" y="19570"/>
                  <a:pt x="13711" y="19553"/>
                </a:cubicBezTo>
                <a:cubicBezTo>
                  <a:pt x="13784" y="19500"/>
                  <a:pt x="13664" y="19462"/>
                  <a:pt x="13636" y="19437"/>
                </a:cubicBezTo>
                <a:cubicBezTo>
                  <a:pt x="13592" y="19402"/>
                  <a:pt x="13571" y="19363"/>
                  <a:pt x="13569" y="19308"/>
                </a:cubicBezTo>
                <a:cubicBezTo>
                  <a:pt x="13569" y="19253"/>
                  <a:pt x="13589" y="19216"/>
                  <a:pt x="13569" y="19163"/>
                </a:cubicBezTo>
                <a:cubicBezTo>
                  <a:pt x="13551" y="19115"/>
                  <a:pt x="13531" y="19113"/>
                  <a:pt x="13559" y="19066"/>
                </a:cubicBezTo>
                <a:cubicBezTo>
                  <a:pt x="13582" y="19023"/>
                  <a:pt x="13584" y="18980"/>
                  <a:pt x="13601" y="18938"/>
                </a:cubicBezTo>
                <a:cubicBezTo>
                  <a:pt x="13612" y="18908"/>
                  <a:pt x="13639" y="18901"/>
                  <a:pt x="13663" y="18880"/>
                </a:cubicBezTo>
                <a:cubicBezTo>
                  <a:pt x="13698" y="18843"/>
                  <a:pt x="13693" y="18793"/>
                  <a:pt x="13711" y="18748"/>
                </a:cubicBezTo>
                <a:cubicBezTo>
                  <a:pt x="13753" y="18651"/>
                  <a:pt x="13859" y="18666"/>
                  <a:pt x="13939" y="18625"/>
                </a:cubicBezTo>
                <a:cubicBezTo>
                  <a:pt x="13951" y="18618"/>
                  <a:pt x="13961" y="18615"/>
                  <a:pt x="13968" y="18606"/>
                </a:cubicBezTo>
                <a:cubicBezTo>
                  <a:pt x="13946" y="18585"/>
                  <a:pt x="13899" y="18595"/>
                  <a:pt x="13871" y="18603"/>
                </a:cubicBezTo>
                <a:cubicBezTo>
                  <a:pt x="13826" y="18615"/>
                  <a:pt x="13808" y="18626"/>
                  <a:pt x="13759" y="18618"/>
                </a:cubicBezTo>
                <a:cubicBezTo>
                  <a:pt x="13726" y="18611"/>
                  <a:pt x="13639" y="18603"/>
                  <a:pt x="13616" y="18576"/>
                </a:cubicBezTo>
                <a:cubicBezTo>
                  <a:pt x="13606" y="18563"/>
                  <a:pt x="13607" y="18543"/>
                  <a:pt x="13607" y="18526"/>
                </a:cubicBezTo>
                <a:cubicBezTo>
                  <a:pt x="13607" y="18416"/>
                  <a:pt x="13631" y="18298"/>
                  <a:pt x="13649" y="18190"/>
                </a:cubicBezTo>
                <a:cubicBezTo>
                  <a:pt x="13656" y="18153"/>
                  <a:pt x="13643" y="18113"/>
                  <a:pt x="13649" y="18080"/>
                </a:cubicBezTo>
                <a:cubicBezTo>
                  <a:pt x="13658" y="18035"/>
                  <a:pt x="13724" y="17988"/>
                  <a:pt x="13766" y="17978"/>
                </a:cubicBezTo>
                <a:cubicBezTo>
                  <a:pt x="13833" y="17961"/>
                  <a:pt x="13983" y="17940"/>
                  <a:pt x="13979" y="17940"/>
                </a:cubicBezTo>
                <a:cubicBezTo>
                  <a:pt x="13979" y="17860"/>
                  <a:pt x="13904" y="17780"/>
                  <a:pt x="13873" y="17711"/>
                </a:cubicBezTo>
                <a:cubicBezTo>
                  <a:pt x="13869" y="17693"/>
                  <a:pt x="13893" y="17685"/>
                  <a:pt x="13908" y="17676"/>
                </a:cubicBezTo>
                <a:cubicBezTo>
                  <a:pt x="13928" y="17665"/>
                  <a:pt x="13951" y="17666"/>
                  <a:pt x="13971" y="17651"/>
                </a:cubicBezTo>
                <a:cubicBezTo>
                  <a:pt x="14004" y="17628"/>
                  <a:pt x="14051" y="17583"/>
                  <a:pt x="14071" y="17548"/>
                </a:cubicBezTo>
                <a:cubicBezTo>
                  <a:pt x="14089" y="17516"/>
                  <a:pt x="14099" y="17475"/>
                  <a:pt x="14101" y="17440"/>
                </a:cubicBezTo>
                <a:cubicBezTo>
                  <a:pt x="14104" y="17396"/>
                  <a:pt x="14083" y="17400"/>
                  <a:pt x="14063" y="17366"/>
                </a:cubicBezTo>
                <a:cubicBezTo>
                  <a:pt x="14044" y="17336"/>
                  <a:pt x="14054" y="17318"/>
                  <a:pt x="14024" y="17293"/>
                </a:cubicBezTo>
                <a:cubicBezTo>
                  <a:pt x="14004" y="17275"/>
                  <a:pt x="13981" y="17239"/>
                  <a:pt x="13954" y="17229"/>
                </a:cubicBezTo>
                <a:cubicBezTo>
                  <a:pt x="13896" y="17204"/>
                  <a:pt x="13871" y="17335"/>
                  <a:pt x="13784" y="17336"/>
                </a:cubicBezTo>
                <a:cubicBezTo>
                  <a:pt x="13726" y="17320"/>
                  <a:pt x="13738" y="17229"/>
                  <a:pt x="13703" y="17198"/>
                </a:cubicBezTo>
                <a:cubicBezTo>
                  <a:pt x="13634" y="17136"/>
                  <a:pt x="13622" y="17261"/>
                  <a:pt x="13596" y="17310"/>
                </a:cubicBezTo>
                <a:cubicBezTo>
                  <a:pt x="13559" y="17375"/>
                  <a:pt x="13502" y="17418"/>
                  <a:pt x="13471" y="17485"/>
                </a:cubicBezTo>
                <a:cubicBezTo>
                  <a:pt x="13452" y="17523"/>
                  <a:pt x="13441" y="17561"/>
                  <a:pt x="13427" y="17601"/>
                </a:cubicBezTo>
                <a:cubicBezTo>
                  <a:pt x="13419" y="17628"/>
                  <a:pt x="13441" y="17685"/>
                  <a:pt x="13406" y="17686"/>
                </a:cubicBezTo>
                <a:cubicBezTo>
                  <a:pt x="13334" y="17671"/>
                  <a:pt x="13242" y="17605"/>
                  <a:pt x="13212" y="17536"/>
                </a:cubicBezTo>
                <a:cubicBezTo>
                  <a:pt x="13194" y="17496"/>
                  <a:pt x="13201" y="17455"/>
                  <a:pt x="13219" y="17418"/>
                </a:cubicBezTo>
                <a:cubicBezTo>
                  <a:pt x="13229" y="17395"/>
                  <a:pt x="13241" y="17355"/>
                  <a:pt x="13254" y="17335"/>
                </a:cubicBezTo>
                <a:cubicBezTo>
                  <a:pt x="13286" y="17285"/>
                  <a:pt x="13344" y="17275"/>
                  <a:pt x="13359" y="17204"/>
                </a:cubicBezTo>
                <a:cubicBezTo>
                  <a:pt x="13366" y="17171"/>
                  <a:pt x="13391" y="17039"/>
                  <a:pt x="13351" y="17036"/>
                </a:cubicBezTo>
                <a:cubicBezTo>
                  <a:pt x="13284" y="17083"/>
                  <a:pt x="13257" y="17238"/>
                  <a:pt x="13174" y="17241"/>
                </a:cubicBezTo>
                <a:cubicBezTo>
                  <a:pt x="13122" y="17245"/>
                  <a:pt x="13069" y="17208"/>
                  <a:pt x="13051" y="17161"/>
                </a:cubicBezTo>
                <a:cubicBezTo>
                  <a:pt x="13041" y="17138"/>
                  <a:pt x="13044" y="17113"/>
                  <a:pt x="13034" y="17089"/>
                </a:cubicBezTo>
                <a:cubicBezTo>
                  <a:pt x="13022" y="17061"/>
                  <a:pt x="13002" y="17038"/>
                  <a:pt x="12981" y="17016"/>
                </a:cubicBezTo>
                <a:cubicBezTo>
                  <a:pt x="12937" y="16969"/>
                  <a:pt x="12902" y="16946"/>
                  <a:pt x="12899" y="16879"/>
                </a:cubicBezTo>
                <a:cubicBezTo>
                  <a:pt x="12896" y="16824"/>
                  <a:pt x="12924" y="16763"/>
                  <a:pt x="12899" y="16713"/>
                </a:cubicBezTo>
                <a:cubicBezTo>
                  <a:pt x="12841" y="16589"/>
                  <a:pt x="12719" y="16518"/>
                  <a:pt x="12649" y="16408"/>
                </a:cubicBezTo>
                <a:cubicBezTo>
                  <a:pt x="12597" y="16324"/>
                  <a:pt x="12581" y="16218"/>
                  <a:pt x="12627" y="16133"/>
                </a:cubicBezTo>
                <a:cubicBezTo>
                  <a:pt x="12682" y="16034"/>
                  <a:pt x="12644" y="15923"/>
                  <a:pt x="12684" y="15823"/>
                </a:cubicBezTo>
                <a:cubicBezTo>
                  <a:pt x="12704" y="15773"/>
                  <a:pt x="12722" y="15738"/>
                  <a:pt x="12726" y="15684"/>
                </a:cubicBezTo>
                <a:cubicBezTo>
                  <a:pt x="12731" y="15643"/>
                  <a:pt x="12739" y="15626"/>
                  <a:pt x="12769" y="15596"/>
                </a:cubicBezTo>
                <a:cubicBezTo>
                  <a:pt x="12791" y="15578"/>
                  <a:pt x="12817" y="15563"/>
                  <a:pt x="12834" y="15538"/>
                </a:cubicBezTo>
                <a:cubicBezTo>
                  <a:pt x="12841" y="15528"/>
                  <a:pt x="12842" y="15506"/>
                  <a:pt x="12849" y="15498"/>
                </a:cubicBezTo>
                <a:cubicBezTo>
                  <a:pt x="12867" y="15478"/>
                  <a:pt x="12899" y="15476"/>
                  <a:pt x="12919" y="15458"/>
                </a:cubicBezTo>
                <a:cubicBezTo>
                  <a:pt x="12919" y="15458"/>
                  <a:pt x="12962" y="15419"/>
                  <a:pt x="12971" y="15396"/>
                </a:cubicBezTo>
                <a:cubicBezTo>
                  <a:pt x="12984" y="15346"/>
                  <a:pt x="12982" y="15289"/>
                  <a:pt x="12976" y="15238"/>
                </a:cubicBezTo>
                <a:cubicBezTo>
                  <a:pt x="12969" y="15191"/>
                  <a:pt x="12966" y="15154"/>
                  <a:pt x="12967" y="15106"/>
                </a:cubicBezTo>
                <a:cubicBezTo>
                  <a:pt x="12967" y="15074"/>
                  <a:pt x="12967" y="15059"/>
                  <a:pt x="12932" y="15047"/>
                </a:cubicBezTo>
                <a:cubicBezTo>
                  <a:pt x="12857" y="15089"/>
                  <a:pt x="12869" y="15169"/>
                  <a:pt x="12802" y="15209"/>
                </a:cubicBezTo>
                <a:cubicBezTo>
                  <a:pt x="12766" y="15231"/>
                  <a:pt x="12727" y="15219"/>
                  <a:pt x="12736" y="15164"/>
                </a:cubicBezTo>
                <a:cubicBezTo>
                  <a:pt x="12744" y="15118"/>
                  <a:pt x="12831" y="15056"/>
                  <a:pt x="12809" y="15007"/>
                </a:cubicBezTo>
                <a:cubicBezTo>
                  <a:pt x="12797" y="14984"/>
                  <a:pt x="12754" y="14941"/>
                  <a:pt x="12719" y="14959"/>
                </a:cubicBezTo>
                <a:cubicBezTo>
                  <a:pt x="12684" y="15009"/>
                  <a:pt x="12684" y="15067"/>
                  <a:pt x="12626" y="15097"/>
                </a:cubicBezTo>
                <a:cubicBezTo>
                  <a:pt x="12579" y="15121"/>
                  <a:pt x="12512" y="15131"/>
                  <a:pt x="12461" y="15126"/>
                </a:cubicBezTo>
                <a:cubicBezTo>
                  <a:pt x="12392" y="15118"/>
                  <a:pt x="12354" y="15124"/>
                  <a:pt x="12287" y="15146"/>
                </a:cubicBezTo>
                <a:cubicBezTo>
                  <a:pt x="12224" y="15169"/>
                  <a:pt x="12221" y="15178"/>
                  <a:pt x="12207" y="15238"/>
                </a:cubicBezTo>
                <a:cubicBezTo>
                  <a:pt x="12192" y="15306"/>
                  <a:pt x="12099" y="15319"/>
                  <a:pt x="12036" y="15338"/>
                </a:cubicBezTo>
                <a:cubicBezTo>
                  <a:pt x="11997" y="15348"/>
                  <a:pt x="11991" y="15346"/>
                  <a:pt x="11971" y="15376"/>
                </a:cubicBezTo>
                <a:cubicBezTo>
                  <a:pt x="11957" y="15394"/>
                  <a:pt x="11961" y="15408"/>
                  <a:pt x="11937" y="15418"/>
                </a:cubicBezTo>
                <a:cubicBezTo>
                  <a:pt x="11894" y="15438"/>
                  <a:pt x="11832" y="15418"/>
                  <a:pt x="11806" y="15383"/>
                </a:cubicBezTo>
                <a:cubicBezTo>
                  <a:pt x="11779" y="15346"/>
                  <a:pt x="11802" y="15289"/>
                  <a:pt x="11761" y="15264"/>
                </a:cubicBezTo>
                <a:cubicBezTo>
                  <a:pt x="11711" y="15284"/>
                  <a:pt x="11767" y="15406"/>
                  <a:pt x="11742" y="15404"/>
                </a:cubicBezTo>
                <a:cubicBezTo>
                  <a:pt x="11704" y="15401"/>
                  <a:pt x="11691" y="15381"/>
                  <a:pt x="11662" y="15369"/>
                </a:cubicBezTo>
                <a:cubicBezTo>
                  <a:pt x="11634" y="15358"/>
                  <a:pt x="11607" y="15343"/>
                  <a:pt x="11577" y="15331"/>
                </a:cubicBezTo>
                <a:cubicBezTo>
                  <a:pt x="11556" y="15323"/>
                  <a:pt x="11524" y="15321"/>
                  <a:pt x="11506" y="15304"/>
                </a:cubicBezTo>
                <a:cubicBezTo>
                  <a:pt x="11472" y="15273"/>
                  <a:pt x="11531" y="15149"/>
                  <a:pt x="11496" y="15123"/>
                </a:cubicBezTo>
                <a:cubicBezTo>
                  <a:pt x="11464" y="15107"/>
                  <a:pt x="11449" y="15169"/>
                  <a:pt x="11427" y="15184"/>
                </a:cubicBezTo>
                <a:cubicBezTo>
                  <a:pt x="11384" y="15216"/>
                  <a:pt x="11327" y="15203"/>
                  <a:pt x="11295" y="15166"/>
                </a:cubicBezTo>
                <a:cubicBezTo>
                  <a:pt x="11269" y="15134"/>
                  <a:pt x="11250" y="15113"/>
                  <a:pt x="11214" y="15092"/>
                </a:cubicBezTo>
                <a:cubicBezTo>
                  <a:pt x="11182" y="15074"/>
                  <a:pt x="11174" y="15017"/>
                  <a:pt x="11127" y="15026"/>
                </a:cubicBezTo>
                <a:cubicBezTo>
                  <a:pt x="11075" y="15056"/>
                  <a:pt x="11174" y="15173"/>
                  <a:pt x="11214" y="15219"/>
                </a:cubicBezTo>
                <a:cubicBezTo>
                  <a:pt x="11232" y="15239"/>
                  <a:pt x="11239" y="15244"/>
                  <a:pt x="11245" y="15269"/>
                </a:cubicBezTo>
                <a:cubicBezTo>
                  <a:pt x="11250" y="15281"/>
                  <a:pt x="11239" y="15293"/>
                  <a:pt x="11245" y="15303"/>
                </a:cubicBezTo>
                <a:cubicBezTo>
                  <a:pt x="11252" y="15314"/>
                  <a:pt x="11285" y="15318"/>
                  <a:pt x="11297" y="15331"/>
                </a:cubicBezTo>
                <a:cubicBezTo>
                  <a:pt x="11310" y="15349"/>
                  <a:pt x="11312" y="15364"/>
                  <a:pt x="11307" y="15388"/>
                </a:cubicBezTo>
                <a:cubicBezTo>
                  <a:pt x="11292" y="15448"/>
                  <a:pt x="11229" y="15456"/>
                  <a:pt x="11242" y="15526"/>
                </a:cubicBezTo>
                <a:cubicBezTo>
                  <a:pt x="11249" y="15556"/>
                  <a:pt x="11297" y="15609"/>
                  <a:pt x="11279" y="15639"/>
                </a:cubicBezTo>
                <a:cubicBezTo>
                  <a:pt x="11265" y="15661"/>
                  <a:pt x="11182" y="15674"/>
                  <a:pt x="11157" y="15669"/>
                </a:cubicBezTo>
                <a:cubicBezTo>
                  <a:pt x="11119" y="15664"/>
                  <a:pt x="11092" y="15624"/>
                  <a:pt x="11055" y="15604"/>
                </a:cubicBezTo>
                <a:cubicBezTo>
                  <a:pt x="11019" y="15583"/>
                  <a:pt x="10965" y="15564"/>
                  <a:pt x="10947" y="15521"/>
                </a:cubicBezTo>
                <a:cubicBezTo>
                  <a:pt x="10930" y="15484"/>
                  <a:pt x="10934" y="15461"/>
                  <a:pt x="10892" y="15436"/>
                </a:cubicBezTo>
                <a:cubicBezTo>
                  <a:pt x="10854" y="15413"/>
                  <a:pt x="10802" y="15409"/>
                  <a:pt x="10777" y="15366"/>
                </a:cubicBezTo>
                <a:cubicBezTo>
                  <a:pt x="10762" y="15344"/>
                  <a:pt x="10764" y="15323"/>
                  <a:pt x="10742" y="15301"/>
                </a:cubicBezTo>
                <a:cubicBezTo>
                  <a:pt x="10710" y="15269"/>
                  <a:pt x="10655" y="15236"/>
                  <a:pt x="10612" y="15228"/>
                </a:cubicBezTo>
                <a:cubicBezTo>
                  <a:pt x="10582" y="15221"/>
                  <a:pt x="10555" y="15233"/>
                  <a:pt x="10525" y="15233"/>
                </a:cubicBezTo>
                <a:cubicBezTo>
                  <a:pt x="10495" y="15233"/>
                  <a:pt x="10467" y="15221"/>
                  <a:pt x="10442" y="15208"/>
                </a:cubicBezTo>
                <a:cubicBezTo>
                  <a:pt x="10417" y="15198"/>
                  <a:pt x="10384" y="15164"/>
                  <a:pt x="10362" y="15158"/>
                </a:cubicBezTo>
                <a:cubicBezTo>
                  <a:pt x="10330" y="15148"/>
                  <a:pt x="10287" y="15159"/>
                  <a:pt x="10255" y="15181"/>
                </a:cubicBezTo>
                <a:cubicBezTo>
                  <a:pt x="10207" y="15213"/>
                  <a:pt x="10195" y="15258"/>
                  <a:pt x="10187" y="15311"/>
                </a:cubicBezTo>
                <a:cubicBezTo>
                  <a:pt x="10170" y="15424"/>
                  <a:pt x="10270" y="15493"/>
                  <a:pt x="10309" y="15591"/>
                </a:cubicBezTo>
                <a:cubicBezTo>
                  <a:pt x="10334" y="15654"/>
                  <a:pt x="10372" y="15798"/>
                  <a:pt x="10319" y="15839"/>
                </a:cubicBezTo>
                <a:cubicBezTo>
                  <a:pt x="10270" y="15853"/>
                  <a:pt x="10209" y="15796"/>
                  <a:pt x="10172" y="15768"/>
                </a:cubicBezTo>
                <a:cubicBezTo>
                  <a:pt x="10122" y="15729"/>
                  <a:pt x="10144" y="15698"/>
                  <a:pt x="10150" y="15648"/>
                </a:cubicBezTo>
                <a:cubicBezTo>
                  <a:pt x="10155" y="15603"/>
                  <a:pt x="10135" y="15559"/>
                  <a:pt x="10109" y="15524"/>
                </a:cubicBezTo>
                <a:cubicBezTo>
                  <a:pt x="10079" y="15488"/>
                  <a:pt x="10007" y="15438"/>
                  <a:pt x="10005" y="15384"/>
                </a:cubicBezTo>
                <a:cubicBezTo>
                  <a:pt x="10004" y="15344"/>
                  <a:pt x="10045" y="15349"/>
                  <a:pt x="10017" y="15313"/>
                </a:cubicBezTo>
                <a:cubicBezTo>
                  <a:pt x="9999" y="15289"/>
                  <a:pt x="9969" y="15259"/>
                  <a:pt x="9945" y="15239"/>
                </a:cubicBezTo>
                <a:cubicBezTo>
                  <a:pt x="9895" y="15193"/>
                  <a:pt x="9824" y="15169"/>
                  <a:pt x="9782" y="15113"/>
                </a:cubicBezTo>
                <a:cubicBezTo>
                  <a:pt x="9757" y="15079"/>
                  <a:pt x="9770" y="15044"/>
                  <a:pt x="9742" y="15009"/>
                </a:cubicBezTo>
                <a:cubicBezTo>
                  <a:pt x="9697" y="14954"/>
                  <a:pt x="9700" y="14912"/>
                  <a:pt x="9689" y="14842"/>
                </a:cubicBezTo>
                <a:cubicBezTo>
                  <a:pt x="9672" y="14747"/>
                  <a:pt x="9712" y="14594"/>
                  <a:pt x="9842" y="14621"/>
                </a:cubicBezTo>
                <a:cubicBezTo>
                  <a:pt x="9897" y="14631"/>
                  <a:pt x="9937" y="14729"/>
                  <a:pt x="9947" y="14777"/>
                </a:cubicBezTo>
                <a:cubicBezTo>
                  <a:pt x="9954" y="14809"/>
                  <a:pt x="9947" y="14846"/>
                  <a:pt x="9964" y="14871"/>
                </a:cubicBezTo>
                <a:cubicBezTo>
                  <a:pt x="9974" y="14889"/>
                  <a:pt x="10009" y="14917"/>
                  <a:pt x="10025" y="14936"/>
                </a:cubicBezTo>
                <a:cubicBezTo>
                  <a:pt x="10050" y="14961"/>
                  <a:pt x="10104" y="14994"/>
                  <a:pt x="10120" y="14934"/>
                </a:cubicBezTo>
                <a:cubicBezTo>
                  <a:pt x="10134" y="14882"/>
                  <a:pt x="10050" y="14796"/>
                  <a:pt x="10024" y="14756"/>
                </a:cubicBezTo>
                <a:cubicBezTo>
                  <a:pt x="10004" y="14727"/>
                  <a:pt x="10010" y="14701"/>
                  <a:pt x="9995" y="14674"/>
                </a:cubicBezTo>
                <a:cubicBezTo>
                  <a:pt x="9990" y="14664"/>
                  <a:pt x="9975" y="14659"/>
                  <a:pt x="9969" y="14649"/>
                </a:cubicBezTo>
                <a:cubicBezTo>
                  <a:pt x="9954" y="14629"/>
                  <a:pt x="9952" y="14606"/>
                  <a:pt x="9950" y="14581"/>
                </a:cubicBezTo>
                <a:cubicBezTo>
                  <a:pt x="9949" y="14529"/>
                  <a:pt x="9949" y="14479"/>
                  <a:pt x="9962" y="14429"/>
                </a:cubicBezTo>
                <a:cubicBezTo>
                  <a:pt x="9977" y="14374"/>
                  <a:pt x="9999" y="14379"/>
                  <a:pt x="10045" y="14354"/>
                </a:cubicBezTo>
                <a:cubicBezTo>
                  <a:pt x="10089" y="14329"/>
                  <a:pt x="10099" y="14292"/>
                  <a:pt x="10125" y="14254"/>
                </a:cubicBezTo>
                <a:cubicBezTo>
                  <a:pt x="10164" y="14196"/>
                  <a:pt x="10207" y="14152"/>
                  <a:pt x="10232" y="14086"/>
                </a:cubicBezTo>
                <a:cubicBezTo>
                  <a:pt x="10244" y="14052"/>
                  <a:pt x="10244" y="14022"/>
                  <a:pt x="10270" y="13997"/>
                </a:cubicBezTo>
                <a:cubicBezTo>
                  <a:pt x="10302" y="13969"/>
                  <a:pt x="10337" y="13957"/>
                  <a:pt x="10360" y="13919"/>
                </a:cubicBezTo>
                <a:cubicBezTo>
                  <a:pt x="10404" y="13844"/>
                  <a:pt x="10379" y="13739"/>
                  <a:pt x="10400" y="13657"/>
                </a:cubicBezTo>
                <a:cubicBezTo>
                  <a:pt x="10407" y="13629"/>
                  <a:pt x="10419" y="13597"/>
                  <a:pt x="10437" y="13574"/>
                </a:cubicBezTo>
                <a:cubicBezTo>
                  <a:pt x="10470" y="13537"/>
                  <a:pt x="10512" y="13529"/>
                  <a:pt x="10515" y="13467"/>
                </a:cubicBezTo>
                <a:cubicBezTo>
                  <a:pt x="10517" y="13426"/>
                  <a:pt x="10490" y="13426"/>
                  <a:pt x="10502" y="13387"/>
                </a:cubicBezTo>
                <a:cubicBezTo>
                  <a:pt x="10514" y="13339"/>
                  <a:pt x="10567" y="13299"/>
                  <a:pt x="10612" y="13281"/>
                </a:cubicBezTo>
                <a:cubicBezTo>
                  <a:pt x="10625" y="13274"/>
                  <a:pt x="10760" y="13192"/>
                  <a:pt x="10760" y="13192"/>
                </a:cubicBezTo>
                <a:cubicBezTo>
                  <a:pt x="10785" y="13114"/>
                  <a:pt x="10744" y="12982"/>
                  <a:pt x="10712" y="12909"/>
                </a:cubicBezTo>
                <a:cubicBezTo>
                  <a:pt x="10700" y="12887"/>
                  <a:pt x="10682" y="12870"/>
                  <a:pt x="10672" y="12849"/>
                </a:cubicBezTo>
                <a:cubicBezTo>
                  <a:pt x="10662" y="12827"/>
                  <a:pt x="10660" y="12804"/>
                  <a:pt x="10647" y="12785"/>
                </a:cubicBezTo>
                <a:cubicBezTo>
                  <a:pt x="10612" y="12739"/>
                  <a:pt x="10544" y="12725"/>
                  <a:pt x="10494" y="12704"/>
                </a:cubicBezTo>
                <a:cubicBezTo>
                  <a:pt x="10472" y="12695"/>
                  <a:pt x="10430" y="12682"/>
                  <a:pt x="10417" y="12662"/>
                </a:cubicBezTo>
                <a:cubicBezTo>
                  <a:pt x="10410" y="12654"/>
                  <a:pt x="10417" y="12637"/>
                  <a:pt x="10410" y="12625"/>
                </a:cubicBezTo>
                <a:cubicBezTo>
                  <a:pt x="10399" y="12605"/>
                  <a:pt x="10370" y="12600"/>
                  <a:pt x="10360" y="12575"/>
                </a:cubicBezTo>
                <a:cubicBezTo>
                  <a:pt x="10344" y="12535"/>
                  <a:pt x="10355" y="12509"/>
                  <a:pt x="10317" y="12474"/>
                </a:cubicBezTo>
                <a:cubicBezTo>
                  <a:pt x="10295" y="12455"/>
                  <a:pt x="10285" y="12375"/>
                  <a:pt x="10287" y="12362"/>
                </a:cubicBezTo>
                <a:cubicBezTo>
                  <a:pt x="10292" y="12344"/>
                  <a:pt x="10277" y="12287"/>
                  <a:pt x="10289" y="12262"/>
                </a:cubicBezTo>
                <a:cubicBezTo>
                  <a:pt x="10297" y="12245"/>
                  <a:pt x="10325" y="12244"/>
                  <a:pt x="10332" y="12224"/>
                </a:cubicBezTo>
                <a:cubicBezTo>
                  <a:pt x="10335" y="12217"/>
                  <a:pt x="10329" y="12192"/>
                  <a:pt x="10327" y="12185"/>
                </a:cubicBezTo>
                <a:cubicBezTo>
                  <a:pt x="10315" y="12120"/>
                  <a:pt x="10317" y="12074"/>
                  <a:pt x="10337" y="12009"/>
                </a:cubicBezTo>
                <a:cubicBezTo>
                  <a:pt x="10360" y="11940"/>
                  <a:pt x="10387" y="11897"/>
                  <a:pt x="10344" y="11832"/>
                </a:cubicBezTo>
                <a:cubicBezTo>
                  <a:pt x="10320" y="11799"/>
                  <a:pt x="10314" y="11769"/>
                  <a:pt x="10299" y="11732"/>
                </a:cubicBezTo>
                <a:cubicBezTo>
                  <a:pt x="10260" y="11645"/>
                  <a:pt x="10204" y="11720"/>
                  <a:pt x="10169" y="11774"/>
                </a:cubicBezTo>
                <a:cubicBezTo>
                  <a:pt x="10150" y="11800"/>
                  <a:pt x="10144" y="11814"/>
                  <a:pt x="10137" y="11847"/>
                </a:cubicBezTo>
                <a:cubicBezTo>
                  <a:pt x="10134" y="11860"/>
                  <a:pt x="10139" y="11884"/>
                  <a:pt x="10130" y="11895"/>
                </a:cubicBezTo>
                <a:cubicBezTo>
                  <a:pt x="10115" y="11924"/>
                  <a:pt x="10045" y="11950"/>
                  <a:pt x="10017" y="11927"/>
                </a:cubicBezTo>
                <a:cubicBezTo>
                  <a:pt x="9989" y="11905"/>
                  <a:pt x="10012" y="11817"/>
                  <a:pt x="9995" y="11787"/>
                </a:cubicBezTo>
                <a:cubicBezTo>
                  <a:pt x="9977" y="11754"/>
                  <a:pt x="9942" y="11770"/>
                  <a:pt x="9929" y="11799"/>
                </a:cubicBezTo>
                <a:cubicBezTo>
                  <a:pt x="9900" y="11860"/>
                  <a:pt x="9950" y="11884"/>
                  <a:pt x="9980" y="11924"/>
                </a:cubicBezTo>
                <a:cubicBezTo>
                  <a:pt x="10007" y="11960"/>
                  <a:pt x="10017" y="12010"/>
                  <a:pt x="10020" y="12052"/>
                </a:cubicBezTo>
                <a:cubicBezTo>
                  <a:pt x="10022" y="12080"/>
                  <a:pt x="10024" y="12115"/>
                  <a:pt x="10035" y="12142"/>
                </a:cubicBezTo>
                <a:cubicBezTo>
                  <a:pt x="10047" y="12174"/>
                  <a:pt x="10082" y="12200"/>
                  <a:pt x="10087" y="12237"/>
                </a:cubicBezTo>
                <a:cubicBezTo>
                  <a:pt x="10092" y="12269"/>
                  <a:pt x="10077" y="12329"/>
                  <a:pt x="10054" y="12355"/>
                </a:cubicBezTo>
                <a:cubicBezTo>
                  <a:pt x="9994" y="12424"/>
                  <a:pt x="9954" y="12319"/>
                  <a:pt x="9929" y="12274"/>
                </a:cubicBezTo>
                <a:cubicBezTo>
                  <a:pt x="9912" y="12245"/>
                  <a:pt x="9904" y="12222"/>
                  <a:pt x="9890" y="12190"/>
                </a:cubicBezTo>
                <a:cubicBezTo>
                  <a:pt x="9889" y="12184"/>
                  <a:pt x="9874" y="12170"/>
                  <a:pt x="9872" y="12160"/>
                </a:cubicBezTo>
                <a:cubicBezTo>
                  <a:pt x="9872" y="12147"/>
                  <a:pt x="9887" y="12140"/>
                  <a:pt x="9887" y="12129"/>
                </a:cubicBezTo>
                <a:cubicBezTo>
                  <a:pt x="9885" y="12057"/>
                  <a:pt x="9769" y="12034"/>
                  <a:pt x="9730" y="11977"/>
                </a:cubicBezTo>
                <a:cubicBezTo>
                  <a:pt x="9717" y="11957"/>
                  <a:pt x="9720" y="11934"/>
                  <a:pt x="9705" y="11917"/>
                </a:cubicBezTo>
                <a:cubicBezTo>
                  <a:pt x="9695" y="11907"/>
                  <a:pt x="9700" y="11875"/>
                  <a:pt x="9659" y="11894"/>
                </a:cubicBezTo>
                <a:cubicBezTo>
                  <a:pt x="9657" y="11919"/>
                  <a:pt x="9690" y="12029"/>
                  <a:pt x="9647" y="12024"/>
                </a:cubicBezTo>
                <a:cubicBezTo>
                  <a:pt x="9622" y="12020"/>
                  <a:pt x="9615" y="11977"/>
                  <a:pt x="9599" y="11965"/>
                </a:cubicBezTo>
                <a:cubicBezTo>
                  <a:pt x="9587" y="11955"/>
                  <a:pt x="9562" y="11954"/>
                  <a:pt x="9547" y="11944"/>
                </a:cubicBezTo>
                <a:cubicBezTo>
                  <a:pt x="9507" y="11920"/>
                  <a:pt x="9464" y="11880"/>
                  <a:pt x="9434" y="11844"/>
                </a:cubicBezTo>
                <a:cubicBezTo>
                  <a:pt x="9385" y="11784"/>
                  <a:pt x="9399" y="11734"/>
                  <a:pt x="9425" y="11674"/>
                </a:cubicBezTo>
                <a:cubicBezTo>
                  <a:pt x="9430" y="11659"/>
                  <a:pt x="9434" y="11639"/>
                  <a:pt x="9440" y="11624"/>
                </a:cubicBezTo>
                <a:cubicBezTo>
                  <a:pt x="9459" y="11570"/>
                  <a:pt x="9489" y="11524"/>
                  <a:pt x="9510" y="11472"/>
                </a:cubicBezTo>
                <a:cubicBezTo>
                  <a:pt x="9524" y="11440"/>
                  <a:pt x="9520" y="11405"/>
                  <a:pt x="9532" y="11377"/>
                </a:cubicBezTo>
                <a:cubicBezTo>
                  <a:pt x="9544" y="11350"/>
                  <a:pt x="9569" y="11335"/>
                  <a:pt x="9580" y="11307"/>
                </a:cubicBezTo>
                <a:cubicBezTo>
                  <a:pt x="9590" y="11280"/>
                  <a:pt x="9587" y="11250"/>
                  <a:pt x="9597" y="11224"/>
                </a:cubicBezTo>
                <a:cubicBezTo>
                  <a:pt x="9612" y="11185"/>
                  <a:pt x="9645" y="11155"/>
                  <a:pt x="9677" y="11130"/>
                </a:cubicBezTo>
                <a:cubicBezTo>
                  <a:pt x="9707" y="11105"/>
                  <a:pt x="9722" y="11072"/>
                  <a:pt x="9749" y="11047"/>
                </a:cubicBezTo>
                <a:cubicBezTo>
                  <a:pt x="9769" y="11029"/>
                  <a:pt x="9800" y="11029"/>
                  <a:pt x="9815" y="11007"/>
                </a:cubicBezTo>
                <a:cubicBezTo>
                  <a:pt x="9752" y="10970"/>
                  <a:pt x="9695" y="11060"/>
                  <a:pt x="9665" y="11104"/>
                </a:cubicBezTo>
                <a:cubicBezTo>
                  <a:pt x="9647" y="11130"/>
                  <a:pt x="9637" y="11160"/>
                  <a:pt x="9620" y="11189"/>
                </a:cubicBezTo>
                <a:cubicBezTo>
                  <a:pt x="9599" y="11224"/>
                  <a:pt x="9572" y="11255"/>
                  <a:pt x="9550" y="11290"/>
                </a:cubicBezTo>
                <a:cubicBezTo>
                  <a:pt x="9499" y="11375"/>
                  <a:pt x="9405" y="11394"/>
                  <a:pt x="9322" y="11437"/>
                </a:cubicBezTo>
                <a:cubicBezTo>
                  <a:pt x="9315" y="11440"/>
                  <a:pt x="9270" y="11455"/>
                  <a:pt x="9269" y="11459"/>
                </a:cubicBezTo>
                <a:cubicBezTo>
                  <a:pt x="9247" y="11479"/>
                  <a:pt x="9264" y="11485"/>
                  <a:pt x="9277" y="11514"/>
                </a:cubicBezTo>
                <a:cubicBezTo>
                  <a:pt x="9309" y="11585"/>
                  <a:pt x="9305" y="11659"/>
                  <a:pt x="9325" y="11732"/>
                </a:cubicBezTo>
                <a:cubicBezTo>
                  <a:pt x="9344" y="11794"/>
                  <a:pt x="9364" y="11850"/>
                  <a:pt x="9372" y="11914"/>
                </a:cubicBezTo>
                <a:cubicBezTo>
                  <a:pt x="9380" y="11975"/>
                  <a:pt x="9402" y="12042"/>
                  <a:pt x="9449" y="12085"/>
                </a:cubicBezTo>
                <a:cubicBezTo>
                  <a:pt x="9485" y="12120"/>
                  <a:pt x="9610" y="12154"/>
                  <a:pt x="9595" y="12225"/>
                </a:cubicBezTo>
                <a:cubicBezTo>
                  <a:pt x="9584" y="12284"/>
                  <a:pt x="9482" y="12277"/>
                  <a:pt x="9437" y="12290"/>
                </a:cubicBezTo>
                <a:cubicBezTo>
                  <a:pt x="9387" y="12305"/>
                  <a:pt x="9347" y="12335"/>
                  <a:pt x="9317" y="12379"/>
                </a:cubicBezTo>
                <a:cubicBezTo>
                  <a:pt x="9274" y="12445"/>
                  <a:pt x="9290" y="12524"/>
                  <a:pt x="9269" y="12599"/>
                </a:cubicBezTo>
                <a:cubicBezTo>
                  <a:pt x="9235" y="12717"/>
                  <a:pt x="9214" y="12837"/>
                  <a:pt x="9194" y="12959"/>
                </a:cubicBezTo>
                <a:cubicBezTo>
                  <a:pt x="9185" y="13009"/>
                  <a:pt x="9177" y="13062"/>
                  <a:pt x="9159" y="13111"/>
                </a:cubicBezTo>
                <a:cubicBezTo>
                  <a:pt x="9142" y="13154"/>
                  <a:pt x="9103" y="13189"/>
                  <a:pt x="9092" y="13234"/>
                </a:cubicBezTo>
                <a:cubicBezTo>
                  <a:pt x="9075" y="13297"/>
                  <a:pt x="9103" y="13369"/>
                  <a:pt x="9115" y="13432"/>
                </a:cubicBezTo>
                <a:cubicBezTo>
                  <a:pt x="9130" y="13519"/>
                  <a:pt x="9095" y="13609"/>
                  <a:pt x="9030" y="13667"/>
                </a:cubicBezTo>
                <a:cubicBezTo>
                  <a:pt x="9003" y="13691"/>
                  <a:pt x="8975" y="13717"/>
                  <a:pt x="8940" y="13724"/>
                </a:cubicBezTo>
                <a:cubicBezTo>
                  <a:pt x="8927" y="13727"/>
                  <a:pt x="8905" y="13721"/>
                  <a:pt x="8897" y="13724"/>
                </a:cubicBezTo>
                <a:cubicBezTo>
                  <a:pt x="8883" y="13727"/>
                  <a:pt x="8870" y="13741"/>
                  <a:pt x="8855" y="13747"/>
                </a:cubicBezTo>
                <a:cubicBezTo>
                  <a:pt x="8813" y="13766"/>
                  <a:pt x="8712" y="13781"/>
                  <a:pt x="8670" y="13752"/>
                </a:cubicBezTo>
                <a:cubicBezTo>
                  <a:pt x="8618" y="13717"/>
                  <a:pt x="8583" y="13661"/>
                  <a:pt x="8590" y="13591"/>
                </a:cubicBezTo>
                <a:cubicBezTo>
                  <a:pt x="8597" y="13534"/>
                  <a:pt x="8623" y="13481"/>
                  <a:pt x="8637" y="13426"/>
                </a:cubicBezTo>
                <a:cubicBezTo>
                  <a:pt x="8645" y="13389"/>
                  <a:pt x="8655" y="13371"/>
                  <a:pt x="8678" y="13342"/>
                </a:cubicBezTo>
                <a:cubicBezTo>
                  <a:pt x="8728" y="13276"/>
                  <a:pt x="8770" y="13196"/>
                  <a:pt x="8775" y="13111"/>
                </a:cubicBezTo>
                <a:cubicBezTo>
                  <a:pt x="8780" y="13002"/>
                  <a:pt x="8775" y="12895"/>
                  <a:pt x="8790" y="12787"/>
                </a:cubicBezTo>
                <a:cubicBezTo>
                  <a:pt x="8805" y="12674"/>
                  <a:pt x="8837" y="12542"/>
                  <a:pt x="8892" y="12439"/>
                </a:cubicBezTo>
                <a:cubicBezTo>
                  <a:pt x="8918" y="12390"/>
                  <a:pt x="8993" y="12297"/>
                  <a:pt x="8965" y="12244"/>
                </a:cubicBezTo>
                <a:cubicBezTo>
                  <a:pt x="8947" y="12209"/>
                  <a:pt x="8928" y="12182"/>
                  <a:pt x="8917" y="12140"/>
                </a:cubicBezTo>
                <a:cubicBezTo>
                  <a:pt x="8913" y="12125"/>
                  <a:pt x="8912" y="12109"/>
                  <a:pt x="8902" y="12097"/>
                </a:cubicBezTo>
                <a:cubicBezTo>
                  <a:pt x="8892" y="12085"/>
                  <a:pt x="8875" y="12085"/>
                  <a:pt x="8868" y="12072"/>
                </a:cubicBezTo>
                <a:cubicBezTo>
                  <a:pt x="8860" y="12052"/>
                  <a:pt x="8858" y="11982"/>
                  <a:pt x="8862" y="11960"/>
                </a:cubicBezTo>
                <a:cubicBezTo>
                  <a:pt x="8873" y="11890"/>
                  <a:pt x="8972" y="11822"/>
                  <a:pt x="8962" y="11754"/>
                </a:cubicBezTo>
                <a:cubicBezTo>
                  <a:pt x="8928" y="11750"/>
                  <a:pt x="8907" y="11817"/>
                  <a:pt x="8880" y="11824"/>
                </a:cubicBezTo>
                <a:cubicBezTo>
                  <a:pt x="8752" y="11775"/>
                  <a:pt x="8898" y="11645"/>
                  <a:pt x="8883" y="11575"/>
                </a:cubicBezTo>
                <a:cubicBezTo>
                  <a:pt x="8867" y="11559"/>
                  <a:pt x="8862" y="11620"/>
                  <a:pt x="8827" y="11615"/>
                </a:cubicBezTo>
                <a:cubicBezTo>
                  <a:pt x="8802" y="11594"/>
                  <a:pt x="8810" y="11574"/>
                  <a:pt x="8810" y="11552"/>
                </a:cubicBezTo>
                <a:cubicBezTo>
                  <a:pt x="8810" y="11519"/>
                  <a:pt x="8838" y="11482"/>
                  <a:pt x="8850" y="11452"/>
                </a:cubicBezTo>
                <a:cubicBezTo>
                  <a:pt x="8875" y="11375"/>
                  <a:pt x="8900" y="11325"/>
                  <a:pt x="8947" y="11262"/>
                </a:cubicBezTo>
                <a:cubicBezTo>
                  <a:pt x="8980" y="11215"/>
                  <a:pt x="9018" y="11159"/>
                  <a:pt x="9033" y="11102"/>
                </a:cubicBezTo>
                <a:cubicBezTo>
                  <a:pt x="9038" y="11082"/>
                  <a:pt x="9037" y="11062"/>
                  <a:pt x="9050" y="11042"/>
                </a:cubicBezTo>
                <a:cubicBezTo>
                  <a:pt x="9065" y="11015"/>
                  <a:pt x="9098" y="10997"/>
                  <a:pt x="9092" y="10962"/>
                </a:cubicBezTo>
                <a:cubicBezTo>
                  <a:pt x="9055" y="10972"/>
                  <a:pt x="8997" y="11050"/>
                  <a:pt x="8980" y="11035"/>
                </a:cubicBezTo>
                <a:cubicBezTo>
                  <a:pt x="8960" y="11009"/>
                  <a:pt x="8995" y="10977"/>
                  <a:pt x="9022" y="10944"/>
                </a:cubicBezTo>
                <a:cubicBezTo>
                  <a:pt x="9038" y="10924"/>
                  <a:pt x="9062" y="10900"/>
                  <a:pt x="9070" y="10877"/>
                </a:cubicBezTo>
                <a:cubicBezTo>
                  <a:pt x="9087" y="10833"/>
                  <a:pt x="9105" y="10702"/>
                  <a:pt x="9042" y="10690"/>
                </a:cubicBezTo>
                <a:cubicBezTo>
                  <a:pt x="8962" y="10673"/>
                  <a:pt x="9002" y="10787"/>
                  <a:pt x="8990" y="10825"/>
                </a:cubicBezTo>
                <a:cubicBezTo>
                  <a:pt x="8978" y="10869"/>
                  <a:pt x="8932" y="10910"/>
                  <a:pt x="8888" y="10887"/>
                </a:cubicBezTo>
                <a:cubicBezTo>
                  <a:pt x="8852" y="10867"/>
                  <a:pt x="8777" y="10797"/>
                  <a:pt x="8787" y="10753"/>
                </a:cubicBezTo>
                <a:cubicBezTo>
                  <a:pt x="8797" y="10710"/>
                  <a:pt x="8867" y="10682"/>
                  <a:pt x="8892" y="10645"/>
                </a:cubicBezTo>
                <a:cubicBezTo>
                  <a:pt x="8913" y="10613"/>
                  <a:pt x="8915" y="10587"/>
                  <a:pt x="8908" y="10552"/>
                </a:cubicBezTo>
                <a:cubicBezTo>
                  <a:pt x="8902" y="10523"/>
                  <a:pt x="8887" y="10490"/>
                  <a:pt x="8898" y="10462"/>
                </a:cubicBezTo>
                <a:cubicBezTo>
                  <a:pt x="8907" y="10438"/>
                  <a:pt x="8945" y="10407"/>
                  <a:pt x="8965" y="10393"/>
                </a:cubicBezTo>
                <a:cubicBezTo>
                  <a:pt x="8993" y="10375"/>
                  <a:pt x="9027" y="10373"/>
                  <a:pt x="9053" y="10353"/>
                </a:cubicBezTo>
                <a:cubicBezTo>
                  <a:pt x="9080" y="10333"/>
                  <a:pt x="9102" y="10293"/>
                  <a:pt x="9112" y="10263"/>
                </a:cubicBezTo>
                <a:cubicBezTo>
                  <a:pt x="9130" y="10207"/>
                  <a:pt x="9167" y="10135"/>
                  <a:pt x="9167" y="10135"/>
                </a:cubicBezTo>
                <a:cubicBezTo>
                  <a:pt x="9207" y="10102"/>
                  <a:pt x="9267" y="10052"/>
                  <a:pt x="9285" y="10022"/>
                </a:cubicBezTo>
                <a:cubicBezTo>
                  <a:pt x="9299" y="9997"/>
                  <a:pt x="9315" y="9973"/>
                  <a:pt x="9320" y="9945"/>
                </a:cubicBezTo>
                <a:cubicBezTo>
                  <a:pt x="9329" y="9902"/>
                  <a:pt x="9302" y="9887"/>
                  <a:pt x="9290" y="9850"/>
                </a:cubicBezTo>
                <a:cubicBezTo>
                  <a:pt x="9267" y="9773"/>
                  <a:pt x="9375" y="9758"/>
                  <a:pt x="9390" y="9695"/>
                </a:cubicBezTo>
                <a:cubicBezTo>
                  <a:pt x="9395" y="9677"/>
                  <a:pt x="9382" y="9657"/>
                  <a:pt x="9385" y="9640"/>
                </a:cubicBezTo>
                <a:cubicBezTo>
                  <a:pt x="9389" y="9618"/>
                  <a:pt x="9409" y="9597"/>
                  <a:pt x="9419" y="9580"/>
                </a:cubicBezTo>
                <a:cubicBezTo>
                  <a:pt x="9459" y="9515"/>
                  <a:pt x="9507" y="9452"/>
                  <a:pt x="9567" y="9402"/>
                </a:cubicBezTo>
                <a:cubicBezTo>
                  <a:pt x="9617" y="9360"/>
                  <a:pt x="9624" y="9303"/>
                  <a:pt x="9647" y="9242"/>
                </a:cubicBezTo>
                <a:cubicBezTo>
                  <a:pt x="9659" y="9210"/>
                  <a:pt x="9674" y="9195"/>
                  <a:pt x="9694" y="9167"/>
                </a:cubicBezTo>
                <a:cubicBezTo>
                  <a:pt x="9709" y="9145"/>
                  <a:pt x="9717" y="9117"/>
                  <a:pt x="9734" y="9095"/>
                </a:cubicBezTo>
                <a:cubicBezTo>
                  <a:pt x="9764" y="9058"/>
                  <a:pt x="9814" y="9028"/>
                  <a:pt x="9787" y="8968"/>
                </a:cubicBezTo>
                <a:cubicBezTo>
                  <a:pt x="9742" y="8862"/>
                  <a:pt x="9539" y="9107"/>
                  <a:pt x="9504" y="9150"/>
                </a:cubicBezTo>
                <a:cubicBezTo>
                  <a:pt x="9457" y="9207"/>
                  <a:pt x="9414" y="9260"/>
                  <a:pt x="9364" y="9313"/>
                </a:cubicBezTo>
                <a:cubicBezTo>
                  <a:pt x="9302" y="9378"/>
                  <a:pt x="9242" y="9442"/>
                  <a:pt x="9182" y="9508"/>
                </a:cubicBezTo>
                <a:cubicBezTo>
                  <a:pt x="9138" y="9558"/>
                  <a:pt x="9075" y="9570"/>
                  <a:pt x="9053" y="9637"/>
                </a:cubicBezTo>
                <a:cubicBezTo>
                  <a:pt x="9035" y="9688"/>
                  <a:pt x="9008" y="9752"/>
                  <a:pt x="8958" y="9782"/>
                </a:cubicBezTo>
                <a:cubicBezTo>
                  <a:pt x="8835" y="9857"/>
                  <a:pt x="8698" y="9795"/>
                  <a:pt x="8593" y="9718"/>
                </a:cubicBezTo>
                <a:cubicBezTo>
                  <a:pt x="8545" y="9683"/>
                  <a:pt x="8495" y="9658"/>
                  <a:pt x="8445" y="9627"/>
                </a:cubicBezTo>
                <a:cubicBezTo>
                  <a:pt x="8392" y="9592"/>
                  <a:pt x="8352" y="9533"/>
                  <a:pt x="8313" y="9482"/>
                </a:cubicBezTo>
                <a:cubicBezTo>
                  <a:pt x="8283" y="9442"/>
                  <a:pt x="8250" y="9397"/>
                  <a:pt x="8302" y="9358"/>
                </a:cubicBezTo>
                <a:cubicBezTo>
                  <a:pt x="8330" y="9338"/>
                  <a:pt x="8365" y="9338"/>
                  <a:pt x="8395" y="9323"/>
                </a:cubicBezTo>
                <a:cubicBezTo>
                  <a:pt x="8378" y="9288"/>
                  <a:pt x="8342" y="9265"/>
                  <a:pt x="8303" y="9260"/>
                </a:cubicBezTo>
                <a:cubicBezTo>
                  <a:pt x="8268" y="9257"/>
                  <a:pt x="8230" y="9265"/>
                  <a:pt x="8193" y="9265"/>
                </a:cubicBezTo>
                <a:cubicBezTo>
                  <a:pt x="8142" y="9265"/>
                  <a:pt x="8092" y="9253"/>
                  <a:pt x="8040" y="9245"/>
                </a:cubicBezTo>
                <a:cubicBezTo>
                  <a:pt x="7992" y="9235"/>
                  <a:pt x="7892" y="9233"/>
                  <a:pt x="7862" y="9185"/>
                </a:cubicBezTo>
                <a:cubicBezTo>
                  <a:pt x="7842" y="9150"/>
                  <a:pt x="7862" y="9108"/>
                  <a:pt x="7878" y="9078"/>
                </a:cubicBezTo>
                <a:cubicBezTo>
                  <a:pt x="7910" y="9018"/>
                  <a:pt x="7960" y="8965"/>
                  <a:pt x="8023" y="8940"/>
                </a:cubicBezTo>
                <a:cubicBezTo>
                  <a:pt x="8113" y="8905"/>
                  <a:pt x="8173" y="8923"/>
                  <a:pt x="8260" y="8950"/>
                </a:cubicBezTo>
                <a:cubicBezTo>
                  <a:pt x="8357" y="8980"/>
                  <a:pt x="8458" y="8948"/>
                  <a:pt x="8485" y="8847"/>
                </a:cubicBezTo>
                <a:cubicBezTo>
                  <a:pt x="8505" y="8763"/>
                  <a:pt x="8553" y="8728"/>
                  <a:pt x="8637" y="8722"/>
                </a:cubicBezTo>
                <a:cubicBezTo>
                  <a:pt x="8685" y="8716"/>
                  <a:pt x="8682" y="8703"/>
                  <a:pt x="8700" y="8660"/>
                </a:cubicBezTo>
                <a:cubicBezTo>
                  <a:pt x="8708" y="8641"/>
                  <a:pt x="8733" y="8618"/>
                  <a:pt x="8718" y="8595"/>
                </a:cubicBezTo>
                <a:cubicBezTo>
                  <a:pt x="8705" y="8571"/>
                  <a:pt x="8630" y="8580"/>
                  <a:pt x="8608" y="8580"/>
                </a:cubicBezTo>
                <a:cubicBezTo>
                  <a:pt x="8542" y="8580"/>
                  <a:pt x="8420" y="8615"/>
                  <a:pt x="8410" y="8510"/>
                </a:cubicBezTo>
                <a:cubicBezTo>
                  <a:pt x="8405" y="8455"/>
                  <a:pt x="8468" y="8443"/>
                  <a:pt x="8492" y="8403"/>
                </a:cubicBezTo>
                <a:cubicBezTo>
                  <a:pt x="8512" y="8371"/>
                  <a:pt x="8522" y="8325"/>
                  <a:pt x="8530" y="8290"/>
                </a:cubicBezTo>
                <a:cubicBezTo>
                  <a:pt x="8553" y="8198"/>
                  <a:pt x="8582" y="8115"/>
                  <a:pt x="8692" y="8150"/>
                </a:cubicBezTo>
                <a:cubicBezTo>
                  <a:pt x="8735" y="8165"/>
                  <a:pt x="8832" y="8198"/>
                  <a:pt x="8805" y="8115"/>
                </a:cubicBezTo>
                <a:cubicBezTo>
                  <a:pt x="8782" y="8045"/>
                  <a:pt x="8723" y="8055"/>
                  <a:pt x="8672" y="8021"/>
                </a:cubicBezTo>
                <a:cubicBezTo>
                  <a:pt x="8627" y="7991"/>
                  <a:pt x="8675" y="7978"/>
                  <a:pt x="8700" y="7940"/>
                </a:cubicBezTo>
                <a:cubicBezTo>
                  <a:pt x="8712" y="7921"/>
                  <a:pt x="8715" y="7901"/>
                  <a:pt x="8725" y="7885"/>
                </a:cubicBezTo>
                <a:cubicBezTo>
                  <a:pt x="8745" y="7853"/>
                  <a:pt x="8785" y="7841"/>
                  <a:pt x="8817" y="7825"/>
                </a:cubicBezTo>
                <a:cubicBezTo>
                  <a:pt x="8855" y="7806"/>
                  <a:pt x="8903" y="7775"/>
                  <a:pt x="8948" y="7781"/>
                </a:cubicBezTo>
                <a:cubicBezTo>
                  <a:pt x="8980" y="7785"/>
                  <a:pt x="9007" y="7808"/>
                  <a:pt x="9038" y="7815"/>
                </a:cubicBezTo>
                <a:cubicBezTo>
                  <a:pt x="9058" y="7820"/>
                  <a:pt x="9097" y="7821"/>
                  <a:pt x="9097" y="7821"/>
                </a:cubicBezTo>
                <a:cubicBezTo>
                  <a:pt x="9120" y="7818"/>
                  <a:pt x="9037" y="7768"/>
                  <a:pt x="9012" y="7753"/>
                </a:cubicBezTo>
                <a:cubicBezTo>
                  <a:pt x="8972" y="7728"/>
                  <a:pt x="8935" y="7715"/>
                  <a:pt x="8890" y="7706"/>
                </a:cubicBezTo>
                <a:cubicBezTo>
                  <a:pt x="8870" y="7701"/>
                  <a:pt x="8870" y="7710"/>
                  <a:pt x="8857" y="7698"/>
                </a:cubicBezTo>
                <a:cubicBezTo>
                  <a:pt x="8832" y="7678"/>
                  <a:pt x="8833" y="7603"/>
                  <a:pt x="8850" y="7580"/>
                </a:cubicBezTo>
                <a:cubicBezTo>
                  <a:pt x="8870" y="7550"/>
                  <a:pt x="8930" y="7555"/>
                  <a:pt x="8933" y="7506"/>
                </a:cubicBezTo>
                <a:cubicBezTo>
                  <a:pt x="8937" y="7455"/>
                  <a:pt x="8882" y="7483"/>
                  <a:pt x="8855" y="7500"/>
                </a:cubicBezTo>
                <a:cubicBezTo>
                  <a:pt x="8827" y="7520"/>
                  <a:pt x="8803" y="7543"/>
                  <a:pt x="8775" y="7561"/>
                </a:cubicBezTo>
                <a:cubicBezTo>
                  <a:pt x="8747" y="7580"/>
                  <a:pt x="8725" y="7576"/>
                  <a:pt x="8697" y="7588"/>
                </a:cubicBezTo>
                <a:cubicBezTo>
                  <a:pt x="8650" y="7605"/>
                  <a:pt x="8665" y="7633"/>
                  <a:pt x="8657" y="7675"/>
                </a:cubicBezTo>
                <a:cubicBezTo>
                  <a:pt x="8645" y="7730"/>
                  <a:pt x="8610" y="7785"/>
                  <a:pt x="8570" y="7821"/>
                </a:cubicBezTo>
                <a:cubicBezTo>
                  <a:pt x="8487" y="7896"/>
                  <a:pt x="8390" y="7953"/>
                  <a:pt x="8333" y="8051"/>
                </a:cubicBezTo>
                <a:cubicBezTo>
                  <a:pt x="8320" y="8076"/>
                  <a:pt x="8282" y="8130"/>
                  <a:pt x="8243" y="8103"/>
                </a:cubicBezTo>
                <a:cubicBezTo>
                  <a:pt x="8232" y="8095"/>
                  <a:pt x="8218" y="8046"/>
                  <a:pt x="8217" y="8033"/>
                </a:cubicBezTo>
                <a:cubicBezTo>
                  <a:pt x="8212" y="7998"/>
                  <a:pt x="8223" y="7978"/>
                  <a:pt x="8237" y="7946"/>
                </a:cubicBezTo>
                <a:cubicBezTo>
                  <a:pt x="8257" y="7898"/>
                  <a:pt x="8272" y="7843"/>
                  <a:pt x="8288" y="7793"/>
                </a:cubicBezTo>
                <a:cubicBezTo>
                  <a:pt x="8297" y="7765"/>
                  <a:pt x="8293" y="7723"/>
                  <a:pt x="8307" y="7698"/>
                </a:cubicBezTo>
                <a:cubicBezTo>
                  <a:pt x="8343" y="7636"/>
                  <a:pt x="8480" y="7660"/>
                  <a:pt x="8493" y="7585"/>
                </a:cubicBezTo>
                <a:cubicBezTo>
                  <a:pt x="8435" y="7575"/>
                  <a:pt x="8375" y="7575"/>
                  <a:pt x="8322" y="7551"/>
                </a:cubicBezTo>
                <a:cubicBezTo>
                  <a:pt x="8295" y="7541"/>
                  <a:pt x="8262" y="7516"/>
                  <a:pt x="8232" y="7520"/>
                </a:cubicBezTo>
                <a:cubicBezTo>
                  <a:pt x="8205" y="7523"/>
                  <a:pt x="8205" y="7531"/>
                  <a:pt x="8190" y="7551"/>
                </a:cubicBezTo>
                <a:cubicBezTo>
                  <a:pt x="8167" y="7586"/>
                  <a:pt x="8212" y="7621"/>
                  <a:pt x="8182" y="7655"/>
                </a:cubicBezTo>
                <a:cubicBezTo>
                  <a:pt x="8162" y="7678"/>
                  <a:pt x="8147" y="7735"/>
                  <a:pt x="8117" y="7738"/>
                </a:cubicBezTo>
                <a:cubicBezTo>
                  <a:pt x="8077" y="7720"/>
                  <a:pt x="8098" y="7635"/>
                  <a:pt x="8083" y="7588"/>
                </a:cubicBezTo>
                <a:cubicBezTo>
                  <a:pt x="8077" y="7563"/>
                  <a:pt x="8015" y="7540"/>
                  <a:pt x="7985" y="7560"/>
                </a:cubicBezTo>
                <a:cubicBezTo>
                  <a:pt x="7963" y="7573"/>
                  <a:pt x="7950" y="7646"/>
                  <a:pt x="7937" y="7670"/>
                </a:cubicBezTo>
                <a:cubicBezTo>
                  <a:pt x="7923" y="7695"/>
                  <a:pt x="7907" y="7725"/>
                  <a:pt x="7880" y="7736"/>
                </a:cubicBezTo>
                <a:cubicBezTo>
                  <a:pt x="7808" y="7765"/>
                  <a:pt x="7770" y="7690"/>
                  <a:pt x="7725" y="7646"/>
                </a:cubicBezTo>
                <a:cubicBezTo>
                  <a:pt x="7710" y="7633"/>
                  <a:pt x="7687" y="7621"/>
                  <a:pt x="7687" y="7601"/>
                </a:cubicBezTo>
                <a:cubicBezTo>
                  <a:pt x="7687" y="7580"/>
                  <a:pt x="7758" y="7550"/>
                  <a:pt x="7735" y="7535"/>
                </a:cubicBezTo>
                <a:cubicBezTo>
                  <a:pt x="7723" y="7516"/>
                  <a:pt x="7618" y="7568"/>
                  <a:pt x="7605" y="7550"/>
                </a:cubicBezTo>
                <a:cubicBezTo>
                  <a:pt x="7592" y="7533"/>
                  <a:pt x="7613" y="7516"/>
                  <a:pt x="7608" y="7495"/>
                </a:cubicBezTo>
                <a:cubicBezTo>
                  <a:pt x="7603" y="7473"/>
                  <a:pt x="7577" y="7470"/>
                  <a:pt x="7575" y="7450"/>
                </a:cubicBezTo>
                <a:cubicBezTo>
                  <a:pt x="7575" y="7436"/>
                  <a:pt x="7655" y="7433"/>
                  <a:pt x="7637" y="7400"/>
                </a:cubicBezTo>
                <a:cubicBezTo>
                  <a:pt x="7602" y="7396"/>
                  <a:pt x="7532" y="7398"/>
                  <a:pt x="7498" y="7380"/>
                </a:cubicBezTo>
                <a:cubicBezTo>
                  <a:pt x="7467" y="7363"/>
                  <a:pt x="7480" y="7360"/>
                  <a:pt x="7468" y="7331"/>
                </a:cubicBezTo>
                <a:cubicBezTo>
                  <a:pt x="7450" y="7290"/>
                  <a:pt x="7427" y="7256"/>
                  <a:pt x="7413" y="7211"/>
                </a:cubicBezTo>
                <a:cubicBezTo>
                  <a:pt x="7408" y="7195"/>
                  <a:pt x="7400" y="7176"/>
                  <a:pt x="7398" y="7160"/>
                </a:cubicBezTo>
                <a:cubicBezTo>
                  <a:pt x="7392" y="7125"/>
                  <a:pt x="7402" y="7108"/>
                  <a:pt x="7423" y="7090"/>
                </a:cubicBezTo>
                <a:cubicBezTo>
                  <a:pt x="7430" y="7085"/>
                  <a:pt x="7442" y="7086"/>
                  <a:pt x="7447" y="7083"/>
                </a:cubicBezTo>
                <a:cubicBezTo>
                  <a:pt x="7455" y="7076"/>
                  <a:pt x="7453" y="7056"/>
                  <a:pt x="7465" y="7053"/>
                </a:cubicBezTo>
                <a:cubicBezTo>
                  <a:pt x="7487" y="7048"/>
                  <a:pt x="7493" y="7091"/>
                  <a:pt x="7512" y="7083"/>
                </a:cubicBezTo>
                <a:cubicBezTo>
                  <a:pt x="7512" y="7063"/>
                  <a:pt x="7495" y="7048"/>
                  <a:pt x="7512" y="7035"/>
                </a:cubicBezTo>
                <a:cubicBezTo>
                  <a:pt x="7510" y="6998"/>
                  <a:pt x="7455" y="7010"/>
                  <a:pt x="7428" y="6991"/>
                </a:cubicBezTo>
                <a:cubicBezTo>
                  <a:pt x="7413" y="6981"/>
                  <a:pt x="7415" y="6975"/>
                  <a:pt x="7403" y="6963"/>
                </a:cubicBezTo>
                <a:cubicBezTo>
                  <a:pt x="7392" y="6951"/>
                  <a:pt x="7378" y="6943"/>
                  <a:pt x="7368" y="6930"/>
                </a:cubicBezTo>
                <a:cubicBezTo>
                  <a:pt x="7358" y="6916"/>
                  <a:pt x="7360" y="6896"/>
                  <a:pt x="7343" y="6886"/>
                </a:cubicBezTo>
                <a:cubicBezTo>
                  <a:pt x="7283" y="6850"/>
                  <a:pt x="7232" y="6916"/>
                  <a:pt x="7232" y="6970"/>
                </a:cubicBezTo>
                <a:cubicBezTo>
                  <a:pt x="7232" y="6996"/>
                  <a:pt x="7263" y="7008"/>
                  <a:pt x="7253" y="7035"/>
                </a:cubicBezTo>
                <a:cubicBezTo>
                  <a:pt x="7243" y="7058"/>
                  <a:pt x="7237" y="7055"/>
                  <a:pt x="7217" y="7070"/>
                </a:cubicBezTo>
                <a:cubicBezTo>
                  <a:pt x="7183" y="7085"/>
                  <a:pt x="7118" y="7073"/>
                  <a:pt x="7092" y="7038"/>
                </a:cubicBezTo>
                <a:cubicBezTo>
                  <a:pt x="7072" y="7013"/>
                  <a:pt x="7070" y="6971"/>
                  <a:pt x="7053" y="6943"/>
                </a:cubicBezTo>
                <a:cubicBezTo>
                  <a:pt x="7027" y="6898"/>
                  <a:pt x="6977" y="6916"/>
                  <a:pt x="6958" y="6860"/>
                </a:cubicBezTo>
                <a:cubicBezTo>
                  <a:pt x="6945" y="6820"/>
                  <a:pt x="6953" y="6798"/>
                  <a:pt x="6918" y="6766"/>
                </a:cubicBezTo>
                <a:cubicBezTo>
                  <a:pt x="6896" y="6748"/>
                  <a:pt x="6863" y="6738"/>
                  <a:pt x="6855" y="6708"/>
                </a:cubicBezTo>
                <a:cubicBezTo>
                  <a:pt x="6846" y="6686"/>
                  <a:pt x="6858" y="6640"/>
                  <a:pt x="6878" y="6625"/>
                </a:cubicBezTo>
                <a:cubicBezTo>
                  <a:pt x="6907" y="6601"/>
                  <a:pt x="6913" y="6633"/>
                  <a:pt x="6947" y="6630"/>
                </a:cubicBezTo>
                <a:cubicBezTo>
                  <a:pt x="6947" y="6601"/>
                  <a:pt x="6912" y="6569"/>
                  <a:pt x="6915" y="6543"/>
                </a:cubicBezTo>
                <a:cubicBezTo>
                  <a:pt x="6917" y="6511"/>
                  <a:pt x="6957" y="6486"/>
                  <a:pt x="6987" y="6494"/>
                </a:cubicBezTo>
                <a:cubicBezTo>
                  <a:pt x="7022" y="6504"/>
                  <a:pt x="7083" y="6574"/>
                  <a:pt x="7110" y="6601"/>
                </a:cubicBezTo>
                <a:cubicBezTo>
                  <a:pt x="7140" y="6630"/>
                  <a:pt x="7148" y="6688"/>
                  <a:pt x="7190" y="6696"/>
                </a:cubicBezTo>
                <a:cubicBezTo>
                  <a:pt x="7225" y="6675"/>
                  <a:pt x="7172" y="6601"/>
                  <a:pt x="7145" y="6581"/>
                </a:cubicBezTo>
                <a:cubicBezTo>
                  <a:pt x="7113" y="6558"/>
                  <a:pt x="7100" y="6568"/>
                  <a:pt x="7117" y="6529"/>
                </a:cubicBezTo>
                <a:cubicBezTo>
                  <a:pt x="7133" y="6488"/>
                  <a:pt x="7218" y="6441"/>
                  <a:pt x="7240" y="6504"/>
                </a:cubicBezTo>
                <a:cubicBezTo>
                  <a:pt x="7233" y="6486"/>
                  <a:pt x="7218" y="6474"/>
                  <a:pt x="7207" y="6459"/>
                </a:cubicBezTo>
                <a:cubicBezTo>
                  <a:pt x="7185" y="6433"/>
                  <a:pt x="7180" y="6409"/>
                  <a:pt x="7165" y="6379"/>
                </a:cubicBezTo>
                <a:cubicBezTo>
                  <a:pt x="7140" y="6333"/>
                  <a:pt x="7035" y="6306"/>
                  <a:pt x="7030" y="6264"/>
                </a:cubicBezTo>
                <a:cubicBezTo>
                  <a:pt x="7023" y="6224"/>
                  <a:pt x="7105" y="6168"/>
                  <a:pt x="7140" y="6158"/>
                </a:cubicBezTo>
                <a:cubicBezTo>
                  <a:pt x="7213" y="6136"/>
                  <a:pt x="7237" y="6221"/>
                  <a:pt x="7273" y="6268"/>
                </a:cubicBezTo>
                <a:cubicBezTo>
                  <a:pt x="7312" y="6314"/>
                  <a:pt x="7352" y="6358"/>
                  <a:pt x="7392" y="6404"/>
                </a:cubicBezTo>
                <a:cubicBezTo>
                  <a:pt x="7407" y="6421"/>
                  <a:pt x="7420" y="6443"/>
                  <a:pt x="7425" y="6464"/>
                </a:cubicBezTo>
                <a:cubicBezTo>
                  <a:pt x="7432" y="6484"/>
                  <a:pt x="7413" y="6488"/>
                  <a:pt x="7430" y="6501"/>
                </a:cubicBezTo>
                <a:cubicBezTo>
                  <a:pt x="7443" y="6511"/>
                  <a:pt x="7488" y="6491"/>
                  <a:pt x="7498" y="6483"/>
                </a:cubicBezTo>
                <a:cubicBezTo>
                  <a:pt x="7517" y="6466"/>
                  <a:pt x="7515" y="6439"/>
                  <a:pt x="7528" y="6419"/>
                </a:cubicBezTo>
                <a:cubicBezTo>
                  <a:pt x="7550" y="6384"/>
                  <a:pt x="7633" y="6348"/>
                  <a:pt x="7613" y="6301"/>
                </a:cubicBezTo>
                <a:cubicBezTo>
                  <a:pt x="7605" y="6283"/>
                  <a:pt x="7570" y="6266"/>
                  <a:pt x="7557" y="6248"/>
                </a:cubicBezTo>
                <a:cubicBezTo>
                  <a:pt x="7545" y="6231"/>
                  <a:pt x="7538" y="6218"/>
                  <a:pt x="7537" y="6196"/>
                </a:cubicBezTo>
                <a:cubicBezTo>
                  <a:pt x="7527" y="6138"/>
                  <a:pt x="7542" y="6074"/>
                  <a:pt x="7535" y="6016"/>
                </a:cubicBezTo>
                <a:cubicBezTo>
                  <a:pt x="7530" y="5966"/>
                  <a:pt x="7547" y="5956"/>
                  <a:pt x="7597" y="5929"/>
                </a:cubicBezTo>
                <a:cubicBezTo>
                  <a:pt x="7617" y="5918"/>
                  <a:pt x="7628" y="5919"/>
                  <a:pt x="7640" y="5898"/>
                </a:cubicBezTo>
                <a:cubicBezTo>
                  <a:pt x="7650" y="5879"/>
                  <a:pt x="7638" y="5869"/>
                  <a:pt x="7657" y="5849"/>
                </a:cubicBezTo>
                <a:cubicBezTo>
                  <a:pt x="7690" y="5811"/>
                  <a:pt x="7742" y="5808"/>
                  <a:pt x="7770" y="5851"/>
                </a:cubicBezTo>
                <a:cubicBezTo>
                  <a:pt x="7782" y="5871"/>
                  <a:pt x="7785" y="5896"/>
                  <a:pt x="7800" y="5916"/>
                </a:cubicBezTo>
                <a:cubicBezTo>
                  <a:pt x="7815" y="5939"/>
                  <a:pt x="7835" y="5959"/>
                  <a:pt x="7852" y="5981"/>
                </a:cubicBezTo>
                <a:cubicBezTo>
                  <a:pt x="7878" y="6016"/>
                  <a:pt x="7887" y="6054"/>
                  <a:pt x="7912" y="6088"/>
                </a:cubicBezTo>
                <a:cubicBezTo>
                  <a:pt x="7940" y="6128"/>
                  <a:pt x="7967" y="6144"/>
                  <a:pt x="7980" y="6196"/>
                </a:cubicBezTo>
                <a:cubicBezTo>
                  <a:pt x="7992" y="6238"/>
                  <a:pt x="7980" y="6278"/>
                  <a:pt x="7985" y="6323"/>
                </a:cubicBezTo>
                <a:cubicBezTo>
                  <a:pt x="7990" y="6383"/>
                  <a:pt x="7998" y="6443"/>
                  <a:pt x="7998" y="6504"/>
                </a:cubicBezTo>
                <a:cubicBezTo>
                  <a:pt x="7998" y="6563"/>
                  <a:pt x="7962" y="6616"/>
                  <a:pt x="7968" y="6673"/>
                </a:cubicBezTo>
                <a:cubicBezTo>
                  <a:pt x="7973" y="6720"/>
                  <a:pt x="7998" y="6761"/>
                  <a:pt x="8003" y="6813"/>
                </a:cubicBezTo>
                <a:cubicBezTo>
                  <a:pt x="8007" y="6851"/>
                  <a:pt x="8002" y="6893"/>
                  <a:pt x="8005" y="6931"/>
                </a:cubicBezTo>
                <a:cubicBezTo>
                  <a:pt x="8010" y="6971"/>
                  <a:pt x="8032" y="6985"/>
                  <a:pt x="8058" y="7015"/>
                </a:cubicBezTo>
                <a:cubicBezTo>
                  <a:pt x="8120" y="7085"/>
                  <a:pt x="8138" y="7200"/>
                  <a:pt x="8245" y="7221"/>
                </a:cubicBezTo>
                <a:cubicBezTo>
                  <a:pt x="8265" y="7225"/>
                  <a:pt x="8282" y="7218"/>
                  <a:pt x="8300" y="7228"/>
                </a:cubicBezTo>
                <a:cubicBezTo>
                  <a:pt x="8307" y="7231"/>
                  <a:pt x="8317" y="7251"/>
                  <a:pt x="8328" y="7258"/>
                </a:cubicBezTo>
                <a:cubicBezTo>
                  <a:pt x="8350" y="7271"/>
                  <a:pt x="8378" y="7275"/>
                  <a:pt x="8403" y="7281"/>
                </a:cubicBezTo>
                <a:cubicBezTo>
                  <a:pt x="8452" y="7296"/>
                  <a:pt x="8535" y="7341"/>
                  <a:pt x="8585" y="7330"/>
                </a:cubicBezTo>
                <a:cubicBezTo>
                  <a:pt x="8613" y="7323"/>
                  <a:pt x="8633" y="7296"/>
                  <a:pt x="8662" y="7281"/>
                </a:cubicBezTo>
                <a:cubicBezTo>
                  <a:pt x="8682" y="7271"/>
                  <a:pt x="8697" y="7258"/>
                  <a:pt x="8715" y="7250"/>
                </a:cubicBezTo>
                <a:cubicBezTo>
                  <a:pt x="8742" y="7240"/>
                  <a:pt x="8767" y="7240"/>
                  <a:pt x="8793" y="7250"/>
                </a:cubicBezTo>
                <a:cubicBezTo>
                  <a:pt x="8803" y="7231"/>
                  <a:pt x="8807" y="7198"/>
                  <a:pt x="8812" y="7176"/>
                </a:cubicBezTo>
                <a:cubicBezTo>
                  <a:pt x="8817" y="7161"/>
                  <a:pt x="8813" y="7140"/>
                  <a:pt x="8820" y="7125"/>
                </a:cubicBezTo>
                <a:cubicBezTo>
                  <a:pt x="8835" y="7080"/>
                  <a:pt x="8873" y="7066"/>
                  <a:pt x="8922" y="7055"/>
                </a:cubicBezTo>
                <a:cubicBezTo>
                  <a:pt x="8955" y="7046"/>
                  <a:pt x="8990" y="7055"/>
                  <a:pt x="9013" y="7028"/>
                </a:cubicBezTo>
                <a:cubicBezTo>
                  <a:pt x="9043" y="6990"/>
                  <a:pt x="9025" y="6926"/>
                  <a:pt x="8988" y="6903"/>
                </a:cubicBezTo>
                <a:cubicBezTo>
                  <a:pt x="8932" y="6863"/>
                  <a:pt x="8805" y="6920"/>
                  <a:pt x="8745" y="6936"/>
                </a:cubicBezTo>
                <a:cubicBezTo>
                  <a:pt x="8708" y="6946"/>
                  <a:pt x="8632" y="6953"/>
                  <a:pt x="8605" y="6978"/>
                </a:cubicBezTo>
                <a:cubicBezTo>
                  <a:pt x="8587" y="6943"/>
                  <a:pt x="8590" y="6880"/>
                  <a:pt x="8600" y="6840"/>
                </a:cubicBezTo>
                <a:cubicBezTo>
                  <a:pt x="8612" y="6796"/>
                  <a:pt x="8645" y="6750"/>
                  <a:pt x="8612" y="6711"/>
                </a:cubicBezTo>
                <a:cubicBezTo>
                  <a:pt x="8590" y="6686"/>
                  <a:pt x="8552" y="6690"/>
                  <a:pt x="8535" y="6665"/>
                </a:cubicBezTo>
                <a:cubicBezTo>
                  <a:pt x="8520" y="6646"/>
                  <a:pt x="8522" y="6616"/>
                  <a:pt x="8520" y="6593"/>
                </a:cubicBezTo>
                <a:cubicBezTo>
                  <a:pt x="8518" y="6548"/>
                  <a:pt x="8532" y="6514"/>
                  <a:pt x="8547" y="6473"/>
                </a:cubicBezTo>
                <a:cubicBezTo>
                  <a:pt x="8562" y="6433"/>
                  <a:pt x="8557" y="6409"/>
                  <a:pt x="8553" y="6368"/>
                </a:cubicBezTo>
                <a:cubicBezTo>
                  <a:pt x="8552" y="6348"/>
                  <a:pt x="8580" y="6266"/>
                  <a:pt x="8580" y="6266"/>
                </a:cubicBezTo>
                <a:cubicBezTo>
                  <a:pt x="8597" y="6219"/>
                  <a:pt x="8638" y="6241"/>
                  <a:pt x="8667" y="6258"/>
                </a:cubicBezTo>
                <a:cubicBezTo>
                  <a:pt x="8707" y="6279"/>
                  <a:pt x="8732" y="6293"/>
                  <a:pt x="8763" y="6324"/>
                </a:cubicBezTo>
                <a:cubicBezTo>
                  <a:pt x="8795" y="6356"/>
                  <a:pt x="8832" y="6376"/>
                  <a:pt x="8873" y="6394"/>
                </a:cubicBezTo>
                <a:cubicBezTo>
                  <a:pt x="8908" y="6409"/>
                  <a:pt x="8957" y="6436"/>
                  <a:pt x="8997" y="6436"/>
                </a:cubicBezTo>
                <a:cubicBezTo>
                  <a:pt x="9015" y="6436"/>
                  <a:pt x="9133" y="6414"/>
                  <a:pt x="9143" y="6396"/>
                </a:cubicBezTo>
                <a:cubicBezTo>
                  <a:pt x="9170" y="6333"/>
                  <a:pt x="8988" y="6343"/>
                  <a:pt x="8965" y="6341"/>
                </a:cubicBezTo>
                <a:cubicBezTo>
                  <a:pt x="8888" y="6333"/>
                  <a:pt x="8842" y="6323"/>
                  <a:pt x="8823" y="6246"/>
                </a:cubicBezTo>
                <a:cubicBezTo>
                  <a:pt x="8808" y="6181"/>
                  <a:pt x="8767" y="6163"/>
                  <a:pt x="8725" y="6116"/>
                </a:cubicBezTo>
                <a:cubicBezTo>
                  <a:pt x="8688" y="6076"/>
                  <a:pt x="8610" y="6061"/>
                  <a:pt x="8607" y="5996"/>
                </a:cubicBezTo>
                <a:cubicBezTo>
                  <a:pt x="8603" y="5896"/>
                  <a:pt x="8682" y="5801"/>
                  <a:pt x="8783" y="5806"/>
                </a:cubicBezTo>
                <a:cubicBezTo>
                  <a:pt x="8822" y="5809"/>
                  <a:pt x="8888" y="5821"/>
                  <a:pt x="8878" y="5753"/>
                </a:cubicBezTo>
                <a:cubicBezTo>
                  <a:pt x="8867" y="5684"/>
                  <a:pt x="8707" y="5689"/>
                  <a:pt x="8660" y="5648"/>
                </a:cubicBezTo>
                <a:cubicBezTo>
                  <a:pt x="8628" y="5618"/>
                  <a:pt x="8633" y="5564"/>
                  <a:pt x="8633" y="5526"/>
                </a:cubicBezTo>
                <a:cubicBezTo>
                  <a:pt x="8633" y="5499"/>
                  <a:pt x="8628" y="5474"/>
                  <a:pt x="8633" y="5448"/>
                </a:cubicBezTo>
                <a:cubicBezTo>
                  <a:pt x="8638" y="5416"/>
                  <a:pt x="8653" y="5394"/>
                  <a:pt x="8645" y="5363"/>
                </a:cubicBezTo>
                <a:cubicBezTo>
                  <a:pt x="8633" y="5319"/>
                  <a:pt x="8603" y="5291"/>
                  <a:pt x="8640" y="5251"/>
                </a:cubicBezTo>
                <a:cubicBezTo>
                  <a:pt x="8663" y="5228"/>
                  <a:pt x="8710" y="5216"/>
                  <a:pt x="8742" y="5218"/>
                </a:cubicBezTo>
                <a:cubicBezTo>
                  <a:pt x="8790" y="5221"/>
                  <a:pt x="8788" y="5243"/>
                  <a:pt x="8817" y="5276"/>
                </a:cubicBezTo>
                <a:cubicBezTo>
                  <a:pt x="8862" y="5329"/>
                  <a:pt x="8947" y="5394"/>
                  <a:pt x="8945" y="5473"/>
                </a:cubicBezTo>
                <a:cubicBezTo>
                  <a:pt x="8943" y="5496"/>
                  <a:pt x="8917" y="5534"/>
                  <a:pt x="8930" y="5556"/>
                </a:cubicBezTo>
                <a:cubicBezTo>
                  <a:pt x="8950" y="5589"/>
                  <a:pt x="8972" y="5566"/>
                  <a:pt x="8992" y="5551"/>
                </a:cubicBezTo>
                <a:cubicBezTo>
                  <a:pt x="9065" y="5491"/>
                  <a:pt x="9065" y="5443"/>
                  <a:pt x="9007" y="5373"/>
                </a:cubicBezTo>
                <a:cubicBezTo>
                  <a:pt x="8985" y="5348"/>
                  <a:pt x="8975" y="5336"/>
                  <a:pt x="8967" y="5303"/>
                </a:cubicBezTo>
                <a:cubicBezTo>
                  <a:pt x="8957" y="5259"/>
                  <a:pt x="8953" y="5254"/>
                  <a:pt x="8925" y="5221"/>
                </a:cubicBezTo>
                <a:cubicBezTo>
                  <a:pt x="8883" y="5171"/>
                  <a:pt x="8897" y="5131"/>
                  <a:pt x="8948" y="5093"/>
                </a:cubicBezTo>
                <a:cubicBezTo>
                  <a:pt x="8978" y="5071"/>
                  <a:pt x="9000" y="5066"/>
                  <a:pt x="9038" y="5066"/>
                </a:cubicBezTo>
                <a:cubicBezTo>
                  <a:pt x="9093" y="5068"/>
                  <a:pt x="9087" y="5069"/>
                  <a:pt x="9092" y="5121"/>
                </a:cubicBezTo>
                <a:cubicBezTo>
                  <a:pt x="9095" y="5161"/>
                  <a:pt x="9105" y="5198"/>
                  <a:pt x="9130" y="5231"/>
                </a:cubicBezTo>
                <a:cubicBezTo>
                  <a:pt x="9142" y="5248"/>
                  <a:pt x="9167" y="5288"/>
                  <a:pt x="9184" y="5298"/>
                </a:cubicBezTo>
                <a:cubicBezTo>
                  <a:pt x="9214" y="5318"/>
                  <a:pt x="9235" y="5293"/>
                  <a:pt x="9264" y="5284"/>
                </a:cubicBezTo>
                <a:cubicBezTo>
                  <a:pt x="9284" y="5278"/>
                  <a:pt x="9314" y="5289"/>
                  <a:pt x="9330" y="5281"/>
                </a:cubicBezTo>
                <a:cubicBezTo>
                  <a:pt x="9387" y="5254"/>
                  <a:pt x="9310" y="5194"/>
                  <a:pt x="9334" y="5163"/>
                </a:cubicBezTo>
                <a:cubicBezTo>
                  <a:pt x="9364" y="5123"/>
                  <a:pt x="9380" y="5183"/>
                  <a:pt x="9407" y="5178"/>
                </a:cubicBezTo>
                <a:cubicBezTo>
                  <a:pt x="9434" y="5173"/>
                  <a:pt x="9409" y="5141"/>
                  <a:pt x="9407" y="5123"/>
                </a:cubicBezTo>
                <a:cubicBezTo>
                  <a:pt x="9402" y="5088"/>
                  <a:pt x="9419" y="5078"/>
                  <a:pt x="9434" y="5053"/>
                </a:cubicBezTo>
                <a:cubicBezTo>
                  <a:pt x="9437" y="5048"/>
                  <a:pt x="9425" y="5041"/>
                  <a:pt x="9435" y="5029"/>
                </a:cubicBezTo>
                <a:cubicBezTo>
                  <a:pt x="9452" y="5014"/>
                  <a:pt x="9520" y="5041"/>
                  <a:pt x="9539" y="5048"/>
                </a:cubicBezTo>
                <a:cubicBezTo>
                  <a:pt x="9589" y="5064"/>
                  <a:pt x="9632" y="5083"/>
                  <a:pt x="9684" y="5083"/>
                </a:cubicBezTo>
                <a:cubicBezTo>
                  <a:pt x="9717" y="5083"/>
                  <a:pt x="9794" y="5081"/>
                  <a:pt x="9777" y="5029"/>
                </a:cubicBezTo>
                <a:cubicBezTo>
                  <a:pt x="9769" y="5001"/>
                  <a:pt x="9705" y="4984"/>
                  <a:pt x="9684" y="4969"/>
                </a:cubicBezTo>
                <a:cubicBezTo>
                  <a:pt x="9647" y="4943"/>
                  <a:pt x="9629" y="4903"/>
                  <a:pt x="9594" y="4876"/>
                </a:cubicBezTo>
                <a:cubicBezTo>
                  <a:pt x="9524" y="4826"/>
                  <a:pt x="9459" y="4771"/>
                  <a:pt x="9385" y="4726"/>
                </a:cubicBezTo>
                <a:cubicBezTo>
                  <a:pt x="9354" y="4706"/>
                  <a:pt x="9247" y="4634"/>
                  <a:pt x="9245" y="4588"/>
                </a:cubicBezTo>
                <a:cubicBezTo>
                  <a:pt x="9244" y="4561"/>
                  <a:pt x="9277" y="4559"/>
                  <a:pt x="9282" y="4538"/>
                </a:cubicBezTo>
                <a:cubicBezTo>
                  <a:pt x="9285" y="4521"/>
                  <a:pt x="9267" y="4508"/>
                  <a:pt x="9267" y="4496"/>
                </a:cubicBezTo>
                <a:cubicBezTo>
                  <a:pt x="9275" y="4441"/>
                  <a:pt x="9372" y="4479"/>
                  <a:pt x="9399" y="4494"/>
                </a:cubicBezTo>
                <a:cubicBezTo>
                  <a:pt x="9437" y="4514"/>
                  <a:pt x="9477" y="4524"/>
                  <a:pt x="9522" y="4516"/>
                </a:cubicBezTo>
                <a:cubicBezTo>
                  <a:pt x="9585" y="4504"/>
                  <a:pt x="9577" y="4458"/>
                  <a:pt x="9570" y="4404"/>
                </a:cubicBezTo>
                <a:cubicBezTo>
                  <a:pt x="9562" y="4332"/>
                  <a:pt x="9562" y="4269"/>
                  <a:pt x="9514" y="4212"/>
                </a:cubicBezTo>
                <a:cubicBezTo>
                  <a:pt x="9452" y="4141"/>
                  <a:pt x="9409" y="4104"/>
                  <a:pt x="9409" y="4004"/>
                </a:cubicBezTo>
                <a:cubicBezTo>
                  <a:pt x="9409" y="3974"/>
                  <a:pt x="9397" y="3901"/>
                  <a:pt x="9442" y="3892"/>
                </a:cubicBezTo>
                <a:cubicBezTo>
                  <a:pt x="9502" y="3882"/>
                  <a:pt x="9500" y="3976"/>
                  <a:pt x="9545" y="3977"/>
                </a:cubicBezTo>
                <a:cubicBezTo>
                  <a:pt x="9549" y="3932"/>
                  <a:pt x="9580" y="3902"/>
                  <a:pt x="9624" y="3886"/>
                </a:cubicBezTo>
                <a:cubicBezTo>
                  <a:pt x="9652" y="3876"/>
                  <a:pt x="9642" y="3879"/>
                  <a:pt x="9675" y="3889"/>
                </a:cubicBezTo>
                <a:cubicBezTo>
                  <a:pt x="9712" y="3901"/>
                  <a:pt x="9719" y="3896"/>
                  <a:pt x="9752" y="3881"/>
                </a:cubicBezTo>
                <a:cubicBezTo>
                  <a:pt x="9817" y="3852"/>
                  <a:pt x="9882" y="3866"/>
                  <a:pt x="9952" y="3871"/>
                </a:cubicBezTo>
                <a:cubicBezTo>
                  <a:pt x="10012" y="3876"/>
                  <a:pt x="10084" y="3947"/>
                  <a:pt x="10140" y="3932"/>
                </a:cubicBezTo>
                <a:cubicBezTo>
                  <a:pt x="10070" y="3847"/>
                  <a:pt x="9759" y="3842"/>
                  <a:pt x="9844" y="3677"/>
                </a:cubicBezTo>
                <a:cubicBezTo>
                  <a:pt x="9859" y="3651"/>
                  <a:pt x="9872" y="3622"/>
                  <a:pt x="9862" y="3592"/>
                </a:cubicBezTo>
                <a:cubicBezTo>
                  <a:pt x="9847" y="3556"/>
                  <a:pt x="9802" y="3542"/>
                  <a:pt x="9790" y="3501"/>
                </a:cubicBezTo>
                <a:cubicBezTo>
                  <a:pt x="9769" y="3424"/>
                  <a:pt x="9852" y="3411"/>
                  <a:pt x="9862" y="3349"/>
                </a:cubicBezTo>
                <a:cubicBezTo>
                  <a:pt x="9879" y="3366"/>
                  <a:pt x="9902" y="3389"/>
                  <a:pt x="9927" y="3389"/>
                </a:cubicBezTo>
                <a:cubicBezTo>
                  <a:pt x="9919" y="3367"/>
                  <a:pt x="9884" y="3332"/>
                  <a:pt x="9905" y="3302"/>
                </a:cubicBezTo>
                <a:cubicBezTo>
                  <a:pt x="9935" y="3259"/>
                  <a:pt x="10000" y="3289"/>
                  <a:pt x="9930" y="3229"/>
                </a:cubicBezTo>
                <a:cubicBezTo>
                  <a:pt x="9875" y="3184"/>
                  <a:pt x="9932" y="3164"/>
                  <a:pt x="9920" y="3107"/>
                </a:cubicBezTo>
                <a:cubicBezTo>
                  <a:pt x="9914" y="3079"/>
                  <a:pt x="9887" y="3052"/>
                  <a:pt x="9887" y="3052"/>
                </a:cubicBezTo>
                <a:cubicBezTo>
                  <a:pt x="9874" y="3027"/>
                  <a:pt x="9852" y="2994"/>
                  <a:pt x="9869" y="2969"/>
                </a:cubicBezTo>
                <a:cubicBezTo>
                  <a:pt x="9942" y="2929"/>
                  <a:pt x="10067" y="2922"/>
                  <a:pt x="10057" y="2819"/>
                </a:cubicBezTo>
                <a:cubicBezTo>
                  <a:pt x="10052" y="2766"/>
                  <a:pt x="10060" y="2694"/>
                  <a:pt x="10077" y="2642"/>
                </a:cubicBezTo>
                <a:cubicBezTo>
                  <a:pt x="10082" y="2627"/>
                  <a:pt x="10074" y="2629"/>
                  <a:pt x="10085" y="2617"/>
                </a:cubicBezTo>
                <a:cubicBezTo>
                  <a:pt x="10109" y="2592"/>
                  <a:pt x="10150" y="2619"/>
                  <a:pt x="10172" y="2629"/>
                </a:cubicBezTo>
                <a:cubicBezTo>
                  <a:pt x="10240" y="2656"/>
                  <a:pt x="10324" y="2651"/>
                  <a:pt x="10390" y="2687"/>
                </a:cubicBezTo>
                <a:cubicBezTo>
                  <a:pt x="10459" y="2727"/>
                  <a:pt x="10380" y="2911"/>
                  <a:pt x="10484" y="2916"/>
                </a:cubicBezTo>
                <a:cubicBezTo>
                  <a:pt x="10494" y="2886"/>
                  <a:pt x="10467" y="2774"/>
                  <a:pt x="10507" y="2757"/>
                </a:cubicBezTo>
                <a:cubicBezTo>
                  <a:pt x="10539" y="2746"/>
                  <a:pt x="10565" y="2782"/>
                  <a:pt x="10577" y="2802"/>
                </a:cubicBezTo>
                <a:cubicBezTo>
                  <a:pt x="10600" y="2837"/>
                  <a:pt x="10607" y="2854"/>
                  <a:pt x="10647" y="2869"/>
                </a:cubicBezTo>
                <a:cubicBezTo>
                  <a:pt x="10679" y="2881"/>
                  <a:pt x="10690" y="2876"/>
                  <a:pt x="10697" y="2907"/>
                </a:cubicBezTo>
                <a:cubicBezTo>
                  <a:pt x="10699" y="2914"/>
                  <a:pt x="10697" y="2941"/>
                  <a:pt x="10695" y="2947"/>
                </a:cubicBezTo>
                <a:cubicBezTo>
                  <a:pt x="10690" y="2974"/>
                  <a:pt x="10682" y="2972"/>
                  <a:pt x="10665" y="2999"/>
                </a:cubicBezTo>
                <a:cubicBezTo>
                  <a:pt x="10647" y="3029"/>
                  <a:pt x="10645" y="3064"/>
                  <a:pt x="10627" y="3096"/>
                </a:cubicBezTo>
                <a:cubicBezTo>
                  <a:pt x="10610" y="3124"/>
                  <a:pt x="10594" y="3151"/>
                  <a:pt x="10605" y="3186"/>
                </a:cubicBezTo>
                <a:cubicBezTo>
                  <a:pt x="10679" y="3169"/>
                  <a:pt x="10694" y="3099"/>
                  <a:pt x="10730" y="3047"/>
                </a:cubicBezTo>
                <a:cubicBezTo>
                  <a:pt x="10752" y="3016"/>
                  <a:pt x="10794" y="2997"/>
                  <a:pt x="10814" y="2969"/>
                </a:cubicBezTo>
                <a:cubicBezTo>
                  <a:pt x="10837" y="2936"/>
                  <a:pt x="10825" y="2899"/>
                  <a:pt x="10832" y="2864"/>
                </a:cubicBezTo>
                <a:cubicBezTo>
                  <a:pt x="10842" y="2807"/>
                  <a:pt x="10867" y="2809"/>
                  <a:pt x="10919" y="2811"/>
                </a:cubicBezTo>
                <a:cubicBezTo>
                  <a:pt x="10997" y="2812"/>
                  <a:pt x="11075" y="2832"/>
                  <a:pt x="11147" y="2862"/>
                </a:cubicBezTo>
                <a:cubicBezTo>
                  <a:pt x="11164" y="2871"/>
                  <a:pt x="11205" y="2882"/>
                  <a:pt x="11214" y="2901"/>
                </a:cubicBezTo>
                <a:cubicBezTo>
                  <a:pt x="11225" y="2924"/>
                  <a:pt x="11220" y="2912"/>
                  <a:pt x="11200" y="2936"/>
                </a:cubicBezTo>
                <a:cubicBezTo>
                  <a:pt x="11164" y="2976"/>
                  <a:pt x="11104" y="2996"/>
                  <a:pt x="11094" y="3052"/>
                </a:cubicBezTo>
                <a:cubicBezTo>
                  <a:pt x="11092" y="3069"/>
                  <a:pt x="11100" y="3089"/>
                  <a:pt x="11094" y="3106"/>
                </a:cubicBezTo>
                <a:cubicBezTo>
                  <a:pt x="11085" y="3131"/>
                  <a:pt x="11054" y="3139"/>
                  <a:pt x="11045" y="3167"/>
                </a:cubicBezTo>
                <a:cubicBezTo>
                  <a:pt x="11174" y="3241"/>
                  <a:pt x="11195" y="2989"/>
                  <a:pt x="11292" y="2951"/>
                </a:cubicBezTo>
                <a:cubicBezTo>
                  <a:pt x="11360" y="2926"/>
                  <a:pt x="11421" y="2959"/>
                  <a:pt x="11489" y="2954"/>
                </a:cubicBezTo>
                <a:cubicBezTo>
                  <a:pt x="11526" y="2952"/>
                  <a:pt x="11562" y="2924"/>
                  <a:pt x="11596" y="2907"/>
                </a:cubicBezTo>
                <a:cubicBezTo>
                  <a:pt x="11641" y="2884"/>
                  <a:pt x="11686" y="2849"/>
                  <a:pt x="11734" y="2836"/>
                </a:cubicBezTo>
                <a:cubicBezTo>
                  <a:pt x="11779" y="2822"/>
                  <a:pt x="11807" y="2837"/>
                  <a:pt x="11836" y="2794"/>
                </a:cubicBezTo>
                <a:cubicBezTo>
                  <a:pt x="11846" y="2781"/>
                  <a:pt x="11846" y="2749"/>
                  <a:pt x="11872" y="2747"/>
                </a:cubicBezTo>
                <a:cubicBezTo>
                  <a:pt x="11899" y="2747"/>
                  <a:pt x="11884" y="2766"/>
                  <a:pt x="11892" y="2781"/>
                </a:cubicBezTo>
                <a:cubicBezTo>
                  <a:pt x="11914" y="2826"/>
                  <a:pt x="11946" y="2819"/>
                  <a:pt x="11994" y="2819"/>
                </a:cubicBezTo>
                <a:cubicBezTo>
                  <a:pt x="12047" y="2819"/>
                  <a:pt x="12096" y="2814"/>
                  <a:pt x="12149" y="2822"/>
                </a:cubicBezTo>
                <a:cubicBezTo>
                  <a:pt x="12179" y="2827"/>
                  <a:pt x="12209" y="2836"/>
                  <a:pt x="12239" y="2827"/>
                </a:cubicBezTo>
                <a:cubicBezTo>
                  <a:pt x="12292" y="2812"/>
                  <a:pt x="12341" y="2777"/>
                  <a:pt x="12394" y="2761"/>
                </a:cubicBezTo>
                <a:cubicBezTo>
                  <a:pt x="12437" y="2747"/>
                  <a:pt x="12446" y="2737"/>
                  <a:pt x="12472" y="2706"/>
                </a:cubicBezTo>
                <a:cubicBezTo>
                  <a:pt x="12507" y="2666"/>
                  <a:pt x="12559" y="2664"/>
                  <a:pt x="12609" y="2661"/>
                </a:cubicBezTo>
                <a:cubicBezTo>
                  <a:pt x="12641" y="2657"/>
                  <a:pt x="12667" y="2656"/>
                  <a:pt x="12701" y="2666"/>
                </a:cubicBezTo>
                <a:cubicBezTo>
                  <a:pt x="12736" y="2676"/>
                  <a:pt x="12761" y="2692"/>
                  <a:pt x="12799" y="2684"/>
                </a:cubicBezTo>
                <a:cubicBezTo>
                  <a:pt x="12851" y="2671"/>
                  <a:pt x="12914" y="2622"/>
                  <a:pt x="12957" y="2591"/>
                </a:cubicBezTo>
                <a:cubicBezTo>
                  <a:pt x="12979" y="2574"/>
                  <a:pt x="13006" y="2554"/>
                  <a:pt x="13024" y="2536"/>
                </a:cubicBezTo>
                <a:cubicBezTo>
                  <a:pt x="13039" y="2521"/>
                  <a:pt x="13044" y="2504"/>
                  <a:pt x="13059" y="2491"/>
                </a:cubicBezTo>
                <a:cubicBezTo>
                  <a:pt x="13102" y="2449"/>
                  <a:pt x="13137" y="2504"/>
                  <a:pt x="13172" y="2529"/>
                </a:cubicBezTo>
                <a:cubicBezTo>
                  <a:pt x="13239" y="2576"/>
                  <a:pt x="13296" y="2532"/>
                  <a:pt x="13366" y="2532"/>
                </a:cubicBezTo>
                <a:cubicBezTo>
                  <a:pt x="13437" y="2532"/>
                  <a:pt x="13487" y="2557"/>
                  <a:pt x="13551" y="2581"/>
                </a:cubicBezTo>
                <a:cubicBezTo>
                  <a:pt x="13586" y="2594"/>
                  <a:pt x="13641" y="2597"/>
                  <a:pt x="13678" y="2589"/>
                </a:cubicBezTo>
                <a:cubicBezTo>
                  <a:pt x="13699" y="2582"/>
                  <a:pt x="13656" y="2677"/>
                  <a:pt x="13626" y="2711"/>
                </a:cubicBezTo>
                <a:cubicBezTo>
                  <a:pt x="13584" y="2756"/>
                  <a:pt x="13554" y="2782"/>
                  <a:pt x="13527" y="2841"/>
                </a:cubicBezTo>
                <a:cubicBezTo>
                  <a:pt x="13507" y="2881"/>
                  <a:pt x="13469" y="2924"/>
                  <a:pt x="13459" y="2967"/>
                </a:cubicBezTo>
                <a:cubicBezTo>
                  <a:pt x="13452" y="3001"/>
                  <a:pt x="13456" y="3094"/>
                  <a:pt x="13482" y="3119"/>
                </a:cubicBezTo>
                <a:cubicBezTo>
                  <a:pt x="13519" y="3154"/>
                  <a:pt x="13594" y="3141"/>
                  <a:pt x="13624" y="3176"/>
                </a:cubicBezTo>
                <a:cubicBezTo>
                  <a:pt x="13711" y="3271"/>
                  <a:pt x="13674" y="3401"/>
                  <a:pt x="13572" y="3462"/>
                </a:cubicBezTo>
                <a:cubicBezTo>
                  <a:pt x="13476" y="3519"/>
                  <a:pt x="13441" y="3626"/>
                  <a:pt x="13342" y="3681"/>
                </a:cubicBezTo>
                <a:cubicBezTo>
                  <a:pt x="13297" y="3707"/>
                  <a:pt x="13254" y="3722"/>
                  <a:pt x="13207" y="3742"/>
                </a:cubicBezTo>
                <a:cubicBezTo>
                  <a:pt x="13167" y="3761"/>
                  <a:pt x="13166" y="3779"/>
                  <a:pt x="13139" y="3806"/>
                </a:cubicBezTo>
                <a:cubicBezTo>
                  <a:pt x="13109" y="3837"/>
                  <a:pt x="13062" y="3844"/>
                  <a:pt x="13031" y="3874"/>
                </a:cubicBezTo>
                <a:cubicBezTo>
                  <a:pt x="12984" y="3919"/>
                  <a:pt x="12937" y="3957"/>
                  <a:pt x="12886" y="3999"/>
                </a:cubicBezTo>
                <a:cubicBezTo>
                  <a:pt x="12839" y="4037"/>
                  <a:pt x="12802" y="4079"/>
                  <a:pt x="12787" y="4139"/>
                </a:cubicBezTo>
                <a:cubicBezTo>
                  <a:pt x="12761" y="4256"/>
                  <a:pt x="12632" y="4319"/>
                  <a:pt x="12546" y="4392"/>
                </a:cubicBezTo>
                <a:cubicBezTo>
                  <a:pt x="12492" y="4437"/>
                  <a:pt x="12432" y="4473"/>
                  <a:pt x="12377" y="4516"/>
                </a:cubicBezTo>
                <a:cubicBezTo>
                  <a:pt x="12327" y="4556"/>
                  <a:pt x="12264" y="4589"/>
                  <a:pt x="12219" y="4634"/>
                </a:cubicBezTo>
                <a:cubicBezTo>
                  <a:pt x="12184" y="4669"/>
                  <a:pt x="12177" y="4716"/>
                  <a:pt x="12151" y="4756"/>
                </a:cubicBezTo>
                <a:cubicBezTo>
                  <a:pt x="12119" y="4804"/>
                  <a:pt x="12047" y="4851"/>
                  <a:pt x="11997" y="4883"/>
                </a:cubicBezTo>
                <a:cubicBezTo>
                  <a:pt x="11956" y="4911"/>
                  <a:pt x="11914" y="4938"/>
                  <a:pt x="11891" y="4986"/>
                </a:cubicBezTo>
                <a:cubicBezTo>
                  <a:pt x="11867" y="5039"/>
                  <a:pt x="11884" y="5114"/>
                  <a:pt x="11884" y="5169"/>
                </a:cubicBezTo>
                <a:cubicBezTo>
                  <a:pt x="11884" y="5201"/>
                  <a:pt x="11894" y="5194"/>
                  <a:pt x="11864" y="5219"/>
                </a:cubicBezTo>
                <a:cubicBezTo>
                  <a:pt x="11851" y="5233"/>
                  <a:pt x="11834" y="5243"/>
                  <a:pt x="11817" y="5251"/>
                </a:cubicBezTo>
                <a:cubicBezTo>
                  <a:pt x="11787" y="5266"/>
                  <a:pt x="11729" y="5258"/>
                  <a:pt x="11729" y="5269"/>
                </a:cubicBezTo>
                <a:cubicBezTo>
                  <a:pt x="11729" y="5269"/>
                  <a:pt x="11744" y="5349"/>
                  <a:pt x="11762" y="5366"/>
                </a:cubicBezTo>
                <a:cubicBezTo>
                  <a:pt x="11782" y="5386"/>
                  <a:pt x="11827" y="5409"/>
                  <a:pt x="11856" y="5403"/>
                </a:cubicBezTo>
                <a:cubicBezTo>
                  <a:pt x="11887" y="5394"/>
                  <a:pt x="11906" y="5359"/>
                  <a:pt x="11939" y="5349"/>
                </a:cubicBezTo>
                <a:cubicBezTo>
                  <a:pt x="11964" y="5343"/>
                  <a:pt x="11986" y="5334"/>
                  <a:pt x="12011" y="5326"/>
                </a:cubicBezTo>
                <a:cubicBezTo>
                  <a:pt x="12054" y="5309"/>
                  <a:pt x="12049" y="5328"/>
                  <a:pt x="12089" y="5344"/>
                </a:cubicBezTo>
                <a:cubicBezTo>
                  <a:pt x="12121" y="5356"/>
                  <a:pt x="12149" y="5363"/>
                  <a:pt x="12176" y="5344"/>
                </a:cubicBezTo>
                <a:cubicBezTo>
                  <a:pt x="12194" y="5331"/>
                  <a:pt x="12261" y="5279"/>
                  <a:pt x="12262" y="5259"/>
                </a:cubicBezTo>
                <a:cubicBezTo>
                  <a:pt x="12279" y="5256"/>
                  <a:pt x="12297" y="5254"/>
                  <a:pt x="12316" y="5256"/>
                </a:cubicBezTo>
                <a:cubicBezTo>
                  <a:pt x="12359" y="5328"/>
                  <a:pt x="12229" y="5444"/>
                  <a:pt x="12197" y="5498"/>
                </a:cubicBezTo>
                <a:cubicBezTo>
                  <a:pt x="12166" y="5556"/>
                  <a:pt x="12101" y="5596"/>
                  <a:pt x="12069" y="5656"/>
                </a:cubicBezTo>
                <a:cubicBezTo>
                  <a:pt x="12044" y="5703"/>
                  <a:pt x="12021" y="5744"/>
                  <a:pt x="11991" y="5789"/>
                </a:cubicBezTo>
                <a:cubicBezTo>
                  <a:pt x="11962" y="5831"/>
                  <a:pt x="11939" y="5896"/>
                  <a:pt x="11874" y="5888"/>
                </a:cubicBezTo>
                <a:cubicBezTo>
                  <a:pt x="11777" y="5876"/>
                  <a:pt x="11911" y="5778"/>
                  <a:pt x="11847" y="5748"/>
                </a:cubicBezTo>
                <a:cubicBezTo>
                  <a:pt x="11826" y="5739"/>
                  <a:pt x="11769" y="5766"/>
                  <a:pt x="11751" y="5774"/>
                </a:cubicBezTo>
                <a:cubicBezTo>
                  <a:pt x="11729" y="5786"/>
                  <a:pt x="11682" y="5806"/>
                  <a:pt x="11666" y="5823"/>
                </a:cubicBezTo>
                <a:cubicBezTo>
                  <a:pt x="11651" y="5839"/>
                  <a:pt x="11654" y="5863"/>
                  <a:pt x="11634" y="5873"/>
                </a:cubicBezTo>
                <a:cubicBezTo>
                  <a:pt x="11621" y="5879"/>
                  <a:pt x="11612" y="5866"/>
                  <a:pt x="11601" y="5866"/>
                </a:cubicBezTo>
                <a:cubicBezTo>
                  <a:pt x="11577" y="5864"/>
                  <a:pt x="11571" y="5866"/>
                  <a:pt x="11547" y="5873"/>
                </a:cubicBezTo>
                <a:cubicBezTo>
                  <a:pt x="11507" y="5884"/>
                  <a:pt x="11412" y="5894"/>
                  <a:pt x="11429" y="5953"/>
                </a:cubicBezTo>
                <a:cubicBezTo>
                  <a:pt x="11474" y="5961"/>
                  <a:pt x="11511" y="5946"/>
                  <a:pt x="11547" y="5931"/>
                </a:cubicBezTo>
                <a:cubicBezTo>
                  <a:pt x="11592" y="5914"/>
                  <a:pt x="11624" y="5914"/>
                  <a:pt x="11666" y="5921"/>
                </a:cubicBezTo>
                <a:cubicBezTo>
                  <a:pt x="11704" y="5928"/>
                  <a:pt x="11727" y="5924"/>
                  <a:pt x="11762" y="5913"/>
                </a:cubicBezTo>
                <a:cubicBezTo>
                  <a:pt x="11794" y="5903"/>
                  <a:pt x="11851" y="5874"/>
                  <a:pt x="11881" y="5899"/>
                </a:cubicBezTo>
                <a:cubicBezTo>
                  <a:pt x="11922" y="5934"/>
                  <a:pt x="11859" y="5981"/>
                  <a:pt x="11836" y="6004"/>
                </a:cubicBezTo>
                <a:cubicBezTo>
                  <a:pt x="11811" y="6026"/>
                  <a:pt x="11789" y="6048"/>
                  <a:pt x="11779" y="6079"/>
                </a:cubicBezTo>
                <a:cubicBezTo>
                  <a:pt x="11774" y="6098"/>
                  <a:pt x="11776" y="6118"/>
                  <a:pt x="11766" y="6133"/>
                </a:cubicBezTo>
                <a:cubicBezTo>
                  <a:pt x="11754" y="6151"/>
                  <a:pt x="11731" y="6166"/>
                  <a:pt x="11716" y="6184"/>
                </a:cubicBezTo>
                <a:cubicBezTo>
                  <a:pt x="11699" y="6206"/>
                  <a:pt x="11684" y="6224"/>
                  <a:pt x="11664" y="6244"/>
                </a:cubicBezTo>
                <a:cubicBezTo>
                  <a:pt x="11631" y="6279"/>
                  <a:pt x="11616" y="6321"/>
                  <a:pt x="11609" y="6369"/>
                </a:cubicBezTo>
                <a:cubicBezTo>
                  <a:pt x="11554" y="6363"/>
                  <a:pt x="11399" y="6419"/>
                  <a:pt x="11382" y="6473"/>
                </a:cubicBezTo>
                <a:cubicBezTo>
                  <a:pt x="11459" y="6483"/>
                  <a:pt x="11569" y="6533"/>
                  <a:pt x="11646" y="6488"/>
                </a:cubicBezTo>
                <a:cubicBezTo>
                  <a:pt x="11724" y="6441"/>
                  <a:pt x="11606" y="6429"/>
                  <a:pt x="11662" y="6376"/>
                </a:cubicBezTo>
                <a:cubicBezTo>
                  <a:pt x="11692" y="6348"/>
                  <a:pt x="11751" y="6361"/>
                  <a:pt x="11789" y="6351"/>
                </a:cubicBezTo>
                <a:cubicBezTo>
                  <a:pt x="11792" y="6331"/>
                  <a:pt x="11774" y="6324"/>
                  <a:pt x="11772" y="6308"/>
                </a:cubicBezTo>
                <a:cubicBezTo>
                  <a:pt x="11769" y="6284"/>
                  <a:pt x="11777" y="6284"/>
                  <a:pt x="11789" y="6264"/>
                </a:cubicBezTo>
                <a:cubicBezTo>
                  <a:pt x="11804" y="6236"/>
                  <a:pt x="11804" y="6224"/>
                  <a:pt x="11791" y="6199"/>
                </a:cubicBezTo>
                <a:cubicBezTo>
                  <a:pt x="11876" y="6144"/>
                  <a:pt x="12009" y="6228"/>
                  <a:pt x="12102" y="6191"/>
                </a:cubicBezTo>
                <a:cubicBezTo>
                  <a:pt x="12136" y="6179"/>
                  <a:pt x="12174" y="6149"/>
                  <a:pt x="12184" y="6114"/>
                </a:cubicBezTo>
                <a:cubicBezTo>
                  <a:pt x="12194" y="6074"/>
                  <a:pt x="12191" y="6043"/>
                  <a:pt x="12226" y="6013"/>
                </a:cubicBezTo>
                <a:cubicBezTo>
                  <a:pt x="12269" y="5976"/>
                  <a:pt x="12332" y="5981"/>
                  <a:pt x="12384" y="5981"/>
                </a:cubicBezTo>
                <a:cubicBezTo>
                  <a:pt x="12432" y="5981"/>
                  <a:pt x="12461" y="5981"/>
                  <a:pt x="12506" y="5969"/>
                </a:cubicBezTo>
                <a:cubicBezTo>
                  <a:pt x="12556" y="5956"/>
                  <a:pt x="12601" y="5953"/>
                  <a:pt x="12652" y="5948"/>
                </a:cubicBezTo>
                <a:cubicBezTo>
                  <a:pt x="12662" y="5948"/>
                  <a:pt x="12697" y="5946"/>
                  <a:pt x="12707" y="5941"/>
                </a:cubicBezTo>
                <a:cubicBezTo>
                  <a:pt x="12732" y="5928"/>
                  <a:pt x="12717" y="5926"/>
                  <a:pt x="12731" y="5908"/>
                </a:cubicBezTo>
                <a:cubicBezTo>
                  <a:pt x="12754" y="5878"/>
                  <a:pt x="12791" y="5861"/>
                  <a:pt x="12821" y="5838"/>
                </a:cubicBezTo>
                <a:cubicBezTo>
                  <a:pt x="12851" y="5813"/>
                  <a:pt x="12841" y="5794"/>
                  <a:pt x="12884" y="5798"/>
                </a:cubicBezTo>
                <a:cubicBezTo>
                  <a:pt x="12939" y="5799"/>
                  <a:pt x="12962" y="5793"/>
                  <a:pt x="13006" y="5759"/>
                </a:cubicBezTo>
                <a:cubicBezTo>
                  <a:pt x="13047" y="5726"/>
                  <a:pt x="13069" y="5736"/>
                  <a:pt x="13126" y="5748"/>
                </a:cubicBezTo>
                <a:cubicBezTo>
                  <a:pt x="13262" y="5779"/>
                  <a:pt x="13396" y="5808"/>
                  <a:pt x="13526" y="5854"/>
                </a:cubicBezTo>
                <a:cubicBezTo>
                  <a:pt x="13557" y="5866"/>
                  <a:pt x="13571" y="5886"/>
                  <a:pt x="13596" y="5903"/>
                </a:cubicBezTo>
                <a:cubicBezTo>
                  <a:pt x="13646" y="5936"/>
                  <a:pt x="13703" y="5916"/>
                  <a:pt x="13753" y="5894"/>
                </a:cubicBezTo>
                <a:cubicBezTo>
                  <a:pt x="13833" y="5861"/>
                  <a:pt x="13919" y="5826"/>
                  <a:pt x="14004" y="5846"/>
                </a:cubicBezTo>
                <a:cubicBezTo>
                  <a:pt x="14113" y="5873"/>
                  <a:pt x="14226" y="5871"/>
                  <a:pt x="14338" y="5883"/>
                </a:cubicBezTo>
                <a:cubicBezTo>
                  <a:pt x="14473" y="5898"/>
                  <a:pt x="14608" y="5929"/>
                  <a:pt x="14744" y="5939"/>
                </a:cubicBezTo>
                <a:cubicBezTo>
                  <a:pt x="14793" y="5943"/>
                  <a:pt x="14843" y="5936"/>
                  <a:pt x="14888" y="5921"/>
                </a:cubicBezTo>
                <a:cubicBezTo>
                  <a:pt x="14931" y="5906"/>
                  <a:pt x="14943" y="5861"/>
                  <a:pt x="14981" y="5844"/>
                </a:cubicBezTo>
                <a:cubicBezTo>
                  <a:pt x="15028" y="5824"/>
                  <a:pt x="15056" y="5869"/>
                  <a:pt x="15088" y="5889"/>
                </a:cubicBezTo>
                <a:cubicBezTo>
                  <a:pt x="15131" y="5914"/>
                  <a:pt x="15176" y="5908"/>
                  <a:pt x="15221" y="5896"/>
                </a:cubicBezTo>
                <a:cubicBezTo>
                  <a:pt x="15301" y="5876"/>
                  <a:pt x="15339" y="5821"/>
                  <a:pt x="15428" y="5839"/>
                </a:cubicBezTo>
                <a:cubicBezTo>
                  <a:pt x="15458" y="5846"/>
                  <a:pt x="15478" y="5861"/>
                  <a:pt x="15503" y="5874"/>
                </a:cubicBezTo>
                <a:cubicBezTo>
                  <a:pt x="15538" y="5891"/>
                  <a:pt x="15564" y="5881"/>
                  <a:pt x="15601" y="5889"/>
                </a:cubicBezTo>
                <a:cubicBezTo>
                  <a:pt x="15626" y="5894"/>
                  <a:pt x="15648" y="5911"/>
                  <a:pt x="15668" y="5929"/>
                </a:cubicBezTo>
                <a:cubicBezTo>
                  <a:pt x="15686" y="5944"/>
                  <a:pt x="15688" y="5951"/>
                  <a:pt x="15714" y="5961"/>
                </a:cubicBezTo>
                <a:cubicBezTo>
                  <a:pt x="15728" y="5968"/>
                  <a:pt x="15738" y="5969"/>
                  <a:pt x="15748" y="5978"/>
                </a:cubicBezTo>
                <a:cubicBezTo>
                  <a:pt x="15759" y="5986"/>
                  <a:pt x="15766" y="6008"/>
                  <a:pt x="15776" y="6018"/>
                </a:cubicBezTo>
                <a:cubicBezTo>
                  <a:pt x="15793" y="6033"/>
                  <a:pt x="15813" y="6041"/>
                  <a:pt x="15829" y="6053"/>
                </a:cubicBezTo>
                <a:moveTo>
                  <a:pt x="5713" y="17370"/>
                </a:moveTo>
                <a:lnTo>
                  <a:pt x="5713" y="17370"/>
                </a:lnTo>
                <a:cubicBezTo>
                  <a:pt x="5770" y="17373"/>
                  <a:pt x="5798" y="17440"/>
                  <a:pt x="5853" y="17436"/>
                </a:cubicBezTo>
                <a:cubicBezTo>
                  <a:pt x="5905" y="17433"/>
                  <a:pt x="5915" y="17380"/>
                  <a:pt x="5915" y="17333"/>
                </a:cubicBezTo>
                <a:cubicBezTo>
                  <a:pt x="5951" y="17336"/>
                  <a:pt x="5968" y="17303"/>
                  <a:pt x="5986" y="17276"/>
                </a:cubicBezTo>
                <a:cubicBezTo>
                  <a:pt x="6003" y="17251"/>
                  <a:pt x="6008" y="17251"/>
                  <a:pt x="6015" y="17218"/>
                </a:cubicBezTo>
                <a:cubicBezTo>
                  <a:pt x="6018" y="17198"/>
                  <a:pt x="6003" y="17159"/>
                  <a:pt x="6013" y="17143"/>
                </a:cubicBezTo>
                <a:cubicBezTo>
                  <a:pt x="6053" y="17078"/>
                  <a:pt x="6160" y="17149"/>
                  <a:pt x="6165" y="17043"/>
                </a:cubicBezTo>
                <a:cubicBezTo>
                  <a:pt x="6168" y="16969"/>
                  <a:pt x="6080" y="16879"/>
                  <a:pt x="6103" y="16819"/>
                </a:cubicBezTo>
                <a:cubicBezTo>
                  <a:pt x="6106" y="16809"/>
                  <a:pt x="6148" y="16763"/>
                  <a:pt x="6158" y="16754"/>
                </a:cubicBezTo>
                <a:cubicBezTo>
                  <a:pt x="6171" y="16744"/>
                  <a:pt x="6188" y="16758"/>
                  <a:pt x="6198" y="16749"/>
                </a:cubicBezTo>
                <a:cubicBezTo>
                  <a:pt x="6213" y="16736"/>
                  <a:pt x="6218" y="16713"/>
                  <a:pt x="6231" y="16698"/>
                </a:cubicBezTo>
                <a:cubicBezTo>
                  <a:pt x="6260" y="16666"/>
                  <a:pt x="6300" y="16641"/>
                  <a:pt x="6320" y="16598"/>
                </a:cubicBezTo>
                <a:cubicBezTo>
                  <a:pt x="6335" y="16564"/>
                  <a:pt x="6326" y="16533"/>
                  <a:pt x="6365" y="16516"/>
                </a:cubicBezTo>
                <a:cubicBezTo>
                  <a:pt x="6431" y="16486"/>
                  <a:pt x="6581" y="16548"/>
                  <a:pt x="6616" y="16608"/>
                </a:cubicBezTo>
                <a:cubicBezTo>
                  <a:pt x="6643" y="16654"/>
                  <a:pt x="6640" y="16716"/>
                  <a:pt x="6671" y="16763"/>
                </a:cubicBezTo>
                <a:cubicBezTo>
                  <a:pt x="6685" y="16784"/>
                  <a:pt x="6710" y="16793"/>
                  <a:pt x="6720" y="16818"/>
                </a:cubicBezTo>
                <a:cubicBezTo>
                  <a:pt x="6733" y="16844"/>
                  <a:pt x="6725" y="16883"/>
                  <a:pt x="6730" y="16911"/>
                </a:cubicBezTo>
                <a:cubicBezTo>
                  <a:pt x="6738" y="16976"/>
                  <a:pt x="6773" y="17009"/>
                  <a:pt x="6800" y="17064"/>
                </a:cubicBezTo>
                <a:cubicBezTo>
                  <a:pt x="6816" y="17101"/>
                  <a:pt x="6821" y="17181"/>
                  <a:pt x="6861" y="17204"/>
                </a:cubicBezTo>
                <a:cubicBezTo>
                  <a:pt x="6923" y="17239"/>
                  <a:pt x="7037" y="17128"/>
                  <a:pt x="7085" y="17234"/>
                </a:cubicBezTo>
                <a:cubicBezTo>
                  <a:pt x="7107" y="17283"/>
                  <a:pt x="7053" y="17331"/>
                  <a:pt x="7058" y="17385"/>
                </a:cubicBezTo>
                <a:cubicBezTo>
                  <a:pt x="7062" y="17433"/>
                  <a:pt x="7098" y="17465"/>
                  <a:pt x="7110" y="17511"/>
                </a:cubicBezTo>
                <a:cubicBezTo>
                  <a:pt x="7132" y="17598"/>
                  <a:pt x="7132" y="17623"/>
                  <a:pt x="7228" y="17645"/>
                </a:cubicBezTo>
                <a:cubicBezTo>
                  <a:pt x="7293" y="17658"/>
                  <a:pt x="7440" y="17688"/>
                  <a:pt x="7490" y="17658"/>
                </a:cubicBezTo>
                <a:cubicBezTo>
                  <a:pt x="7513" y="17643"/>
                  <a:pt x="7523" y="17610"/>
                  <a:pt x="7545" y="17591"/>
                </a:cubicBezTo>
                <a:cubicBezTo>
                  <a:pt x="7567" y="17571"/>
                  <a:pt x="7595" y="17558"/>
                  <a:pt x="7617" y="17535"/>
                </a:cubicBezTo>
                <a:cubicBezTo>
                  <a:pt x="7657" y="17495"/>
                  <a:pt x="7678" y="17466"/>
                  <a:pt x="7737" y="17461"/>
                </a:cubicBezTo>
                <a:cubicBezTo>
                  <a:pt x="7787" y="17456"/>
                  <a:pt x="7817" y="17468"/>
                  <a:pt x="7853" y="17496"/>
                </a:cubicBezTo>
                <a:cubicBezTo>
                  <a:pt x="7873" y="17510"/>
                  <a:pt x="7867" y="17516"/>
                  <a:pt x="7892" y="17528"/>
                </a:cubicBezTo>
                <a:cubicBezTo>
                  <a:pt x="7940" y="17551"/>
                  <a:pt x="8008" y="17540"/>
                  <a:pt x="8058" y="17566"/>
                </a:cubicBezTo>
                <a:cubicBezTo>
                  <a:pt x="8095" y="17588"/>
                  <a:pt x="8150" y="17661"/>
                  <a:pt x="8197" y="17663"/>
                </a:cubicBezTo>
                <a:cubicBezTo>
                  <a:pt x="8228" y="17663"/>
                  <a:pt x="8260" y="17628"/>
                  <a:pt x="8287" y="17613"/>
                </a:cubicBezTo>
                <a:cubicBezTo>
                  <a:pt x="8343" y="17583"/>
                  <a:pt x="8403" y="17566"/>
                  <a:pt x="8452" y="17520"/>
                </a:cubicBezTo>
                <a:cubicBezTo>
                  <a:pt x="8508" y="17463"/>
                  <a:pt x="8542" y="17385"/>
                  <a:pt x="8542" y="17305"/>
                </a:cubicBezTo>
                <a:cubicBezTo>
                  <a:pt x="8540" y="17213"/>
                  <a:pt x="8522" y="17189"/>
                  <a:pt x="8580" y="17114"/>
                </a:cubicBezTo>
                <a:cubicBezTo>
                  <a:pt x="8668" y="16999"/>
                  <a:pt x="8722" y="17049"/>
                  <a:pt x="8855" y="17051"/>
                </a:cubicBezTo>
                <a:cubicBezTo>
                  <a:pt x="8923" y="17051"/>
                  <a:pt x="8985" y="17031"/>
                  <a:pt x="9030" y="16978"/>
                </a:cubicBezTo>
                <a:cubicBezTo>
                  <a:pt x="9060" y="16941"/>
                  <a:pt x="9110" y="16908"/>
                  <a:pt x="9135" y="16869"/>
                </a:cubicBezTo>
                <a:cubicBezTo>
                  <a:pt x="9182" y="16791"/>
                  <a:pt x="9159" y="16708"/>
                  <a:pt x="9092" y="16653"/>
                </a:cubicBezTo>
                <a:cubicBezTo>
                  <a:pt x="9015" y="16588"/>
                  <a:pt x="8832" y="16716"/>
                  <a:pt x="8932" y="16561"/>
                </a:cubicBezTo>
                <a:cubicBezTo>
                  <a:pt x="8990" y="16469"/>
                  <a:pt x="8963" y="16426"/>
                  <a:pt x="8897" y="16356"/>
                </a:cubicBezTo>
                <a:cubicBezTo>
                  <a:pt x="8832" y="16289"/>
                  <a:pt x="8832" y="16253"/>
                  <a:pt x="8853" y="16169"/>
                </a:cubicBezTo>
                <a:cubicBezTo>
                  <a:pt x="8862" y="16138"/>
                  <a:pt x="8853" y="16086"/>
                  <a:pt x="8890" y="16066"/>
                </a:cubicBezTo>
                <a:cubicBezTo>
                  <a:pt x="8925" y="16048"/>
                  <a:pt x="9017" y="16104"/>
                  <a:pt x="9048" y="16121"/>
                </a:cubicBezTo>
                <a:cubicBezTo>
                  <a:pt x="9105" y="16154"/>
                  <a:pt x="9118" y="16168"/>
                  <a:pt x="9108" y="16228"/>
                </a:cubicBezTo>
                <a:cubicBezTo>
                  <a:pt x="9095" y="16298"/>
                  <a:pt x="9052" y="16363"/>
                  <a:pt x="9047" y="16434"/>
                </a:cubicBezTo>
                <a:cubicBezTo>
                  <a:pt x="9043" y="16486"/>
                  <a:pt x="9063" y="16539"/>
                  <a:pt x="9068" y="16591"/>
                </a:cubicBezTo>
                <a:cubicBezTo>
                  <a:pt x="9073" y="16653"/>
                  <a:pt x="9138" y="16756"/>
                  <a:pt x="9214" y="16763"/>
                </a:cubicBezTo>
                <a:cubicBezTo>
                  <a:pt x="9234" y="16704"/>
                  <a:pt x="9217" y="16639"/>
                  <a:pt x="9229" y="16583"/>
                </a:cubicBezTo>
                <a:cubicBezTo>
                  <a:pt x="9230" y="16574"/>
                  <a:pt x="9247" y="16569"/>
                  <a:pt x="9250" y="16558"/>
                </a:cubicBezTo>
                <a:cubicBezTo>
                  <a:pt x="9254" y="16549"/>
                  <a:pt x="9240" y="16541"/>
                  <a:pt x="9242" y="16536"/>
                </a:cubicBezTo>
                <a:cubicBezTo>
                  <a:pt x="9247" y="16518"/>
                  <a:pt x="9254" y="16496"/>
                  <a:pt x="9257" y="16478"/>
                </a:cubicBezTo>
                <a:cubicBezTo>
                  <a:pt x="9264" y="16436"/>
                  <a:pt x="9267" y="16391"/>
                  <a:pt x="9270" y="16348"/>
                </a:cubicBezTo>
                <a:cubicBezTo>
                  <a:pt x="9272" y="16284"/>
                  <a:pt x="9289" y="16221"/>
                  <a:pt x="9287" y="16159"/>
                </a:cubicBezTo>
                <a:cubicBezTo>
                  <a:pt x="9282" y="15999"/>
                  <a:pt x="9197" y="15844"/>
                  <a:pt x="9057" y="15766"/>
                </a:cubicBezTo>
                <a:cubicBezTo>
                  <a:pt x="8987" y="15728"/>
                  <a:pt x="8903" y="15706"/>
                  <a:pt x="8823" y="15713"/>
                </a:cubicBezTo>
                <a:cubicBezTo>
                  <a:pt x="8717" y="15723"/>
                  <a:pt x="8685" y="15808"/>
                  <a:pt x="8597" y="15848"/>
                </a:cubicBezTo>
                <a:cubicBezTo>
                  <a:pt x="8517" y="15884"/>
                  <a:pt x="8387" y="15858"/>
                  <a:pt x="8415" y="15749"/>
                </a:cubicBezTo>
                <a:cubicBezTo>
                  <a:pt x="8447" y="15638"/>
                  <a:pt x="8580" y="15684"/>
                  <a:pt x="8652" y="15624"/>
                </a:cubicBezTo>
                <a:cubicBezTo>
                  <a:pt x="8673" y="15608"/>
                  <a:pt x="8680" y="15579"/>
                  <a:pt x="8698" y="15558"/>
                </a:cubicBezTo>
                <a:cubicBezTo>
                  <a:pt x="8727" y="15524"/>
                  <a:pt x="8767" y="15519"/>
                  <a:pt x="8797" y="15491"/>
                </a:cubicBezTo>
                <a:cubicBezTo>
                  <a:pt x="8830" y="15459"/>
                  <a:pt x="8857" y="15353"/>
                  <a:pt x="8865" y="15311"/>
                </a:cubicBezTo>
                <a:cubicBezTo>
                  <a:pt x="8885" y="15186"/>
                  <a:pt x="8648" y="15183"/>
                  <a:pt x="8593" y="15089"/>
                </a:cubicBezTo>
                <a:cubicBezTo>
                  <a:pt x="8583" y="15071"/>
                  <a:pt x="8583" y="15027"/>
                  <a:pt x="8573" y="15006"/>
                </a:cubicBezTo>
                <a:cubicBezTo>
                  <a:pt x="8560" y="14971"/>
                  <a:pt x="8542" y="14939"/>
                  <a:pt x="8525" y="14904"/>
                </a:cubicBezTo>
                <a:cubicBezTo>
                  <a:pt x="8480" y="14811"/>
                  <a:pt x="8455" y="14781"/>
                  <a:pt x="8355" y="14752"/>
                </a:cubicBezTo>
                <a:cubicBezTo>
                  <a:pt x="8317" y="14742"/>
                  <a:pt x="8308" y="14747"/>
                  <a:pt x="8300" y="14707"/>
                </a:cubicBezTo>
                <a:cubicBezTo>
                  <a:pt x="8292" y="14667"/>
                  <a:pt x="8333" y="14646"/>
                  <a:pt x="8327" y="14611"/>
                </a:cubicBezTo>
                <a:cubicBezTo>
                  <a:pt x="8323" y="14591"/>
                  <a:pt x="8297" y="14591"/>
                  <a:pt x="8287" y="14577"/>
                </a:cubicBezTo>
                <a:cubicBezTo>
                  <a:pt x="8283" y="14572"/>
                  <a:pt x="8267" y="14529"/>
                  <a:pt x="8267" y="14529"/>
                </a:cubicBezTo>
                <a:cubicBezTo>
                  <a:pt x="8237" y="14506"/>
                  <a:pt x="8193" y="14514"/>
                  <a:pt x="8157" y="14512"/>
                </a:cubicBezTo>
                <a:cubicBezTo>
                  <a:pt x="8152" y="14482"/>
                  <a:pt x="8168" y="14464"/>
                  <a:pt x="8173" y="14436"/>
                </a:cubicBezTo>
                <a:cubicBezTo>
                  <a:pt x="8182" y="14397"/>
                  <a:pt x="8175" y="14357"/>
                  <a:pt x="8178" y="14319"/>
                </a:cubicBezTo>
                <a:cubicBezTo>
                  <a:pt x="8183" y="14211"/>
                  <a:pt x="8188" y="14079"/>
                  <a:pt x="8070" y="14024"/>
                </a:cubicBezTo>
                <a:cubicBezTo>
                  <a:pt x="7982" y="13982"/>
                  <a:pt x="7925" y="14022"/>
                  <a:pt x="7840" y="14024"/>
                </a:cubicBezTo>
                <a:cubicBezTo>
                  <a:pt x="7760" y="14026"/>
                  <a:pt x="7762" y="13977"/>
                  <a:pt x="7707" y="13941"/>
                </a:cubicBezTo>
                <a:cubicBezTo>
                  <a:pt x="7637" y="13892"/>
                  <a:pt x="7582" y="13944"/>
                  <a:pt x="7510" y="13941"/>
                </a:cubicBezTo>
                <a:cubicBezTo>
                  <a:pt x="7470" y="13939"/>
                  <a:pt x="7443" y="13901"/>
                  <a:pt x="7405" y="13896"/>
                </a:cubicBezTo>
                <a:cubicBezTo>
                  <a:pt x="7353" y="13887"/>
                  <a:pt x="7315" y="13922"/>
                  <a:pt x="7277" y="13956"/>
                </a:cubicBezTo>
                <a:cubicBezTo>
                  <a:pt x="7228" y="13999"/>
                  <a:pt x="7203" y="14026"/>
                  <a:pt x="7138" y="14044"/>
                </a:cubicBezTo>
                <a:cubicBezTo>
                  <a:pt x="7052" y="14071"/>
                  <a:pt x="6965" y="14092"/>
                  <a:pt x="6876" y="14112"/>
                </a:cubicBezTo>
                <a:cubicBezTo>
                  <a:pt x="6778" y="14136"/>
                  <a:pt x="6523" y="14139"/>
                  <a:pt x="6523" y="14139"/>
                </a:cubicBezTo>
                <a:cubicBezTo>
                  <a:pt x="6436" y="14149"/>
                  <a:pt x="6536" y="14177"/>
                  <a:pt x="6490" y="14204"/>
                </a:cubicBezTo>
                <a:cubicBezTo>
                  <a:pt x="6428" y="14239"/>
                  <a:pt x="6433" y="14274"/>
                  <a:pt x="6405" y="14326"/>
                </a:cubicBezTo>
                <a:cubicBezTo>
                  <a:pt x="6378" y="14377"/>
                  <a:pt x="6428" y="14481"/>
                  <a:pt x="6411" y="14472"/>
                </a:cubicBezTo>
                <a:lnTo>
                  <a:pt x="6406" y="14456"/>
                </a:lnTo>
                <a:cubicBezTo>
                  <a:pt x="6406" y="14456"/>
                  <a:pt x="6271" y="14564"/>
                  <a:pt x="6181" y="14564"/>
                </a:cubicBezTo>
                <a:cubicBezTo>
                  <a:pt x="6128" y="14564"/>
                  <a:pt x="6070" y="14557"/>
                  <a:pt x="6016" y="14551"/>
                </a:cubicBezTo>
                <a:cubicBezTo>
                  <a:pt x="5980" y="14546"/>
                  <a:pt x="5928" y="14514"/>
                  <a:pt x="5900" y="14512"/>
                </a:cubicBezTo>
                <a:cubicBezTo>
                  <a:pt x="5855" y="14509"/>
                  <a:pt x="5820" y="14539"/>
                  <a:pt x="5795" y="14572"/>
                </a:cubicBezTo>
                <a:cubicBezTo>
                  <a:pt x="5771" y="14604"/>
                  <a:pt x="5738" y="14659"/>
                  <a:pt x="5740" y="14702"/>
                </a:cubicBezTo>
                <a:cubicBezTo>
                  <a:pt x="5740" y="14749"/>
                  <a:pt x="5766" y="14776"/>
                  <a:pt x="5745" y="14822"/>
                </a:cubicBezTo>
                <a:cubicBezTo>
                  <a:pt x="5738" y="14837"/>
                  <a:pt x="5731" y="14851"/>
                  <a:pt x="5718" y="14861"/>
                </a:cubicBezTo>
                <a:cubicBezTo>
                  <a:pt x="5705" y="14871"/>
                  <a:pt x="5670" y="14872"/>
                  <a:pt x="5666" y="14876"/>
                </a:cubicBezTo>
                <a:cubicBezTo>
                  <a:pt x="5611" y="14921"/>
                  <a:pt x="5665" y="15016"/>
                  <a:pt x="5640" y="15081"/>
                </a:cubicBezTo>
                <a:cubicBezTo>
                  <a:pt x="5620" y="15131"/>
                  <a:pt x="5591" y="15184"/>
                  <a:pt x="5568" y="15231"/>
                </a:cubicBezTo>
                <a:cubicBezTo>
                  <a:pt x="5548" y="15271"/>
                  <a:pt x="5503" y="15286"/>
                  <a:pt x="5483" y="15319"/>
                </a:cubicBezTo>
                <a:cubicBezTo>
                  <a:pt x="5453" y="15369"/>
                  <a:pt x="5488" y="15354"/>
                  <a:pt x="5498" y="15399"/>
                </a:cubicBezTo>
                <a:cubicBezTo>
                  <a:pt x="5511" y="15459"/>
                  <a:pt x="5456" y="15466"/>
                  <a:pt x="5410" y="15474"/>
                </a:cubicBezTo>
                <a:cubicBezTo>
                  <a:pt x="5330" y="15491"/>
                  <a:pt x="5248" y="15498"/>
                  <a:pt x="5178" y="15541"/>
                </a:cubicBezTo>
                <a:cubicBezTo>
                  <a:pt x="5150" y="15558"/>
                  <a:pt x="5113" y="15588"/>
                  <a:pt x="5078" y="15586"/>
                </a:cubicBezTo>
                <a:cubicBezTo>
                  <a:pt x="5038" y="15584"/>
                  <a:pt x="4996" y="15544"/>
                  <a:pt x="4963" y="15536"/>
                </a:cubicBezTo>
                <a:cubicBezTo>
                  <a:pt x="4891" y="15518"/>
                  <a:pt x="4891" y="15563"/>
                  <a:pt x="4855" y="15619"/>
                </a:cubicBezTo>
                <a:cubicBezTo>
                  <a:pt x="4850" y="15616"/>
                  <a:pt x="4840" y="15616"/>
                  <a:pt x="4835" y="15614"/>
                </a:cubicBezTo>
                <a:cubicBezTo>
                  <a:pt x="4813" y="15646"/>
                  <a:pt x="4826" y="15738"/>
                  <a:pt x="4843" y="15768"/>
                </a:cubicBezTo>
                <a:cubicBezTo>
                  <a:pt x="4858" y="15796"/>
                  <a:pt x="4885" y="15799"/>
                  <a:pt x="4910" y="15809"/>
                </a:cubicBezTo>
                <a:cubicBezTo>
                  <a:pt x="4920" y="15813"/>
                  <a:pt x="4931" y="15799"/>
                  <a:pt x="4938" y="15803"/>
                </a:cubicBezTo>
                <a:cubicBezTo>
                  <a:pt x="4950" y="15806"/>
                  <a:pt x="4953" y="15821"/>
                  <a:pt x="4963" y="15824"/>
                </a:cubicBezTo>
                <a:cubicBezTo>
                  <a:pt x="5040" y="15846"/>
                  <a:pt x="5108" y="15798"/>
                  <a:pt x="5181" y="15843"/>
                </a:cubicBezTo>
                <a:cubicBezTo>
                  <a:pt x="5195" y="15959"/>
                  <a:pt x="5116" y="15921"/>
                  <a:pt x="5050" y="15971"/>
                </a:cubicBezTo>
                <a:cubicBezTo>
                  <a:pt x="5001" y="16006"/>
                  <a:pt x="4993" y="16074"/>
                  <a:pt x="4938" y="16104"/>
                </a:cubicBezTo>
                <a:cubicBezTo>
                  <a:pt x="4838" y="16158"/>
                  <a:pt x="4606" y="16028"/>
                  <a:pt x="4568" y="16163"/>
                </a:cubicBezTo>
                <a:cubicBezTo>
                  <a:pt x="4558" y="16196"/>
                  <a:pt x="4594" y="16243"/>
                  <a:pt x="4589" y="16263"/>
                </a:cubicBezTo>
                <a:cubicBezTo>
                  <a:pt x="4573" y="16323"/>
                  <a:pt x="4453" y="16304"/>
                  <a:pt x="4414" y="16338"/>
                </a:cubicBezTo>
                <a:cubicBezTo>
                  <a:pt x="4359" y="16381"/>
                  <a:pt x="4409" y="16468"/>
                  <a:pt x="4448" y="16508"/>
                </a:cubicBezTo>
                <a:cubicBezTo>
                  <a:pt x="4494" y="16554"/>
                  <a:pt x="4488" y="16628"/>
                  <a:pt x="4561" y="16651"/>
                </a:cubicBezTo>
                <a:cubicBezTo>
                  <a:pt x="4586" y="16659"/>
                  <a:pt x="4633" y="16649"/>
                  <a:pt x="4654" y="16664"/>
                </a:cubicBezTo>
                <a:cubicBezTo>
                  <a:pt x="4678" y="16679"/>
                  <a:pt x="4686" y="16728"/>
                  <a:pt x="4698" y="16751"/>
                </a:cubicBezTo>
                <a:cubicBezTo>
                  <a:pt x="4723" y="16803"/>
                  <a:pt x="4736" y="16826"/>
                  <a:pt x="4786" y="16841"/>
                </a:cubicBezTo>
                <a:cubicBezTo>
                  <a:pt x="4828" y="16854"/>
                  <a:pt x="4861" y="16856"/>
                  <a:pt x="4895" y="16891"/>
                </a:cubicBezTo>
                <a:cubicBezTo>
                  <a:pt x="4935" y="16933"/>
                  <a:pt x="4925" y="16983"/>
                  <a:pt x="4936" y="17034"/>
                </a:cubicBezTo>
                <a:cubicBezTo>
                  <a:pt x="4950" y="17088"/>
                  <a:pt x="4976" y="17089"/>
                  <a:pt x="5018" y="17124"/>
                </a:cubicBezTo>
                <a:cubicBezTo>
                  <a:pt x="5041" y="17144"/>
                  <a:pt x="5033" y="17158"/>
                  <a:pt x="5068" y="17168"/>
                </a:cubicBezTo>
                <a:cubicBezTo>
                  <a:pt x="5093" y="17176"/>
                  <a:pt x="5123" y="17166"/>
                  <a:pt x="5148" y="17169"/>
                </a:cubicBezTo>
                <a:cubicBezTo>
                  <a:pt x="5208" y="17176"/>
                  <a:pt x="5250" y="17208"/>
                  <a:pt x="5293" y="17241"/>
                </a:cubicBezTo>
                <a:cubicBezTo>
                  <a:pt x="5363" y="17296"/>
                  <a:pt x="5466" y="17383"/>
                  <a:pt x="5553" y="17405"/>
                </a:cubicBezTo>
                <a:cubicBezTo>
                  <a:pt x="5573" y="17360"/>
                  <a:pt x="5698" y="17356"/>
                  <a:pt x="5713" y="17376"/>
                </a:cubicBezTo>
              </a:path>
            </a:pathLst>
          </a:custGeom>
          <a:noFill/>
          <a:ln w="14288" cap="flat">
            <a:solidFill>
              <a:srgbClr val="004B67"/>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grpSp>
        <p:nvGrpSpPr>
          <p:cNvPr id="3" name="Group 44"/>
          <p:cNvGrpSpPr/>
          <p:nvPr/>
        </p:nvGrpSpPr>
        <p:grpSpPr>
          <a:xfrm>
            <a:off x="5295129" y="2672916"/>
            <a:ext cx="1938920" cy="3130279"/>
            <a:chOff x="5295129" y="2636912"/>
            <a:chExt cx="1938920" cy="3130279"/>
          </a:xfrm>
        </p:grpSpPr>
        <p:sp>
          <p:nvSpPr>
            <p:cNvPr id="46" name="Freeform 4395"/>
            <p:cNvSpPr/>
            <p:nvPr/>
          </p:nvSpPr>
          <p:spPr>
            <a:xfrm>
              <a:off x="7165831" y="507500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47" name="Freeform 4396"/>
            <p:cNvSpPr/>
            <p:nvPr/>
          </p:nvSpPr>
          <p:spPr>
            <a:xfrm>
              <a:off x="7165831" y="507500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48" name="Freeform 4397"/>
            <p:cNvSpPr/>
            <p:nvPr/>
          </p:nvSpPr>
          <p:spPr>
            <a:xfrm>
              <a:off x="6988671" y="4952127"/>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49" name="Freeform 4398"/>
            <p:cNvSpPr/>
            <p:nvPr/>
          </p:nvSpPr>
          <p:spPr>
            <a:xfrm>
              <a:off x="6988671" y="4952127"/>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0" name="Freeform 4399"/>
            <p:cNvSpPr/>
            <p:nvPr/>
          </p:nvSpPr>
          <p:spPr>
            <a:xfrm>
              <a:off x="7041875" y="494465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1" name="Freeform 4400"/>
            <p:cNvSpPr/>
            <p:nvPr/>
          </p:nvSpPr>
          <p:spPr>
            <a:xfrm>
              <a:off x="7041875" y="494465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2" name="Freeform 4401"/>
            <p:cNvSpPr/>
            <p:nvPr/>
          </p:nvSpPr>
          <p:spPr>
            <a:xfrm>
              <a:off x="7086010" y="4950554"/>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76"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3" name="Freeform 4402"/>
            <p:cNvSpPr/>
            <p:nvPr/>
          </p:nvSpPr>
          <p:spPr>
            <a:xfrm>
              <a:off x="7086010" y="4950554"/>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76"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4" name="Freeform 4403"/>
            <p:cNvSpPr/>
            <p:nvPr/>
          </p:nvSpPr>
          <p:spPr>
            <a:xfrm>
              <a:off x="6652751" y="4149798"/>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5" name="Freeform 4404"/>
            <p:cNvSpPr/>
            <p:nvPr/>
          </p:nvSpPr>
          <p:spPr>
            <a:xfrm>
              <a:off x="6652751" y="4149798"/>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6" name="Freeform 4405"/>
            <p:cNvSpPr/>
            <p:nvPr/>
          </p:nvSpPr>
          <p:spPr>
            <a:xfrm>
              <a:off x="6705955" y="414232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7" name="Freeform 4406"/>
            <p:cNvSpPr/>
            <p:nvPr/>
          </p:nvSpPr>
          <p:spPr>
            <a:xfrm>
              <a:off x="6705955" y="414232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8" name="Freeform 4407"/>
            <p:cNvSpPr/>
            <p:nvPr/>
          </p:nvSpPr>
          <p:spPr>
            <a:xfrm>
              <a:off x="6750089" y="4148225"/>
              <a:ext cx="74713" cy="95676"/>
            </a:xfrm>
            <a:custGeom>
              <a:avLst/>
              <a:gdLst/>
              <a:ahLst/>
              <a:cxnLst/>
              <a:rect l="0" t="0" r="0" b="0"/>
              <a:pathLst>
                <a:path w="159066" h="203695">
                  <a:moveTo>
                    <a:pt x="14833" y="44069"/>
                  </a:moveTo>
                  <a:cubicBezTo>
                    <a:pt x="5385" y="59054"/>
                    <a:pt x="5689" y="71399"/>
                    <a:pt x="4267" y="92417"/>
                  </a:cubicBezTo>
                  <a:lnTo>
                    <a:pt x="0" y="203695"/>
                  </a:lnTo>
                  <a:lnTo>
                    <a:pt x="98589" y="151930"/>
                  </a:lnTo>
                  <a:cubicBezTo>
                    <a:pt x="116966" y="141604"/>
                    <a:pt x="128218" y="136550"/>
                    <a:pt x="137667" y="121577"/>
                  </a:cubicBezTo>
                  <a:cubicBezTo>
                    <a:pt x="159066" y="87655"/>
                    <a:pt x="148932" y="42812"/>
                    <a:pt x="115010" y="21413"/>
                  </a:cubicBezTo>
                  <a:cubicBezTo>
                    <a:pt x="81088" y="0"/>
                    <a:pt x="36232" y="10160"/>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59" name="Freeform 4408"/>
            <p:cNvSpPr/>
            <p:nvPr/>
          </p:nvSpPr>
          <p:spPr>
            <a:xfrm>
              <a:off x="6750089" y="4148225"/>
              <a:ext cx="74713" cy="95676"/>
            </a:xfrm>
            <a:custGeom>
              <a:avLst/>
              <a:gdLst/>
              <a:ahLst/>
              <a:cxnLst/>
              <a:rect l="0" t="0" r="0" b="0"/>
              <a:pathLst>
                <a:path w="159066" h="203695">
                  <a:moveTo>
                    <a:pt x="14833" y="44069"/>
                  </a:moveTo>
                  <a:cubicBezTo>
                    <a:pt x="5385" y="59054"/>
                    <a:pt x="5689" y="71399"/>
                    <a:pt x="4267" y="92417"/>
                  </a:cubicBezTo>
                  <a:lnTo>
                    <a:pt x="0" y="203695"/>
                  </a:lnTo>
                  <a:lnTo>
                    <a:pt x="98589" y="151930"/>
                  </a:lnTo>
                  <a:cubicBezTo>
                    <a:pt x="116966" y="141604"/>
                    <a:pt x="128218" y="136550"/>
                    <a:pt x="137667" y="121577"/>
                  </a:cubicBezTo>
                  <a:cubicBezTo>
                    <a:pt x="159066" y="87655"/>
                    <a:pt x="148932" y="42812"/>
                    <a:pt x="115010" y="21413"/>
                  </a:cubicBezTo>
                  <a:cubicBezTo>
                    <a:pt x="81088" y="0"/>
                    <a:pt x="36232" y="10160"/>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0" name="Freeform 4409"/>
            <p:cNvSpPr/>
            <p:nvPr/>
          </p:nvSpPr>
          <p:spPr>
            <a:xfrm>
              <a:off x="6529984" y="4218042"/>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1" name="Freeform 4410"/>
            <p:cNvSpPr/>
            <p:nvPr/>
          </p:nvSpPr>
          <p:spPr>
            <a:xfrm>
              <a:off x="6529984" y="4218042"/>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2" name="Freeform 4411"/>
            <p:cNvSpPr/>
            <p:nvPr/>
          </p:nvSpPr>
          <p:spPr>
            <a:xfrm>
              <a:off x="6583187" y="4210571"/>
              <a:ext cx="68218" cy="101235"/>
            </a:xfrm>
            <a:custGeom>
              <a:avLst/>
              <a:gdLst/>
              <a:ahLst/>
              <a:cxnLst/>
              <a:rect l="0" t="0" r="0" b="0"/>
              <a:pathLst>
                <a:path w="145237" h="215531">
                  <a:moveTo>
                    <a:pt x="0" y="72618"/>
                  </a:moveTo>
                  <a:cubicBezTo>
                    <a:pt x="0" y="90321"/>
                    <a:pt x="6845" y="100621"/>
                    <a:pt x="16865" y="119150"/>
                  </a:cubicBezTo>
                  <a:lnTo>
                    <a:pt x="72631" y="215531"/>
                  </a:lnTo>
                  <a:lnTo>
                    <a:pt x="128396" y="119150"/>
                  </a:lnTo>
                  <a:cubicBezTo>
                    <a:pt x="138417" y="100621"/>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3" name="Freeform 4412"/>
            <p:cNvSpPr/>
            <p:nvPr/>
          </p:nvSpPr>
          <p:spPr>
            <a:xfrm>
              <a:off x="6583187" y="4210571"/>
              <a:ext cx="68218" cy="101235"/>
            </a:xfrm>
            <a:custGeom>
              <a:avLst/>
              <a:gdLst/>
              <a:ahLst/>
              <a:cxnLst/>
              <a:rect l="0" t="0" r="0" b="0"/>
              <a:pathLst>
                <a:path w="145237" h="215531">
                  <a:moveTo>
                    <a:pt x="0" y="72618"/>
                  </a:moveTo>
                  <a:cubicBezTo>
                    <a:pt x="0" y="90321"/>
                    <a:pt x="6845" y="100621"/>
                    <a:pt x="16865" y="119150"/>
                  </a:cubicBezTo>
                  <a:lnTo>
                    <a:pt x="72631" y="215531"/>
                  </a:lnTo>
                  <a:lnTo>
                    <a:pt x="128396" y="119150"/>
                  </a:lnTo>
                  <a:cubicBezTo>
                    <a:pt x="138417" y="100621"/>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4" name="Freeform 4413"/>
            <p:cNvSpPr/>
            <p:nvPr/>
          </p:nvSpPr>
          <p:spPr>
            <a:xfrm>
              <a:off x="6627322" y="4216470"/>
              <a:ext cx="74713" cy="95676"/>
            </a:xfrm>
            <a:custGeom>
              <a:avLst/>
              <a:gdLst/>
              <a:ahLst/>
              <a:cxnLst/>
              <a:rect l="0" t="0" r="0" b="0"/>
              <a:pathLst>
                <a:path w="159066" h="203695">
                  <a:moveTo>
                    <a:pt x="14833" y="44069"/>
                  </a:moveTo>
                  <a:cubicBezTo>
                    <a:pt x="5385" y="59054"/>
                    <a:pt x="5689" y="71399"/>
                    <a:pt x="4267" y="92417"/>
                  </a:cubicBezTo>
                  <a:lnTo>
                    <a:pt x="0" y="203695"/>
                  </a:lnTo>
                  <a:lnTo>
                    <a:pt x="98589" y="151930"/>
                  </a:lnTo>
                  <a:cubicBezTo>
                    <a:pt x="116966" y="141604"/>
                    <a:pt x="128218" y="136550"/>
                    <a:pt x="137667" y="121577"/>
                  </a:cubicBezTo>
                  <a:cubicBezTo>
                    <a:pt x="159066" y="87655"/>
                    <a:pt x="148932" y="42812"/>
                    <a:pt x="115010" y="21413"/>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5" name="Freeform 4414"/>
            <p:cNvSpPr/>
            <p:nvPr/>
          </p:nvSpPr>
          <p:spPr>
            <a:xfrm>
              <a:off x="6627322" y="4216470"/>
              <a:ext cx="74713" cy="95676"/>
            </a:xfrm>
            <a:custGeom>
              <a:avLst/>
              <a:gdLst/>
              <a:ahLst/>
              <a:cxnLst/>
              <a:rect l="0" t="0" r="0" b="0"/>
              <a:pathLst>
                <a:path w="159066" h="203695">
                  <a:moveTo>
                    <a:pt x="14833" y="44069"/>
                  </a:moveTo>
                  <a:cubicBezTo>
                    <a:pt x="5385" y="59054"/>
                    <a:pt x="5689" y="71399"/>
                    <a:pt x="4267" y="92417"/>
                  </a:cubicBezTo>
                  <a:lnTo>
                    <a:pt x="0" y="203695"/>
                  </a:lnTo>
                  <a:lnTo>
                    <a:pt x="98589" y="151930"/>
                  </a:lnTo>
                  <a:cubicBezTo>
                    <a:pt x="116966" y="141604"/>
                    <a:pt x="128218" y="136550"/>
                    <a:pt x="137667" y="121577"/>
                  </a:cubicBezTo>
                  <a:cubicBezTo>
                    <a:pt x="159066" y="87655"/>
                    <a:pt x="148932" y="42812"/>
                    <a:pt x="115010" y="21413"/>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6" name="Freeform 4415"/>
            <p:cNvSpPr/>
            <p:nvPr/>
          </p:nvSpPr>
          <p:spPr>
            <a:xfrm>
              <a:off x="6393557" y="2636912"/>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7" name="Freeform 4416"/>
            <p:cNvSpPr/>
            <p:nvPr/>
          </p:nvSpPr>
          <p:spPr>
            <a:xfrm>
              <a:off x="6393557" y="2636912"/>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8" name="Freeform 4417"/>
            <p:cNvSpPr/>
            <p:nvPr/>
          </p:nvSpPr>
          <p:spPr>
            <a:xfrm>
              <a:off x="5295129" y="383578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69" name="Freeform 4418"/>
            <p:cNvSpPr/>
            <p:nvPr/>
          </p:nvSpPr>
          <p:spPr>
            <a:xfrm>
              <a:off x="5295129" y="383578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0" name="Freeform 4419"/>
            <p:cNvSpPr/>
            <p:nvPr/>
          </p:nvSpPr>
          <p:spPr>
            <a:xfrm>
              <a:off x="6610230" y="436511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1" name="Freeform 4420"/>
            <p:cNvSpPr/>
            <p:nvPr/>
          </p:nvSpPr>
          <p:spPr>
            <a:xfrm>
              <a:off x="6610230" y="436511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2" name="Freeform 4421"/>
            <p:cNvSpPr/>
            <p:nvPr/>
          </p:nvSpPr>
          <p:spPr>
            <a:xfrm>
              <a:off x="6177533" y="4035145"/>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3" name="Freeform 4422"/>
            <p:cNvSpPr/>
            <p:nvPr/>
          </p:nvSpPr>
          <p:spPr>
            <a:xfrm>
              <a:off x="6177533" y="4035145"/>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4" name="Freeform 4425"/>
            <p:cNvSpPr/>
            <p:nvPr/>
          </p:nvSpPr>
          <p:spPr>
            <a:xfrm>
              <a:off x="6858947" y="4535641"/>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5" name="Freeform 4426"/>
            <p:cNvSpPr/>
            <p:nvPr/>
          </p:nvSpPr>
          <p:spPr>
            <a:xfrm>
              <a:off x="6858947" y="4535641"/>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6" name="Freeform 4427"/>
            <p:cNvSpPr/>
            <p:nvPr/>
          </p:nvSpPr>
          <p:spPr>
            <a:xfrm>
              <a:off x="6912151" y="4528170"/>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7" name="Freeform 4428"/>
            <p:cNvSpPr/>
            <p:nvPr/>
          </p:nvSpPr>
          <p:spPr>
            <a:xfrm>
              <a:off x="6912151" y="4528170"/>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8" name="Freeform 4429"/>
            <p:cNvSpPr/>
            <p:nvPr/>
          </p:nvSpPr>
          <p:spPr>
            <a:xfrm>
              <a:off x="6956286" y="4534069"/>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79" name="Freeform 4430"/>
            <p:cNvSpPr/>
            <p:nvPr/>
          </p:nvSpPr>
          <p:spPr>
            <a:xfrm>
              <a:off x="6956286" y="4534069"/>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0" name="Freeform 4433"/>
            <p:cNvSpPr/>
            <p:nvPr/>
          </p:nvSpPr>
          <p:spPr>
            <a:xfrm>
              <a:off x="6805076" y="433587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1" name="Freeform 4434"/>
            <p:cNvSpPr/>
            <p:nvPr/>
          </p:nvSpPr>
          <p:spPr>
            <a:xfrm>
              <a:off x="6805076" y="433587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2" name="Freeform 4435"/>
            <p:cNvSpPr/>
            <p:nvPr/>
          </p:nvSpPr>
          <p:spPr>
            <a:xfrm>
              <a:off x="6895053" y="4262541"/>
              <a:ext cx="68218" cy="101235"/>
            </a:xfrm>
            <a:custGeom>
              <a:avLst/>
              <a:gdLst/>
              <a:ahLst/>
              <a:cxnLst/>
              <a:rect l="0" t="0" r="0" b="0"/>
              <a:pathLst>
                <a:path w="145237" h="215531">
                  <a:moveTo>
                    <a:pt x="0" y="72618"/>
                  </a:moveTo>
                  <a:cubicBezTo>
                    <a:pt x="0" y="90321"/>
                    <a:pt x="6845" y="100621"/>
                    <a:pt x="16865" y="119150"/>
                  </a:cubicBezTo>
                  <a:lnTo>
                    <a:pt x="72631" y="215531"/>
                  </a:lnTo>
                  <a:lnTo>
                    <a:pt x="128384" y="119150"/>
                  </a:lnTo>
                  <a:cubicBezTo>
                    <a:pt x="138417" y="100621"/>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3" name="Freeform 4436"/>
            <p:cNvSpPr/>
            <p:nvPr/>
          </p:nvSpPr>
          <p:spPr>
            <a:xfrm>
              <a:off x="6895053" y="4262541"/>
              <a:ext cx="68218" cy="101235"/>
            </a:xfrm>
            <a:custGeom>
              <a:avLst/>
              <a:gdLst/>
              <a:ahLst/>
              <a:cxnLst/>
              <a:rect l="0" t="0" r="0" b="0"/>
              <a:pathLst>
                <a:path w="145237" h="215531">
                  <a:moveTo>
                    <a:pt x="0" y="72618"/>
                  </a:moveTo>
                  <a:cubicBezTo>
                    <a:pt x="0" y="90321"/>
                    <a:pt x="6845" y="100621"/>
                    <a:pt x="16865" y="119150"/>
                  </a:cubicBezTo>
                  <a:lnTo>
                    <a:pt x="72631" y="215531"/>
                  </a:lnTo>
                  <a:lnTo>
                    <a:pt x="128384" y="119150"/>
                  </a:lnTo>
                  <a:cubicBezTo>
                    <a:pt x="138417" y="100621"/>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4" name="Freeform 4439"/>
            <p:cNvSpPr/>
            <p:nvPr/>
          </p:nvSpPr>
          <p:spPr>
            <a:xfrm>
              <a:off x="6406978" y="4715339"/>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F6861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5" name="Freeform 4440"/>
            <p:cNvSpPr/>
            <p:nvPr/>
          </p:nvSpPr>
          <p:spPr>
            <a:xfrm>
              <a:off x="6406978" y="4715339"/>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6" name="Freeform 4441"/>
            <p:cNvSpPr/>
            <p:nvPr/>
          </p:nvSpPr>
          <p:spPr>
            <a:xfrm>
              <a:off x="6460183" y="470786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7" name="Freeform 4442"/>
            <p:cNvSpPr/>
            <p:nvPr/>
          </p:nvSpPr>
          <p:spPr>
            <a:xfrm>
              <a:off x="6460183" y="470786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8" name="Freeform 4443"/>
            <p:cNvSpPr/>
            <p:nvPr/>
          </p:nvSpPr>
          <p:spPr>
            <a:xfrm>
              <a:off x="6504317" y="4713766"/>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89" name="Freeform 4444"/>
            <p:cNvSpPr/>
            <p:nvPr/>
          </p:nvSpPr>
          <p:spPr>
            <a:xfrm>
              <a:off x="6504317" y="4713766"/>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0" name="Freeform 4445"/>
            <p:cNvSpPr/>
            <p:nvPr/>
          </p:nvSpPr>
          <p:spPr>
            <a:xfrm>
              <a:off x="6349446" y="4818996"/>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1" name="Freeform 4446"/>
            <p:cNvSpPr/>
            <p:nvPr/>
          </p:nvSpPr>
          <p:spPr>
            <a:xfrm>
              <a:off x="6349446" y="4818996"/>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2" name="Freeform 4447"/>
            <p:cNvSpPr/>
            <p:nvPr/>
          </p:nvSpPr>
          <p:spPr>
            <a:xfrm>
              <a:off x="6718995" y="48393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3" name="Freeform 4448"/>
            <p:cNvSpPr/>
            <p:nvPr/>
          </p:nvSpPr>
          <p:spPr>
            <a:xfrm>
              <a:off x="6718995" y="48393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4" name="Freeform 4449"/>
            <p:cNvSpPr/>
            <p:nvPr/>
          </p:nvSpPr>
          <p:spPr>
            <a:xfrm>
              <a:off x="6613265" y="4789910"/>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5" name="Freeform 4450"/>
            <p:cNvSpPr/>
            <p:nvPr/>
          </p:nvSpPr>
          <p:spPr>
            <a:xfrm>
              <a:off x="6613265" y="4789910"/>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6" name="Freeform 4451"/>
            <p:cNvSpPr/>
            <p:nvPr/>
          </p:nvSpPr>
          <p:spPr>
            <a:xfrm>
              <a:off x="6433300" y="460628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7" name="Freeform 4452"/>
            <p:cNvSpPr/>
            <p:nvPr/>
          </p:nvSpPr>
          <p:spPr>
            <a:xfrm>
              <a:off x="6433300" y="460628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8" name="Freeform 4453"/>
            <p:cNvSpPr/>
            <p:nvPr/>
          </p:nvSpPr>
          <p:spPr>
            <a:xfrm>
              <a:off x="6606488" y="45064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99" name="Freeform 4454"/>
            <p:cNvSpPr/>
            <p:nvPr/>
          </p:nvSpPr>
          <p:spPr>
            <a:xfrm>
              <a:off x="6606488" y="45064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0" name="Freeform 4455"/>
            <p:cNvSpPr/>
            <p:nvPr/>
          </p:nvSpPr>
          <p:spPr>
            <a:xfrm>
              <a:off x="6659763" y="45064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1" name="Freeform 4456"/>
            <p:cNvSpPr/>
            <p:nvPr/>
          </p:nvSpPr>
          <p:spPr>
            <a:xfrm>
              <a:off x="6659763" y="4506419"/>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2" name="Freeform 4457"/>
            <p:cNvSpPr/>
            <p:nvPr/>
          </p:nvSpPr>
          <p:spPr>
            <a:xfrm>
              <a:off x="6597631" y="4603353"/>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3" name="Freeform 4458"/>
            <p:cNvSpPr/>
            <p:nvPr/>
          </p:nvSpPr>
          <p:spPr>
            <a:xfrm>
              <a:off x="6597631" y="4603353"/>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4" name="Freeform 4463"/>
            <p:cNvSpPr/>
            <p:nvPr/>
          </p:nvSpPr>
          <p:spPr>
            <a:xfrm>
              <a:off x="6338575" y="4472097"/>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5" name="Freeform 4464"/>
            <p:cNvSpPr/>
            <p:nvPr/>
          </p:nvSpPr>
          <p:spPr>
            <a:xfrm>
              <a:off x="6338575" y="4472097"/>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6" name="Freeform 4465"/>
            <p:cNvSpPr/>
            <p:nvPr/>
          </p:nvSpPr>
          <p:spPr>
            <a:xfrm>
              <a:off x="6303789" y="452435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7" name="Freeform 4466"/>
            <p:cNvSpPr/>
            <p:nvPr/>
          </p:nvSpPr>
          <p:spPr>
            <a:xfrm>
              <a:off x="6303789" y="452435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8" name="Freeform 4467"/>
            <p:cNvSpPr/>
            <p:nvPr/>
          </p:nvSpPr>
          <p:spPr>
            <a:xfrm>
              <a:off x="6281068" y="4289661"/>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09" name="Freeform 4468"/>
            <p:cNvSpPr/>
            <p:nvPr/>
          </p:nvSpPr>
          <p:spPr>
            <a:xfrm>
              <a:off x="6281068" y="4289661"/>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0" name="Freeform 4469"/>
            <p:cNvSpPr/>
            <p:nvPr/>
          </p:nvSpPr>
          <p:spPr>
            <a:xfrm>
              <a:off x="6307556" y="4359551"/>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1" name="Freeform 4470"/>
            <p:cNvSpPr/>
            <p:nvPr/>
          </p:nvSpPr>
          <p:spPr>
            <a:xfrm>
              <a:off x="6307556" y="4359551"/>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2" name="Freeform 4471"/>
            <p:cNvSpPr/>
            <p:nvPr/>
          </p:nvSpPr>
          <p:spPr>
            <a:xfrm>
              <a:off x="6360760" y="4352079"/>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3" name="Freeform 4472"/>
            <p:cNvSpPr/>
            <p:nvPr/>
          </p:nvSpPr>
          <p:spPr>
            <a:xfrm>
              <a:off x="6360760" y="4352079"/>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4" name="Freeform 4473"/>
            <p:cNvSpPr/>
            <p:nvPr/>
          </p:nvSpPr>
          <p:spPr>
            <a:xfrm>
              <a:off x="6404895" y="4357978"/>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5" name="Freeform 4474"/>
            <p:cNvSpPr/>
            <p:nvPr/>
          </p:nvSpPr>
          <p:spPr>
            <a:xfrm>
              <a:off x="6404895" y="4357978"/>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6" name="Freeform 4475"/>
            <p:cNvSpPr/>
            <p:nvPr/>
          </p:nvSpPr>
          <p:spPr>
            <a:xfrm>
              <a:off x="6230664" y="4289661"/>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7" name="Freeform 4476"/>
            <p:cNvSpPr/>
            <p:nvPr/>
          </p:nvSpPr>
          <p:spPr>
            <a:xfrm>
              <a:off x="6230664" y="4289661"/>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8" name="Freeform 4481"/>
            <p:cNvSpPr/>
            <p:nvPr/>
          </p:nvSpPr>
          <p:spPr>
            <a:xfrm>
              <a:off x="5852959" y="4554250"/>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19" name="Freeform 4482"/>
            <p:cNvSpPr/>
            <p:nvPr/>
          </p:nvSpPr>
          <p:spPr>
            <a:xfrm>
              <a:off x="5852959" y="4554250"/>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0" name="Freeform 4485"/>
            <p:cNvSpPr/>
            <p:nvPr/>
          </p:nvSpPr>
          <p:spPr>
            <a:xfrm>
              <a:off x="6660541" y="560159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1" name="Freeform 4486"/>
            <p:cNvSpPr/>
            <p:nvPr/>
          </p:nvSpPr>
          <p:spPr>
            <a:xfrm>
              <a:off x="6660541" y="560159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2" name="Freeform 4487"/>
            <p:cNvSpPr/>
            <p:nvPr/>
          </p:nvSpPr>
          <p:spPr>
            <a:xfrm>
              <a:off x="6548938" y="565385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3" name="Freeform 4488"/>
            <p:cNvSpPr/>
            <p:nvPr/>
          </p:nvSpPr>
          <p:spPr>
            <a:xfrm>
              <a:off x="6548938" y="565385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4" name="Freeform 4489"/>
            <p:cNvSpPr/>
            <p:nvPr/>
          </p:nvSpPr>
          <p:spPr>
            <a:xfrm>
              <a:off x="6482689" y="5665956"/>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5" name="Freeform 4490"/>
            <p:cNvSpPr/>
            <p:nvPr/>
          </p:nvSpPr>
          <p:spPr>
            <a:xfrm>
              <a:off x="6482689" y="5665956"/>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6" name="Freeform 4493"/>
            <p:cNvSpPr/>
            <p:nvPr/>
          </p:nvSpPr>
          <p:spPr>
            <a:xfrm>
              <a:off x="6605156" y="5199167"/>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7" name="Freeform 4494"/>
            <p:cNvSpPr/>
            <p:nvPr/>
          </p:nvSpPr>
          <p:spPr>
            <a:xfrm>
              <a:off x="6605156" y="5199167"/>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8" name="Freeform 4495"/>
            <p:cNvSpPr/>
            <p:nvPr/>
          </p:nvSpPr>
          <p:spPr>
            <a:xfrm>
              <a:off x="6681277" y="5197924"/>
              <a:ext cx="72661" cy="97095"/>
            </a:xfrm>
            <a:custGeom>
              <a:avLst/>
              <a:gdLst/>
              <a:ahLst/>
              <a:cxnLst/>
              <a:rect l="0" t="0" r="0" b="0"/>
              <a:pathLst>
                <a:path w="154697" h="206717">
                  <a:moveTo>
                    <a:pt x="8851" y="46634"/>
                  </a:moveTo>
                  <a:cubicBezTo>
                    <a:pt x="0" y="61975"/>
                    <a:pt x="787" y="74307"/>
                    <a:pt x="190" y="95363"/>
                  </a:cubicBezTo>
                  <a:lnTo>
                    <a:pt x="292" y="206717"/>
                  </a:lnTo>
                  <a:lnTo>
                    <a:pt x="96773" y="151129"/>
                  </a:lnTo>
                  <a:cubicBezTo>
                    <a:pt x="114730" y="140093"/>
                    <a:pt x="125779" y="134594"/>
                    <a:pt x="134631" y="119252"/>
                  </a:cubicBezTo>
                  <a:cubicBezTo>
                    <a:pt x="154697" y="84518"/>
                    <a:pt x="142785" y="40107"/>
                    <a:pt x="108063" y="20053"/>
                  </a:cubicBezTo>
                  <a:cubicBezTo>
                    <a:pt x="73316" y="0"/>
                    <a:pt x="28904" y="11900"/>
                    <a:pt x="8851" y="46634"/>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29" name="Freeform 4496"/>
            <p:cNvSpPr/>
            <p:nvPr/>
          </p:nvSpPr>
          <p:spPr>
            <a:xfrm>
              <a:off x="6681277" y="5197924"/>
              <a:ext cx="72661" cy="97095"/>
            </a:xfrm>
            <a:custGeom>
              <a:avLst/>
              <a:gdLst/>
              <a:ahLst/>
              <a:cxnLst/>
              <a:rect l="0" t="0" r="0" b="0"/>
              <a:pathLst>
                <a:path w="154697" h="206717">
                  <a:moveTo>
                    <a:pt x="8851" y="46634"/>
                  </a:moveTo>
                  <a:cubicBezTo>
                    <a:pt x="0" y="61975"/>
                    <a:pt x="787" y="74307"/>
                    <a:pt x="190" y="95363"/>
                  </a:cubicBezTo>
                  <a:lnTo>
                    <a:pt x="292" y="206717"/>
                  </a:lnTo>
                  <a:lnTo>
                    <a:pt x="96773" y="151129"/>
                  </a:lnTo>
                  <a:cubicBezTo>
                    <a:pt x="114730" y="140093"/>
                    <a:pt x="125779" y="134594"/>
                    <a:pt x="134631" y="119252"/>
                  </a:cubicBezTo>
                  <a:cubicBezTo>
                    <a:pt x="154697" y="84518"/>
                    <a:pt x="142785" y="40107"/>
                    <a:pt x="108063" y="20053"/>
                  </a:cubicBezTo>
                  <a:cubicBezTo>
                    <a:pt x="73316" y="0"/>
                    <a:pt x="28904" y="11900"/>
                    <a:pt x="8851" y="46634"/>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0" name="Freeform 4499"/>
            <p:cNvSpPr/>
            <p:nvPr/>
          </p:nvSpPr>
          <p:spPr>
            <a:xfrm>
              <a:off x="6275756" y="5369495"/>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path>
              </a:pathLst>
            </a:custGeom>
            <a:solidFill>
              <a:srgbClr val="60073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1" name="Freeform 4500"/>
            <p:cNvSpPr/>
            <p:nvPr/>
          </p:nvSpPr>
          <p:spPr>
            <a:xfrm>
              <a:off x="6275756" y="5369495"/>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2" name="Freeform 4501"/>
            <p:cNvSpPr/>
            <p:nvPr/>
          </p:nvSpPr>
          <p:spPr>
            <a:xfrm>
              <a:off x="6351877" y="5368251"/>
              <a:ext cx="72661" cy="97095"/>
            </a:xfrm>
            <a:custGeom>
              <a:avLst/>
              <a:gdLst/>
              <a:ahLst/>
              <a:cxnLst/>
              <a:rect l="0" t="0" r="0" b="0"/>
              <a:pathLst>
                <a:path w="154697" h="206717">
                  <a:moveTo>
                    <a:pt x="8851" y="46634"/>
                  </a:moveTo>
                  <a:cubicBezTo>
                    <a:pt x="0" y="61975"/>
                    <a:pt x="787" y="74307"/>
                    <a:pt x="190" y="95363"/>
                  </a:cubicBezTo>
                  <a:lnTo>
                    <a:pt x="292" y="206717"/>
                  </a:lnTo>
                  <a:lnTo>
                    <a:pt x="96773" y="151129"/>
                  </a:lnTo>
                  <a:cubicBezTo>
                    <a:pt x="114730" y="140093"/>
                    <a:pt x="125779" y="134594"/>
                    <a:pt x="134644" y="119252"/>
                  </a:cubicBezTo>
                  <a:cubicBezTo>
                    <a:pt x="154697" y="84518"/>
                    <a:pt x="142785" y="40107"/>
                    <a:pt x="108063" y="20053"/>
                  </a:cubicBezTo>
                  <a:cubicBezTo>
                    <a:pt x="73316" y="0"/>
                    <a:pt x="28904" y="11900"/>
                    <a:pt x="8851" y="46634"/>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3" name="Freeform 4502"/>
            <p:cNvSpPr/>
            <p:nvPr/>
          </p:nvSpPr>
          <p:spPr>
            <a:xfrm>
              <a:off x="6351877" y="5368251"/>
              <a:ext cx="72661" cy="97095"/>
            </a:xfrm>
            <a:custGeom>
              <a:avLst/>
              <a:gdLst/>
              <a:ahLst/>
              <a:cxnLst/>
              <a:rect l="0" t="0" r="0" b="0"/>
              <a:pathLst>
                <a:path w="154697" h="206717">
                  <a:moveTo>
                    <a:pt x="8851" y="46634"/>
                  </a:moveTo>
                  <a:cubicBezTo>
                    <a:pt x="0" y="61975"/>
                    <a:pt x="787" y="74307"/>
                    <a:pt x="190" y="95363"/>
                  </a:cubicBezTo>
                  <a:lnTo>
                    <a:pt x="292" y="206717"/>
                  </a:lnTo>
                  <a:lnTo>
                    <a:pt x="96773" y="151129"/>
                  </a:lnTo>
                  <a:cubicBezTo>
                    <a:pt x="114730" y="140093"/>
                    <a:pt x="125779" y="134594"/>
                    <a:pt x="134644" y="119252"/>
                  </a:cubicBezTo>
                  <a:cubicBezTo>
                    <a:pt x="154697" y="84518"/>
                    <a:pt x="142785" y="40107"/>
                    <a:pt x="108063" y="20053"/>
                  </a:cubicBezTo>
                  <a:cubicBezTo>
                    <a:pt x="73316" y="0"/>
                    <a:pt x="28904" y="11900"/>
                    <a:pt x="8851" y="46634"/>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4" name="Freeform 4503"/>
            <p:cNvSpPr/>
            <p:nvPr/>
          </p:nvSpPr>
          <p:spPr>
            <a:xfrm>
              <a:off x="6430203" y="5360894"/>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5" name="Freeform 4504"/>
            <p:cNvSpPr/>
            <p:nvPr/>
          </p:nvSpPr>
          <p:spPr>
            <a:xfrm>
              <a:off x="6430203" y="5360894"/>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6" name="Freeform 4507"/>
            <p:cNvSpPr/>
            <p:nvPr/>
          </p:nvSpPr>
          <p:spPr>
            <a:xfrm>
              <a:off x="6945098" y="5328893"/>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path>
              </a:pathLst>
            </a:custGeom>
            <a:solidFill>
              <a:srgbClr val="F6861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7" name="Freeform 4508"/>
            <p:cNvSpPr/>
            <p:nvPr/>
          </p:nvSpPr>
          <p:spPr>
            <a:xfrm>
              <a:off x="6945098" y="5328893"/>
              <a:ext cx="72656" cy="97089"/>
            </a:xfrm>
            <a:custGeom>
              <a:avLst/>
              <a:gdLst/>
              <a:ahLst/>
              <a:cxnLst/>
              <a:rect l="0" t="0" r="0" b="0"/>
              <a:pathLst>
                <a:path w="154685" h="206705">
                  <a:moveTo>
                    <a:pt x="20053" y="119253"/>
                  </a:moveTo>
                  <a:cubicBezTo>
                    <a:pt x="28904" y="134594"/>
                    <a:pt x="39979" y="140080"/>
                    <a:pt x="57924" y="151117"/>
                  </a:cubicBezTo>
                  <a:lnTo>
                    <a:pt x="154406" y="206705"/>
                  </a:lnTo>
                  <a:lnTo>
                    <a:pt x="154507" y="95352"/>
                  </a:lnTo>
                  <a:cubicBezTo>
                    <a:pt x="153923" y="74283"/>
                    <a:pt x="154685" y="61964"/>
                    <a:pt x="145833" y="46635"/>
                  </a:cubicBezTo>
                  <a:cubicBezTo>
                    <a:pt x="125780" y="11900"/>
                    <a:pt x="81368" y="0"/>
                    <a:pt x="46634" y="20041"/>
                  </a:cubicBezTo>
                  <a:cubicBezTo>
                    <a:pt x="11900" y="40107"/>
                    <a:pt x="0" y="84519"/>
                    <a:pt x="20053" y="119253"/>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8" name="Freeform 4509"/>
            <p:cNvSpPr/>
            <p:nvPr/>
          </p:nvSpPr>
          <p:spPr>
            <a:xfrm>
              <a:off x="7021220" y="5327649"/>
              <a:ext cx="72656" cy="97095"/>
            </a:xfrm>
            <a:custGeom>
              <a:avLst/>
              <a:gdLst/>
              <a:ahLst/>
              <a:cxnLst/>
              <a:rect l="0" t="0" r="0" b="0"/>
              <a:pathLst>
                <a:path w="154685" h="206717">
                  <a:moveTo>
                    <a:pt x="8851" y="46634"/>
                  </a:moveTo>
                  <a:cubicBezTo>
                    <a:pt x="0" y="61975"/>
                    <a:pt x="787" y="74307"/>
                    <a:pt x="190" y="95363"/>
                  </a:cubicBezTo>
                  <a:lnTo>
                    <a:pt x="292" y="206717"/>
                  </a:lnTo>
                  <a:lnTo>
                    <a:pt x="96773" y="151129"/>
                  </a:lnTo>
                  <a:cubicBezTo>
                    <a:pt x="114730" y="140093"/>
                    <a:pt x="125779" y="134594"/>
                    <a:pt x="134631" y="119252"/>
                  </a:cubicBezTo>
                  <a:cubicBezTo>
                    <a:pt x="154685" y="84518"/>
                    <a:pt x="142785" y="40107"/>
                    <a:pt x="108063" y="20053"/>
                  </a:cubicBezTo>
                  <a:cubicBezTo>
                    <a:pt x="73316" y="0"/>
                    <a:pt x="28904" y="11900"/>
                    <a:pt x="8851" y="46634"/>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39" name="Freeform 4510"/>
            <p:cNvSpPr/>
            <p:nvPr/>
          </p:nvSpPr>
          <p:spPr>
            <a:xfrm>
              <a:off x="7021220" y="5327649"/>
              <a:ext cx="72656" cy="97095"/>
            </a:xfrm>
            <a:custGeom>
              <a:avLst/>
              <a:gdLst/>
              <a:ahLst/>
              <a:cxnLst/>
              <a:rect l="0" t="0" r="0" b="0"/>
              <a:pathLst>
                <a:path w="154685" h="206717">
                  <a:moveTo>
                    <a:pt x="8851" y="46634"/>
                  </a:moveTo>
                  <a:cubicBezTo>
                    <a:pt x="0" y="61975"/>
                    <a:pt x="787" y="74307"/>
                    <a:pt x="190" y="95363"/>
                  </a:cubicBezTo>
                  <a:lnTo>
                    <a:pt x="292" y="206717"/>
                  </a:lnTo>
                  <a:lnTo>
                    <a:pt x="96773" y="151129"/>
                  </a:lnTo>
                  <a:cubicBezTo>
                    <a:pt x="114730" y="140093"/>
                    <a:pt x="125779" y="134594"/>
                    <a:pt x="134631" y="119252"/>
                  </a:cubicBezTo>
                  <a:cubicBezTo>
                    <a:pt x="154685" y="84518"/>
                    <a:pt x="142785" y="40107"/>
                    <a:pt x="108063" y="20053"/>
                  </a:cubicBezTo>
                  <a:cubicBezTo>
                    <a:pt x="73316" y="0"/>
                    <a:pt x="28904" y="11900"/>
                    <a:pt x="8851" y="46634"/>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0" name="Freeform 4511"/>
            <p:cNvSpPr/>
            <p:nvPr/>
          </p:nvSpPr>
          <p:spPr>
            <a:xfrm>
              <a:off x="6932172" y="5376172"/>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1" name="Freeform 4512"/>
            <p:cNvSpPr/>
            <p:nvPr/>
          </p:nvSpPr>
          <p:spPr>
            <a:xfrm>
              <a:off x="6932172" y="5376172"/>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2" name="Freeform 4513"/>
            <p:cNvSpPr/>
            <p:nvPr/>
          </p:nvSpPr>
          <p:spPr>
            <a:xfrm>
              <a:off x="6834597" y="530385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3" name="Freeform 4514"/>
            <p:cNvSpPr/>
            <p:nvPr/>
          </p:nvSpPr>
          <p:spPr>
            <a:xfrm>
              <a:off x="6834597" y="530385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4" name="Freeform 4515"/>
            <p:cNvSpPr/>
            <p:nvPr/>
          </p:nvSpPr>
          <p:spPr>
            <a:xfrm>
              <a:off x="6865641" y="532713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5" name="Freeform 4516"/>
            <p:cNvSpPr/>
            <p:nvPr/>
          </p:nvSpPr>
          <p:spPr>
            <a:xfrm>
              <a:off x="6865641" y="532713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6" name="Freeform 4517"/>
            <p:cNvSpPr/>
            <p:nvPr/>
          </p:nvSpPr>
          <p:spPr>
            <a:xfrm>
              <a:off x="6826274" y="5419753"/>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7" name="Freeform 4518"/>
            <p:cNvSpPr/>
            <p:nvPr/>
          </p:nvSpPr>
          <p:spPr>
            <a:xfrm>
              <a:off x="6826274" y="5419753"/>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8" name="Freeform 4519"/>
            <p:cNvSpPr/>
            <p:nvPr/>
          </p:nvSpPr>
          <p:spPr>
            <a:xfrm>
              <a:off x="6892523" y="5394544"/>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49" name="Freeform 4520"/>
            <p:cNvSpPr/>
            <p:nvPr/>
          </p:nvSpPr>
          <p:spPr>
            <a:xfrm>
              <a:off x="6892523" y="5394544"/>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0" name="Freeform 4521"/>
            <p:cNvSpPr/>
            <p:nvPr/>
          </p:nvSpPr>
          <p:spPr>
            <a:xfrm>
              <a:off x="6985377" y="536870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1" name="Freeform 4522"/>
            <p:cNvSpPr/>
            <p:nvPr/>
          </p:nvSpPr>
          <p:spPr>
            <a:xfrm>
              <a:off x="6985377" y="5368701"/>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2" name="Freeform 4523"/>
            <p:cNvSpPr/>
            <p:nvPr/>
          </p:nvSpPr>
          <p:spPr>
            <a:xfrm>
              <a:off x="7029512" y="5374600"/>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3" name="Freeform 4524"/>
            <p:cNvSpPr/>
            <p:nvPr/>
          </p:nvSpPr>
          <p:spPr>
            <a:xfrm>
              <a:off x="7029512" y="5374600"/>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4" name="Freeform 4525"/>
            <p:cNvSpPr/>
            <p:nvPr/>
          </p:nvSpPr>
          <p:spPr>
            <a:xfrm>
              <a:off x="6962218" y="5430532"/>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5" name="Freeform 4526"/>
            <p:cNvSpPr/>
            <p:nvPr/>
          </p:nvSpPr>
          <p:spPr>
            <a:xfrm>
              <a:off x="6962218" y="5430532"/>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6" name="Freeform 4527"/>
            <p:cNvSpPr/>
            <p:nvPr/>
          </p:nvSpPr>
          <p:spPr>
            <a:xfrm>
              <a:off x="7066426" y="543164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7" name="Freeform 4528"/>
            <p:cNvSpPr/>
            <p:nvPr/>
          </p:nvSpPr>
          <p:spPr>
            <a:xfrm>
              <a:off x="7066426" y="5431645"/>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8" name="Freeform 4529"/>
            <p:cNvSpPr/>
            <p:nvPr/>
          </p:nvSpPr>
          <p:spPr>
            <a:xfrm>
              <a:off x="7039127" y="5483902"/>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59" name="Freeform 4530"/>
            <p:cNvSpPr/>
            <p:nvPr/>
          </p:nvSpPr>
          <p:spPr>
            <a:xfrm>
              <a:off x="7039127" y="5483902"/>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0" name="Freeform 4531"/>
            <p:cNvSpPr/>
            <p:nvPr/>
          </p:nvSpPr>
          <p:spPr>
            <a:xfrm>
              <a:off x="6936051" y="553504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1" name="Freeform 4532"/>
            <p:cNvSpPr/>
            <p:nvPr/>
          </p:nvSpPr>
          <p:spPr>
            <a:xfrm>
              <a:off x="6936051" y="5535047"/>
              <a:ext cx="68218" cy="101235"/>
            </a:xfrm>
            <a:custGeom>
              <a:avLst/>
              <a:gdLst/>
              <a:ahLst/>
              <a:cxnLst/>
              <a:rect l="0" t="0" r="0" b="0"/>
              <a:pathLst>
                <a:path w="145237" h="215531">
                  <a:moveTo>
                    <a:pt x="0" y="72618"/>
                  </a:moveTo>
                  <a:cubicBezTo>
                    <a:pt x="0" y="90321"/>
                    <a:pt x="6845" y="100608"/>
                    <a:pt x="16865" y="119150"/>
                  </a:cubicBezTo>
                  <a:lnTo>
                    <a:pt x="72631" y="215531"/>
                  </a:lnTo>
                  <a:lnTo>
                    <a:pt x="128384"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2" name="Freeform 4607"/>
            <p:cNvSpPr/>
            <p:nvPr/>
          </p:nvSpPr>
          <p:spPr>
            <a:xfrm>
              <a:off x="6520430" y="3564495"/>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60073A">
                <a:alpha val="100000"/>
              </a:srgbClr>
            </a:solidFill>
            <a:ln w="12496">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3" name="Freeform 4608"/>
            <p:cNvSpPr/>
            <p:nvPr/>
          </p:nvSpPr>
          <p:spPr>
            <a:xfrm>
              <a:off x="6520430" y="3564495"/>
              <a:ext cx="78126" cy="92973"/>
            </a:xfrm>
            <a:custGeom>
              <a:avLst/>
              <a:gdLst/>
              <a:ahLst/>
              <a:cxnLst/>
              <a:rect l="0" t="0" r="0" b="0"/>
              <a:pathLst>
                <a:path w="166331" h="197941">
                  <a:moveTo>
                    <a:pt x="23571" y="125018"/>
                  </a:moveTo>
                  <a:cubicBezTo>
                    <a:pt x="33972"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4" name="Freeform 4609"/>
            <p:cNvSpPr/>
            <p:nvPr/>
          </p:nvSpPr>
          <p:spPr>
            <a:xfrm>
              <a:off x="6573633" y="355702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5" name="Freeform 4610"/>
            <p:cNvSpPr/>
            <p:nvPr/>
          </p:nvSpPr>
          <p:spPr>
            <a:xfrm>
              <a:off x="6573633" y="355702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6" name="Freeform 4611"/>
            <p:cNvSpPr/>
            <p:nvPr/>
          </p:nvSpPr>
          <p:spPr>
            <a:xfrm>
              <a:off x="6617768" y="3562923"/>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7" name="Freeform 4612"/>
            <p:cNvSpPr/>
            <p:nvPr/>
          </p:nvSpPr>
          <p:spPr>
            <a:xfrm>
              <a:off x="6617768" y="3562923"/>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8" name="Freeform 4613"/>
            <p:cNvSpPr/>
            <p:nvPr/>
          </p:nvSpPr>
          <p:spPr>
            <a:xfrm>
              <a:off x="6459215" y="3551856"/>
              <a:ext cx="68218" cy="101235"/>
            </a:xfrm>
            <a:custGeom>
              <a:avLst/>
              <a:gdLst/>
              <a:ahLst/>
              <a:cxnLst/>
              <a:rect l="0" t="0" r="0" b="0"/>
              <a:pathLst>
                <a:path w="145237" h="215531">
                  <a:moveTo>
                    <a:pt x="0" y="72618"/>
                  </a:moveTo>
                  <a:cubicBezTo>
                    <a:pt x="0" y="90321"/>
                    <a:pt x="6845" y="100621"/>
                    <a:pt x="16865" y="119150"/>
                  </a:cubicBezTo>
                  <a:lnTo>
                    <a:pt x="72631" y="215531"/>
                  </a:lnTo>
                  <a:lnTo>
                    <a:pt x="128384" y="119150"/>
                  </a:lnTo>
                  <a:cubicBezTo>
                    <a:pt x="138417" y="100621"/>
                    <a:pt x="145237" y="90321"/>
                    <a:pt x="145237" y="72618"/>
                  </a:cubicBezTo>
                  <a:cubicBezTo>
                    <a:pt x="145237" y="32512"/>
                    <a:pt x="112725" y="0"/>
                    <a:pt x="72631" y="0"/>
                  </a:cubicBezTo>
                  <a:cubicBezTo>
                    <a:pt x="32511" y="0"/>
                    <a:pt x="0" y="32512"/>
                    <a:pt x="0" y="72618"/>
                  </a:cubicBezTo>
                </a:path>
              </a:pathLst>
            </a:custGeom>
            <a:solidFill>
              <a:srgbClr val="60073A">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69" name="Freeform 4614"/>
            <p:cNvSpPr/>
            <p:nvPr/>
          </p:nvSpPr>
          <p:spPr>
            <a:xfrm>
              <a:off x="6459215" y="3551856"/>
              <a:ext cx="68218" cy="101235"/>
            </a:xfrm>
            <a:custGeom>
              <a:avLst/>
              <a:gdLst/>
              <a:ahLst/>
              <a:cxnLst/>
              <a:rect l="0" t="0" r="0" b="0"/>
              <a:pathLst>
                <a:path w="145237" h="215531">
                  <a:moveTo>
                    <a:pt x="0" y="72618"/>
                  </a:moveTo>
                  <a:cubicBezTo>
                    <a:pt x="0" y="90321"/>
                    <a:pt x="6845" y="100621"/>
                    <a:pt x="16865" y="119150"/>
                  </a:cubicBezTo>
                  <a:lnTo>
                    <a:pt x="72631" y="215531"/>
                  </a:lnTo>
                  <a:lnTo>
                    <a:pt x="128384" y="119150"/>
                  </a:lnTo>
                  <a:cubicBezTo>
                    <a:pt x="138417" y="100621"/>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0" name="Freeform 4615"/>
            <p:cNvSpPr/>
            <p:nvPr/>
          </p:nvSpPr>
          <p:spPr>
            <a:xfrm>
              <a:off x="6592683" y="3706662"/>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1" name="Freeform 4616"/>
            <p:cNvSpPr/>
            <p:nvPr/>
          </p:nvSpPr>
          <p:spPr>
            <a:xfrm>
              <a:off x="6592683" y="3706662"/>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2" name="Freeform 4617"/>
            <p:cNvSpPr/>
            <p:nvPr/>
          </p:nvSpPr>
          <p:spPr>
            <a:xfrm>
              <a:off x="6527754" y="3599953"/>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3" name="Freeform 4618"/>
            <p:cNvSpPr/>
            <p:nvPr/>
          </p:nvSpPr>
          <p:spPr>
            <a:xfrm>
              <a:off x="6527754" y="3599953"/>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4" name="Freeform 4621"/>
            <p:cNvSpPr/>
            <p:nvPr/>
          </p:nvSpPr>
          <p:spPr>
            <a:xfrm>
              <a:off x="6099175" y="3188693"/>
              <a:ext cx="68218" cy="101235"/>
            </a:xfrm>
            <a:custGeom>
              <a:avLst/>
              <a:gdLst/>
              <a:ahLst/>
              <a:cxnLst/>
              <a:rect l="0" t="0" r="0" b="0"/>
              <a:pathLst>
                <a:path w="145237" h="215531">
                  <a:moveTo>
                    <a:pt x="0" y="72618"/>
                  </a:moveTo>
                  <a:cubicBezTo>
                    <a:pt x="0" y="90321"/>
                    <a:pt x="6845" y="100621"/>
                    <a:pt x="16865" y="119150"/>
                  </a:cubicBezTo>
                  <a:lnTo>
                    <a:pt x="72631" y="215531"/>
                  </a:lnTo>
                  <a:lnTo>
                    <a:pt x="128396" y="119150"/>
                  </a:lnTo>
                  <a:cubicBezTo>
                    <a:pt x="138417" y="100621"/>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12496">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5" name="Freeform 4622"/>
            <p:cNvSpPr/>
            <p:nvPr/>
          </p:nvSpPr>
          <p:spPr>
            <a:xfrm>
              <a:off x="6099175" y="3188693"/>
              <a:ext cx="68218" cy="101235"/>
            </a:xfrm>
            <a:custGeom>
              <a:avLst/>
              <a:gdLst/>
              <a:ahLst/>
              <a:cxnLst/>
              <a:rect l="0" t="0" r="0" b="0"/>
              <a:pathLst>
                <a:path w="145237" h="215531">
                  <a:moveTo>
                    <a:pt x="0" y="72618"/>
                  </a:moveTo>
                  <a:cubicBezTo>
                    <a:pt x="0" y="90321"/>
                    <a:pt x="6845" y="100621"/>
                    <a:pt x="16865" y="119150"/>
                  </a:cubicBezTo>
                  <a:lnTo>
                    <a:pt x="72631" y="215531"/>
                  </a:lnTo>
                  <a:lnTo>
                    <a:pt x="128396" y="119150"/>
                  </a:lnTo>
                  <a:cubicBezTo>
                    <a:pt x="138417" y="100621"/>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6" name="Freeform 4623"/>
            <p:cNvSpPr/>
            <p:nvPr/>
          </p:nvSpPr>
          <p:spPr>
            <a:xfrm>
              <a:off x="5810766" y="3233616"/>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7" name="Freeform 4624"/>
            <p:cNvSpPr/>
            <p:nvPr/>
          </p:nvSpPr>
          <p:spPr>
            <a:xfrm>
              <a:off x="5810766" y="3233616"/>
              <a:ext cx="78126" cy="92973"/>
            </a:xfrm>
            <a:custGeom>
              <a:avLst/>
              <a:gdLst/>
              <a:ahLst/>
              <a:cxnLst/>
              <a:rect l="0" t="0" r="0" b="0"/>
              <a:pathLst>
                <a:path w="166331" h="197941">
                  <a:moveTo>
                    <a:pt x="23571" y="125018"/>
                  </a:moveTo>
                  <a:cubicBezTo>
                    <a:pt x="33984" y="139343"/>
                    <a:pt x="45567" y="143636"/>
                    <a:pt x="64566" y="152754"/>
                  </a:cubicBezTo>
                  <a:lnTo>
                    <a:pt x="166331" y="197941"/>
                  </a:lnTo>
                  <a:lnTo>
                    <a:pt x="154787" y="87198"/>
                  </a:lnTo>
                  <a:cubicBezTo>
                    <a:pt x="152006" y="66306"/>
                    <a:pt x="151485" y="53975"/>
                    <a:pt x="141071" y="39649"/>
                  </a:cubicBezTo>
                  <a:cubicBezTo>
                    <a:pt x="117500" y="7201"/>
                    <a:pt x="72084" y="0"/>
                    <a:pt x="39636" y="23584"/>
                  </a:cubicBezTo>
                  <a:cubicBezTo>
                    <a:pt x="7189" y="47155"/>
                    <a:pt x="0" y="92570"/>
                    <a:pt x="23571" y="1250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8" name="Freeform 4625"/>
            <p:cNvSpPr/>
            <p:nvPr/>
          </p:nvSpPr>
          <p:spPr>
            <a:xfrm>
              <a:off x="5863970" y="322614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79" name="Freeform 4626"/>
            <p:cNvSpPr/>
            <p:nvPr/>
          </p:nvSpPr>
          <p:spPr>
            <a:xfrm>
              <a:off x="5863970" y="3226144"/>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80" name="Freeform 4627"/>
            <p:cNvSpPr/>
            <p:nvPr/>
          </p:nvSpPr>
          <p:spPr>
            <a:xfrm>
              <a:off x="5908105" y="3232043"/>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81" name="Freeform 4628"/>
            <p:cNvSpPr/>
            <p:nvPr/>
          </p:nvSpPr>
          <p:spPr>
            <a:xfrm>
              <a:off x="5908105" y="3232043"/>
              <a:ext cx="74713" cy="95676"/>
            </a:xfrm>
            <a:custGeom>
              <a:avLst/>
              <a:gdLst/>
              <a:ahLst/>
              <a:cxnLst/>
              <a:rect l="0" t="0" r="0" b="0"/>
              <a:pathLst>
                <a:path w="159066" h="203695">
                  <a:moveTo>
                    <a:pt x="14833" y="44069"/>
                  </a:moveTo>
                  <a:cubicBezTo>
                    <a:pt x="5385" y="59042"/>
                    <a:pt x="5689" y="71399"/>
                    <a:pt x="4267" y="92417"/>
                  </a:cubicBezTo>
                  <a:lnTo>
                    <a:pt x="0" y="203695"/>
                  </a:lnTo>
                  <a:lnTo>
                    <a:pt x="98589" y="151930"/>
                  </a:lnTo>
                  <a:cubicBezTo>
                    <a:pt x="116966" y="141604"/>
                    <a:pt x="128218" y="136550"/>
                    <a:pt x="137667" y="121577"/>
                  </a:cubicBezTo>
                  <a:cubicBezTo>
                    <a:pt x="159066" y="87655"/>
                    <a:pt x="148932" y="42812"/>
                    <a:pt x="115010" y="21400"/>
                  </a:cubicBezTo>
                  <a:cubicBezTo>
                    <a:pt x="81088" y="0"/>
                    <a:pt x="36232" y="10148"/>
                    <a:pt x="14833" y="44069"/>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82" name="Freeform 4629"/>
            <p:cNvSpPr/>
            <p:nvPr/>
          </p:nvSpPr>
          <p:spPr>
            <a:xfrm>
              <a:off x="5955138" y="3255757"/>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path>
              </a:pathLst>
            </a:custGeom>
            <a:solidFill>
              <a:srgbClr val="F6861F">
                <a:alpha val="100000"/>
              </a:srgbClr>
            </a:solidFill>
            <a:ln w="466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sp>
          <p:nvSpPr>
            <p:cNvPr id="183" name="Freeform 4630"/>
            <p:cNvSpPr/>
            <p:nvPr/>
          </p:nvSpPr>
          <p:spPr>
            <a:xfrm>
              <a:off x="5955138" y="3255757"/>
              <a:ext cx="68218" cy="101235"/>
            </a:xfrm>
            <a:custGeom>
              <a:avLst/>
              <a:gdLst/>
              <a:ahLst/>
              <a:cxnLst/>
              <a:rect l="0" t="0" r="0" b="0"/>
              <a:pathLst>
                <a:path w="145237" h="215531">
                  <a:moveTo>
                    <a:pt x="0" y="72618"/>
                  </a:moveTo>
                  <a:cubicBezTo>
                    <a:pt x="0" y="90321"/>
                    <a:pt x="6845" y="100608"/>
                    <a:pt x="16865" y="119150"/>
                  </a:cubicBezTo>
                  <a:lnTo>
                    <a:pt x="72631" y="215531"/>
                  </a:lnTo>
                  <a:lnTo>
                    <a:pt x="128396" y="119150"/>
                  </a:lnTo>
                  <a:cubicBezTo>
                    <a:pt x="138417" y="100608"/>
                    <a:pt x="145237" y="90321"/>
                    <a:pt x="145237" y="72618"/>
                  </a:cubicBezTo>
                  <a:cubicBezTo>
                    <a:pt x="145237" y="32512"/>
                    <a:pt x="112725" y="0"/>
                    <a:pt x="72631" y="0"/>
                  </a:cubicBezTo>
                  <a:cubicBezTo>
                    <a:pt x="32511" y="0"/>
                    <a:pt x="0" y="32512"/>
                    <a:pt x="0" y="72618"/>
                  </a:cubicBezTo>
                  <a:close/>
                </a:path>
              </a:pathLst>
            </a:custGeom>
            <a:noFill/>
            <a:ln w="4660" cap="flat" cmpd="sng">
              <a:solidFill>
                <a:srgbClr val="FFFFFF">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latin typeface="+mj-lt"/>
              </a:endParaRPr>
            </a:p>
          </p:txBody>
        </p:sp>
      </p:grpSp>
      <p:sp>
        <p:nvSpPr>
          <p:cNvPr id="2" name="Title 1"/>
          <p:cNvSpPr>
            <a:spLocks noGrp="1"/>
          </p:cNvSpPr>
          <p:nvPr>
            <p:ph type="title"/>
          </p:nvPr>
        </p:nvSpPr>
        <p:spPr/>
        <p:txBody>
          <a:bodyPr/>
          <a:lstStyle/>
          <a:p>
            <a:r>
              <a:rPr lang="en-GB" dirty="0" smtClean="0">
                <a:latin typeface="+mj-lt"/>
              </a:rPr>
              <a:t>Siemens UK in numbers</a:t>
            </a:r>
            <a:endParaRPr lang="en-US" dirty="0">
              <a:latin typeface="+mj-lt"/>
            </a:endParaRPr>
          </a:p>
        </p:txBody>
      </p:sp>
      <p:pic>
        <p:nvPicPr>
          <p:cNvPr id="7" name="Grafik 7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71908" y="1900872"/>
            <a:ext cx="1490296" cy="686767"/>
          </a:xfrm>
          <a:prstGeom prst="rect">
            <a:avLst/>
          </a:prstGeom>
        </p:spPr>
      </p:pic>
      <p:pic>
        <p:nvPicPr>
          <p:cNvPr id="8" name="Grafik 7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7755359" y="4329100"/>
            <a:ext cx="1035524" cy="504056"/>
          </a:xfrm>
          <a:prstGeom prst="rect">
            <a:avLst/>
          </a:prstGeom>
        </p:spPr>
      </p:pic>
      <p:sp>
        <p:nvSpPr>
          <p:cNvPr id="9" name="Rechteck 9"/>
          <p:cNvSpPr/>
          <p:nvPr/>
        </p:nvSpPr>
        <p:spPr bwMode="auto">
          <a:xfrm>
            <a:off x="8013198" y="4111599"/>
            <a:ext cx="1344849"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30</a:t>
            </a:r>
            <a:endParaRPr lang="de-DE" sz="2400" dirty="0">
              <a:solidFill>
                <a:srgbClr val="55A0B9"/>
              </a:solidFill>
              <a:latin typeface="+mj-lt"/>
              <a:cs typeface="Siemens Slab Black"/>
            </a:endParaRPr>
          </a:p>
        </p:txBody>
      </p:sp>
      <p:sp>
        <p:nvSpPr>
          <p:cNvPr id="10" name="Rechteck 9"/>
          <p:cNvSpPr/>
          <p:nvPr/>
        </p:nvSpPr>
        <p:spPr bwMode="auto">
          <a:xfrm>
            <a:off x="7275021" y="3273466"/>
            <a:ext cx="1344849"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14</a:t>
            </a:r>
            <a:endParaRPr lang="de-DE" sz="2400" dirty="0">
              <a:solidFill>
                <a:srgbClr val="55A0B9"/>
              </a:solidFill>
              <a:latin typeface="+mj-lt"/>
              <a:cs typeface="Siemens Slab Black"/>
            </a:endParaRPr>
          </a:p>
        </p:txBody>
      </p:sp>
      <p:pic>
        <p:nvPicPr>
          <p:cNvPr id="11" name="Grafik 7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7107287" y="3473480"/>
            <a:ext cx="1008112" cy="207548"/>
          </a:xfrm>
          <a:prstGeom prst="rect">
            <a:avLst/>
          </a:prstGeom>
          <a:noFill/>
          <a:ln>
            <a:noFill/>
          </a:ln>
        </p:spPr>
      </p:pic>
      <p:pic>
        <p:nvPicPr>
          <p:cNvPr id="12" name="Grafik 7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156765" y="4190417"/>
            <a:ext cx="866084" cy="178308"/>
          </a:xfrm>
          <a:prstGeom prst="rect">
            <a:avLst/>
          </a:prstGeom>
          <a:noFill/>
          <a:ln>
            <a:noFill/>
          </a:ln>
        </p:spPr>
      </p:pic>
      <p:sp>
        <p:nvSpPr>
          <p:cNvPr id="13" name="Rectangle 12"/>
          <p:cNvSpPr/>
          <p:nvPr/>
        </p:nvSpPr>
        <p:spPr>
          <a:xfrm>
            <a:off x="266527" y="1650406"/>
            <a:ext cx="1872208" cy="523220"/>
          </a:xfrm>
          <a:prstGeom prst="rect">
            <a:avLst/>
          </a:prstGeom>
        </p:spPr>
        <p:txBody>
          <a:bodyPr wrap="square">
            <a:spAutoFit/>
          </a:bodyPr>
          <a:lstStyle/>
          <a:p>
            <a:pPr algn="r"/>
            <a:r>
              <a:rPr lang="en-US" sz="1400" b="1" dirty="0" smtClean="0">
                <a:solidFill>
                  <a:srgbClr val="505A64"/>
                </a:solidFill>
                <a:latin typeface="+mj-lt"/>
              </a:rPr>
              <a:t>Doing business since</a:t>
            </a:r>
            <a:endParaRPr lang="en-US" sz="1400" b="1" dirty="0">
              <a:solidFill>
                <a:srgbClr val="505A64"/>
              </a:solidFill>
              <a:latin typeface="+mj-lt"/>
            </a:endParaRPr>
          </a:p>
        </p:txBody>
      </p:sp>
      <p:sp>
        <p:nvSpPr>
          <p:cNvPr id="14" name="Rectangle 13"/>
          <p:cNvSpPr/>
          <p:nvPr/>
        </p:nvSpPr>
        <p:spPr>
          <a:xfrm>
            <a:off x="2187590" y="4047901"/>
            <a:ext cx="1279922" cy="307777"/>
          </a:xfrm>
          <a:prstGeom prst="rect">
            <a:avLst/>
          </a:prstGeom>
        </p:spPr>
        <p:txBody>
          <a:bodyPr wrap="square">
            <a:spAutoFit/>
          </a:bodyPr>
          <a:lstStyle/>
          <a:p>
            <a:r>
              <a:rPr lang="en-US" sz="1400" b="1" dirty="0" smtClean="0">
                <a:solidFill>
                  <a:srgbClr val="505A64"/>
                </a:solidFill>
                <a:latin typeface="+mj-lt"/>
              </a:rPr>
              <a:t>Revenue </a:t>
            </a:r>
            <a:endParaRPr lang="en-US" sz="1400" b="1" dirty="0">
              <a:solidFill>
                <a:srgbClr val="505A64"/>
              </a:solidFill>
              <a:latin typeface="+mj-lt"/>
            </a:endParaRPr>
          </a:p>
        </p:txBody>
      </p:sp>
      <p:sp>
        <p:nvSpPr>
          <p:cNvPr id="15" name="Rectangle 14"/>
          <p:cNvSpPr/>
          <p:nvPr/>
        </p:nvSpPr>
        <p:spPr>
          <a:xfrm>
            <a:off x="8871406" y="5795273"/>
            <a:ext cx="2840409" cy="369332"/>
          </a:xfrm>
          <a:prstGeom prst="rect">
            <a:avLst/>
          </a:prstGeom>
        </p:spPr>
        <p:txBody>
          <a:bodyPr wrap="square">
            <a:spAutoFit/>
          </a:bodyPr>
          <a:lstStyle/>
          <a:p>
            <a:pPr algn="r"/>
            <a:r>
              <a:rPr lang="en-US" b="1" dirty="0" smtClean="0">
                <a:solidFill>
                  <a:srgbClr val="55A0B9"/>
                </a:solidFill>
                <a:latin typeface="+mj-lt"/>
              </a:rPr>
              <a:t>Figures FY16</a:t>
            </a:r>
            <a:endParaRPr lang="en-US" b="1" dirty="0">
              <a:solidFill>
                <a:srgbClr val="55A0B9"/>
              </a:solidFill>
              <a:latin typeface="+mj-lt"/>
            </a:endParaRPr>
          </a:p>
        </p:txBody>
      </p:sp>
      <p:pic>
        <p:nvPicPr>
          <p:cNvPr id="16" name="Grafik 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27829" y="4079796"/>
            <a:ext cx="441982" cy="423647"/>
          </a:xfrm>
          <a:prstGeom prst="rect">
            <a:avLst/>
          </a:prstGeom>
        </p:spPr>
      </p:pic>
      <p:sp>
        <p:nvSpPr>
          <p:cNvPr id="17" name="Rechteck 9"/>
          <p:cNvSpPr/>
          <p:nvPr/>
        </p:nvSpPr>
        <p:spPr bwMode="auto">
          <a:xfrm>
            <a:off x="519727" y="4021769"/>
            <a:ext cx="1116000"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6bn</a:t>
            </a:r>
            <a:endParaRPr lang="de-DE" sz="2400" dirty="0">
              <a:solidFill>
                <a:srgbClr val="55A0B9"/>
              </a:solidFill>
              <a:latin typeface="+mj-lt"/>
              <a:cs typeface="Siemens Slab Black"/>
            </a:endParaRPr>
          </a:p>
        </p:txBody>
      </p:sp>
      <p:pic>
        <p:nvPicPr>
          <p:cNvPr id="18" name="Picture 17"/>
          <p:cNvPicPr>
            <a:picLocks noChangeAspect="1"/>
          </p:cNvPicPr>
          <p:nvPr/>
        </p:nvPicPr>
        <p:blipFill>
          <a:blip r:embed="rId10" cstate="print"/>
          <a:stretch>
            <a:fillRect/>
          </a:stretch>
        </p:blipFill>
        <p:spPr>
          <a:xfrm>
            <a:off x="8748243" y="3113440"/>
            <a:ext cx="524800" cy="499200"/>
          </a:xfrm>
          <a:prstGeom prst="rect">
            <a:avLst/>
          </a:prstGeom>
        </p:spPr>
      </p:pic>
      <p:pic>
        <p:nvPicPr>
          <p:cNvPr id="19" name="Picture 1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23979" y="4002470"/>
            <a:ext cx="326329" cy="398638"/>
          </a:xfrm>
          <a:prstGeom prst="rect">
            <a:avLst/>
          </a:prstGeom>
        </p:spPr>
      </p:pic>
      <p:sp>
        <p:nvSpPr>
          <p:cNvPr id="20" name="Rectangle 19"/>
          <p:cNvSpPr/>
          <p:nvPr/>
        </p:nvSpPr>
        <p:spPr>
          <a:xfrm>
            <a:off x="10082819" y="4137731"/>
            <a:ext cx="1921012" cy="307777"/>
          </a:xfrm>
          <a:prstGeom prst="rect">
            <a:avLst/>
          </a:prstGeom>
        </p:spPr>
        <p:txBody>
          <a:bodyPr wrap="square">
            <a:spAutoFit/>
          </a:bodyPr>
          <a:lstStyle/>
          <a:p>
            <a:r>
              <a:rPr lang="en-US" sz="1400" b="1" dirty="0">
                <a:solidFill>
                  <a:srgbClr val="505A64"/>
                </a:solidFill>
                <a:latin typeface="+mj-lt"/>
              </a:rPr>
              <a:t>Major Siemens sites</a:t>
            </a:r>
          </a:p>
        </p:txBody>
      </p:sp>
      <p:sp>
        <p:nvSpPr>
          <p:cNvPr id="21" name="Rectangle 20"/>
          <p:cNvSpPr/>
          <p:nvPr/>
        </p:nvSpPr>
        <p:spPr>
          <a:xfrm>
            <a:off x="7536070" y="1537628"/>
            <a:ext cx="3983518" cy="307777"/>
          </a:xfrm>
          <a:prstGeom prst="rect">
            <a:avLst/>
          </a:prstGeom>
        </p:spPr>
        <p:txBody>
          <a:bodyPr wrap="square">
            <a:spAutoFit/>
          </a:bodyPr>
          <a:lstStyle/>
          <a:p>
            <a:pPr algn="ctr"/>
            <a:r>
              <a:rPr lang="en-US" sz="1400" b="1" dirty="0" smtClean="0">
                <a:solidFill>
                  <a:srgbClr val="505A64"/>
                </a:solidFill>
                <a:latin typeface="+mj-lt"/>
              </a:rPr>
              <a:t>Siemens’ investment in the UK supply chain</a:t>
            </a:r>
            <a:endParaRPr lang="en-US" sz="1400" b="1" dirty="0">
              <a:solidFill>
                <a:srgbClr val="505A64"/>
              </a:solidFill>
              <a:latin typeface="+mj-lt"/>
            </a:endParaRPr>
          </a:p>
        </p:txBody>
      </p:sp>
      <p:pic>
        <p:nvPicPr>
          <p:cNvPr id="22" name="Grafik 7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34879" y="3066269"/>
            <a:ext cx="1036425" cy="686767"/>
          </a:xfrm>
          <a:prstGeom prst="rect">
            <a:avLst/>
          </a:prstGeom>
        </p:spPr>
      </p:pic>
      <p:sp>
        <p:nvSpPr>
          <p:cNvPr id="23" name="Rectangle 22"/>
          <p:cNvSpPr/>
          <p:nvPr/>
        </p:nvSpPr>
        <p:spPr>
          <a:xfrm>
            <a:off x="1616346" y="2444581"/>
            <a:ext cx="1272771" cy="307777"/>
          </a:xfrm>
          <a:prstGeom prst="rect">
            <a:avLst/>
          </a:prstGeom>
        </p:spPr>
        <p:txBody>
          <a:bodyPr wrap="square">
            <a:spAutoFit/>
          </a:bodyPr>
          <a:lstStyle/>
          <a:p>
            <a:r>
              <a:rPr lang="en-US" sz="1400" b="1" dirty="0" smtClean="0">
                <a:solidFill>
                  <a:srgbClr val="505A64"/>
                </a:solidFill>
                <a:latin typeface="+mj-lt"/>
              </a:rPr>
              <a:t>Employees</a:t>
            </a:r>
            <a:endParaRPr lang="en-US" sz="1400" b="1" dirty="0">
              <a:solidFill>
                <a:srgbClr val="505A64"/>
              </a:solidFill>
              <a:latin typeface="+mj-lt"/>
            </a:endParaRPr>
          </a:p>
        </p:txBody>
      </p:sp>
      <p:pic>
        <p:nvPicPr>
          <p:cNvPr id="24" name="Grafik 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930823" y="2770886"/>
            <a:ext cx="347443" cy="371825"/>
          </a:xfrm>
          <a:prstGeom prst="rect">
            <a:avLst/>
          </a:prstGeom>
        </p:spPr>
      </p:pic>
      <p:sp>
        <p:nvSpPr>
          <p:cNvPr id="25" name="Rechteck 9"/>
          <p:cNvSpPr/>
          <p:nvPr/>
        </p:nvSpPr>
        <p:spPr bwMode="auto">
          <a:xfrm>
            <a:off x="389535" y="2418449"/>
            <a:ext cx="1137615"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15,000</a:t>
            </a:r>
            <a:endParaRPr lang="de-DE" sz="2400" dirty="0">
              <a:solidFill>
                <a:srgbClr val="55A0B9"/>
              </a:solidFill>
              <a:latin typeface="+mj-lt"/>
              <a:cs typeface="Siemens Slab Black"/>
            </a:endParaRPr>
          </a:p>
        </p:txBody>
      </p:sp>
      <p:sp>
        <p:nvSpPr>
          <p:cNvPr id="26" name="Rechteck 9"/>
          <p:cNvSpPr/>
          <p:nvPr/>
        </p:nvSpPr>
        <p:spPr bwMode="auto">
          <a:xfrm>
            <a:off x="1210088" y="1624274"/>
            <a:ext cx="1681046"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1843</a:t>
            </a:r>
            <a:endParaRPr lang="de-DE" sz="2400" dirty="0">
              <a:solidFill>
                <a:srgbClr val="55A0B9"/>
              </a:solidFill>
              <a:latin typeface="+mj-lt"/>
              <a:cs typeface="Siemens Slab Black"/>
            </a:endParaRPr>
          </a:p>
        </p:txBody>
      </p:sp>
      <p:sp>
        <p:nvSpPr>
          <p:cNvPr id="28" name="Rechteck 9"/>
          <p:cNvSpPr/>
          <p:nvPr/>
        </p:nvSpPr>
        <p:spPr bwMode="auto">
          <a:xfrm>
            <a:off x="8687306" y="1900872"/>
            <a:ext cx="1681046" cy="360040"/>
          </a:xfrm>
          <a:prstGeom prst="rect">
            <a:avLst/>
          </a:prstGeom>
          <a:noFill/>
          <a:ln w="9525">
            <a:noFill/>
            <a:miter lim="800000"/>
            <a:headEnd/>
            <a:tailEnd/>
          </a:ln>
          <a:effectLst/>
          <a:extLst/>
        </p:spPr>
        <p:txBody>
          <a:bodyPr wrap="square" lIns="0" tIns="0" rIns="0" bIns="0" numCol="1" spcCol="72000" rtlCol="0" anchor="ctr">
            <a:noAutofit/>
          </a:bodyPr>
          <a:lstStyle/>
          <a:p>
            <a:pPr algn="ctr"/>
            <a:r>
              <a:rPr lang="de-DE" sz="2400" dirty="0" smtClean="0">
                <a:solidFill>
                  <a:srgbClr val="55A0B9"/>
                </a:solidFill>
                <a:latin typeface="+mj-lt"/>
                <a:cs typeface="Siemens Slab Black"/>
              </a:rPr>
              <a:t>£1.8bn</a:t>
            </a:r>
            <a:endParaRPr lang="de-DE" sz="2400" dirty="0">
              <a:solidFill>
                <a:srgbClr val="55A0B9"/>
              </a:solidFill>
              <a:latin typeface="+mj-lt"/>
              <a:cs typeface="Siemens Slab Black"/>
            </a:endParaRPr>
          </a:p>
        </p:txBody>
      </p:sp>
      <p:sp>
        <p:nvSpPr>
          <p:cNvPr id="29" name="Rectangle 28"/>
          <p:cNvSpPr/>
          <p:nvPr/>
        </p:nvSpPr>
        <p:spPr>
          <a:xfrm>
            <a:off x="9488658" y="3299598"/>
            <a:ext cx="2155133" cy="307777"/>
          </a:xfrm>
          <a:prstGeom prst="rect">
            <a:avLst/>
          </a:prstGeom>
        </p:spPr>
        <p:txBody>
          <a:bodyPr wrap="square">
            <a:spAutoFit/>
          </a:bodyPr>
          <a:lstStyle/>
          <a:p>
            <a:r>
              <a:rPr lang="en-US" sz="1400" b="1" dirty="0" smtClean="0">
                <a:solidFill>
                  <a:srgbClr val="505A64"/>
                </a:solidFill>
                <a:latin typeface="+mj-lt"/>
              </a:rPr>
              <a:t>Manufacturing sites</a:t>
            </a:r>
            <a:endParaRPr lang="en-US" sz="1400" b="1" dirty="0">
              <a:solidFill>
                <a:srgbClr val="505A64"/>
              </a:solidFill>
              <a:latin typeface="+mj-lt"/>
            </a:endParaRPr>
          </a:p>
        </p:txBody>
      </p:sp>
      <p:sp>
        <p:nvSpPr>
          <p:cNvPr id="30" name="Rechteck 9"/>
          <p:cNvSpPr/>
          <p:nvPr/>
        </p:nvSpPr>
        <p:spPr bwMode="auto">
          <a:xfrm>
            <a:off x="7971383" y="2600908"/>
            <a:ext cx="1681046"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17,500</a:t>
            </a:r>
            <a:endParaRPr lang="de-DE" sz="2400" dirty="0">
              <a:solidFill>
                <a:srgbClr val="55A0B9"/>
              </a:solidFill>
              <a:latin typeface="+mj-lt"/>
              <a:cs typeface="Siemens Slab Black"/>
            </a:endParaRPr>
          </a:p>
        </p:txBody>
      </p:sp>
      <p:sp>
        <p:nvSpPr>
          <p:cNvPr id="31" name="Rectangle 30"/>
          <p:cNvSpPr/>
          <p:nvPr/>
        </p:nvSpPr>
        <p:spPr>
          <a:xfrm>
            <a:off x="7250328" y="2627040"/>
            <a:ext cx="1873183" cy="307777"/>
          </a:xfrm>
          <a:prstGeom prst="rect">
            <a:avLst/>
          </a:prstGeom>
        </p:spPr>
        <p:txBody>
          <a:bodyPr wrap="square">
            <a:spAutoFit/>
          </a:bodyPr>
          <a:lstStyle/>
          <a:p>
            <a:r>
              <a:rPr lang="en-GB" sz="1400" b="1" dirty="0" smtClean="0">
                <a:solidFill>
                  <a:srgbClr val="505A64"/>
                </a:solidFill>
                <a:latin typeface="+mj-lt"/>
              </a:rPr>
              <a:t>Securing over </a:t>
            </a:r>
            <a:endParaRPr lang="en-US" sz="1400" b="1" dirty="0">
              <a:solidFill>
                <a:srgbClr val="505A64"/>
              </a:solidFill>
              <a:latin typeface="+mj-lt"/>
            </a:endParaRPr>
          </a:p>
        </p:txBody>
      </p:sp>
      <p:sp>
        <p:nvSpPr>
          <p:cNvPr id="32" name="Rectangle 31"/>
          <p:cNvSpPr/>
          <p:nvPr/>
        </p:nvSpPr>
        <p:spPr>
          <a:xfrm>
            <a:off x="9699574" y="2627040"/>
            <a:ext cx="2304257" cy="307777"/>
          </a:xfrm>
          <a:prstGeom prst="rect">
            <a:avLst/>
          </a:prstGeom>
        </p:spPr>
        <p:txBody>
          <a:bodyPr wrap="square">
            <a:spAutoFit/>
          </a:bodyPr>
          <a:lstStyle/>
          <a:p>
            <a:r>
              <a:rPr lang="en-US" sz="1400" b="1" dirty="0" smtClean="0">
                <a:solidFill>
                  <a:srgbClr val="505A64"/>
                </a:solidFill>
                <a:latin typeface="+mj-lt"/>
              </a:rPr>
              <a:t>jobs in the supply chain</a:t>
            </a:r>
            <a:endParaRPr lang="en-US" sz="1400" b="1" dirty="0">
              <a:solidFill>
                <a:srgbClr val="505A64"/>
              </a:solidFill>
              <a:latin typeface="+mj-lt"/>
            </a:endParaRPr>
          </a:p>
        </p:txBody>
      </p:sp>
      <p:sp>
        <p:nvSpPr>
          <p:cNvPr id="33" name="Rechteck 9"/>
          <p:cNvSpPr/>
          <p:nvPr/>
        </p:nvSpPr>
        <p:spPr bwMode="auto">
          <a:xfrm>
            <a:off x="447150" y="2780580"/>
            <a:ext cx="1080000"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600</a:t>
            </a:r>
            <a:endParaRPr lang="de-DE" sz="2400" dirty="0">
              <a:solidFill>
                <a:srgbClr val="55A0B9"/>
              </a:solidFill>
              <a:latin typeface="+mj-lt"/>
              <a:cs typeface="Siemens Slab Black"/>
            </a:endParaRPr>
          </a:p>
        </p:txBody>
      </p:sp>
      <p:sp>
        <p:nvSpPr>
          <p:cNvPr id="34" name="Rechteck 9"/>
          <p:cNvSpPr/>
          <p:nvPr/>
        </p:nvSpPr>
        <p:spPr bwMode="auto">
          <a:xfrm>
            <a:off x="447150" y="3142711"/>
            <a:ext cx="1080000" cy="324036"/>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250</a:t>
            </a:r>
            <a:endParaRPr lang="de-DE" sz="2400" dirty="0">
              <a:solidFill>
                <a:srgbClr val="55A0B9"/>
              </a:solidFill>
              <a:latin typeface="+mj-lt"/>
              <a:cs typeface="Siemens Slab Black"/>
            </a:endParaRPr>
          </a:p>
        </p:txBody>
      </p:sp>
      <p:sp>
        <p:nvSpPr>
          <p:cNvPr id="35" name="Rectangle 34"/>
          <p:cNvSpPr/>
          <p:nvPr/>
        </p:nvSpPr>
        <p:spPr>
          <a:xfrm>
            <a:off x="1616346" y="2797711"/>
            <a:ext cx="1808256" cy="307777"/>
          </a:xfrm>
          <a:prstGeom prst="rect">
            <a:avLst/>
          </a:prstGeom>
        </p:spPr>
        <p:txBody>
          <a:bodyPr wrap="square">
            <a:spAutoFit/>
          </a:bodyPr>
          <a:lstStyle/>
          <a:p>
            <a:r>
              <a:rPr lang="en-US" sz="1400" b="1" dirty="0" smtClean="0">
                <a:solidFill>
                  <a:srgbClr val="505A64"/>
                </a:solidFill>
                <a:latin typeface="+mj-lt"/>
              </a:rPr>
              <a:t>Apprentices</a:t>
            </a:r>
            <a:endParaRPr lang="en-US" sz="1400" b="1" dirty="0">
              <a:solidFill>
                <a:srgbClr val="505A64"/>
              </a:solidFill>
              <a:latin typeface="+mj-lt"/>
            </a:endParaRPr>
          </a:p>
        </p:txBody>
      </p:sp>
      <p:sp>
        <p:nvSpPr>
          <p:cNvPr id="36" name="Rectangle 35"/>
          <p:cNvSpPr/>
          <p:nvPr/>
        </p:nvSpPr>
        <p:spPr>
          <a:xfrm>
            <a:off x="1626623" y="3150841"/>
            <a:ext cx="1808256" cy="307777"/>
          </a:xfrm>
          <a:prstGeom prst="rect">
            <a:avLst/>
          </a:prstGeom>
        </p:spPr>
        <p:txBody>
          <a:bodyPr wrap="square">
            <a:spAutoFit/>
          </a:bodyPr>
          <a:lstStyle/>
          <a:p>
            <a:r>
              <a:rPr lang="en-US" sz="1400" b="1" dirty="0" smtClean="0">
                <a:solidFill>
                  <a:srgbClr val="505A64"/>
                </a:solidFill>
                <a:latin typeface="+mj-lt"/>
              </a:rPr>
              <a:t>Graduates</a:t>
            </a:r>
            <a:endParaRPr lang="en-US" sz="1400" b="1" dirty="0">
              <a:solidFill>
                <a:srgbClr val="505A64"/>
              </a:solidFill>
              <a:latin typeface="+mj-lt"/>
            </a:endParaRPr>
          </a:p>
        </p:txBody>
      </p:sp>
      <p:sp>
        <p:nvSpPr>
          <p:cNvPr id="37" name="Rectangle 36"/>
          <p:cNvSpPr/>
          <p:nvPr/>
        </p:nvSpPr>
        <p:spPr>
          <a:xfrm>
            <a:off x="383565" y="4905164"/>
            <a:ext cx="3073942" cy="523220"/>
          </a:xfrm>
          <a:prstGeom prst="rect">
            <a:avLst/>
          </a:prstGeom>
        </p:spPr>
        <p:txBody>
          <a:bodyPr wrap="square">
            <a:spAutoFit/>
          </a:bodyPr>
          <a:lstStyle/>
          <a:p>
            <a:r>
              <a:rPr lang="en-US" sz="1400" b="1" dirty="0" smtClean="0">
                <a:solidFill>
                  <a:srgbClr val="505A64"/>
                </a:solidFill>
                <a:latin typeface="+mj-lt"/>
              </a:rPr>
              <a:t>Siemens activity in the UK supports over</a:t>
            </a:r>
            <a:endParaRPr lang="en-US" sz="1400" b="1" dirty="0">
              <a:solidFill>
                <a:srgbClr val="505A64"/>
              </a:solidFill>
              <a:latin typeface="+mj-lt"/>
            </a:endParaRPr>
          </a:p>
        </p:txBody>
      </p:sp>
      <p:sp>
        <p:nvSpPr>
          <p:cNvPr id="38" name="Rechteck 9"/>
          <p:cNvSpPr/>
          <p:nvPr/>
        </p:nvSpPr>
        <p:spPr bwMode="auto">
          <a:xfrm>
            <a:off x="698575" y="5337212"/>
            <a:ext cx="1681046" cy="360040"/>
          </a:xfrm>
          <a:prstGeom prst="rect">
            <a:avLst/>
          </a:prstGeom>
          <a:noFill/>
          <a:ln w="9525">
            <a:noFill/>
            <a:miter lim="800000"/>
            <a:headEnd/>
            <a:tailEnd/>
          </a:ln>
          <a:effectLst/>
          <a:extLst/>
        </p:spPr>
        <p:txBody>
          <a:bodyPr wrap="square" lIns="0" tIns="0" rIns="0" bIns="0" numCol="1" spcCol="72000" rtlCol="0" anchor="ctr">
            <a:noAutofit/>
          </a:bodyPr>
          <a:lstStyle/>
          <a:p>
            <a:pPr algn="r"/>
            <a:r>
              <a:rPr lang="de-DE" sz="2400" dirty="0" smtClean="0">
                <a:solidFill>
                  <a:srgbClr val="55A0B9"/>
                </a:solidFill>
                <a:latin typeface="+mj-lt"/>
                <a:cs typeface="Siemens Slab Black"/>
              </a:rPr>
              <a:t>56,700</a:t>
            </a:r>
            <a:endParaRPr lang="de-DE" sz="2400" dirty="0">
              <a:solidFill>
                <a:srgbClr val="55A0B9"/>
              </a:solidFill>
              <a:latin typeface="+mj-lt"/>
              <a:cs typeface="Siemens Slab Black"/>
            </a:endParaRPr>
          </a:p>
        </p:txBody>
      </p:sp>
      <p:sp>
        <p:nvSpPr>
          <p:cNvPr id="39" name="Rectangle 38"/>
          <p:cNvSpPr/>
          <p:nvPr/>
        </p:nvSpPr>
        <p:spPr>
          <a:xfrm>
            <a:off x="2403614" y="5373217"/>
            <a:ext cx="1279922" cy="307777"/>
          </a:xfrm>
          <a:prstGeom prst="rect">
            <a:avLst/>
          </a:prstGeom>
        </p:spPr>
        <p:txBody>
          <a:bodyPr wrap="square">
            <a:spAutoFit/>
          </a:bodyPr>
          <a:lstStyle/>
          <a:p>
            <a:r>
              <a:rPr lang="en-US" sz="1400" b="1" dirty="0" smtClean="0">
                <a:solidFill>
                  <a:srgbClr val="505A64"/>
                </a:solidFill>
                <a:latin typeface="+mj-lt"/>
              </a:rPr>
              <a:t>jobs</a:t>
            </a:r>
            <a:endParaRPr lang="en-US" sz="1400" b="1" dirty="0">
              <a:solidFill>
                <a:srgbClr val="505A64"/>
              </a:solidFill>
              <a:latin typeface="+mj-lt"/>
            </a:endParaRPr>
          </a:p>
        </p:txBody>
      </p:sp>
      <p:pic>
        <p:nvPicPr>
          <p:cNvPr id="40" name="Grafik 7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6776398" y="1756856"/>
            <a:ext cx="661778" cy="504056"/>
          </a:xfrm>
          <a:prstGeom prst="rect">
            <a:avLst/>
          </a:prstGeom>
        </p:spPr>
      </p:pic>
      <p:pic>
        <p:nvPicPr>
          <p:cNvPr id="41" name="Grafik 7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flipH="1">
            <a:off x="6747247" y="2744924"/>
            <a:ext cx="473930" cy="504056"/>
          </a:xfrm>
          <a:prstGeom prst="rect">
            <a:avLst/>
          </a:prstGeom>
        </p:spPr>
      </p:pic>
    </p:spTree>
    <p:extLst>
      <p:ext uri="{BB962C8B-B14F-4D97-AF65-F5344CB8AC3E}">
        <p14:creationId xmlns:p14="http://schemas.microsoft.com/office/powerpoint/2010/main" val="31842625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object 3"/>
          <p:cNvSpPr/>
          <p:nvPr/>
        </p:nvSpPr>
        <p:spPr>
          <a:xfrm>
            <a:off x="-3290" y="3069128"/>
            <a:ext cx="12196800" cy="1512000"/>
          </a:xfrm>
          <a:custGeom>
            <a:avLst/>
            <a:gdLst/>
            <a:ahLst/>
            <a:cxnLst/>
            <a:rect l="l" t="t" r="r" b="b"/>
            <a:pathLst>
              <a:path w="11082655" h="1418589">
                <a:moveTo>
                  <a:pt x="0" y="1418463"/>
                </a:moveTo>
                <a:lnTo>
                  <a:pt x="11082604" y="1418463"/>
                </a:lnTo>
                <a:lnTo>
                  <a:pt x="11082604" y="0"/>
                </a:lnTo>
                <a:lnTo>
                  <a:pt x="0" y="0"/>
                </a:lnTo>
                <a:lnTo>
                  <a:pt x="0" y="1418463"/>
                </a:lnTo>
                <a:close/>
              </a:path>
            </a:pathLst>
          </a:custGeom>
          <a:solidFill>
            <a:schemeClr val="bg2">
              <a:lumMod val="20000"/>
              <a:lumOff val="80000"/>
            </a:schemeClr>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2" name="Title 1"/>
          <p:cNvSpPr>
            <a:spLocks noGrp="1"/>
          </p:cNvSpPr>
          <p:nvPr>
            <p:ph type="title"/>
          </p:nvPr>
        </p:nvSpPr>
        <p:spPr/>
        <p:txBody>
          <a:bodyPr/>
          <a:lstStyle/>
          <a:p>
            <a:r>
              <a:rPr lang="en-GB" dirty="0" smtClean="0"/>
              <a:t>In the UK, for the UK</a:t>
            </a:r>
            <a:br>
              <a:rPr lang="en-GB" dirty="0" smtClean="0"/>
            </a:br>
            <a:r>
              <a:rPr lang="en-GB" dirty="0" smtClean="0"/>
              <a:t>How we contribute to the social and economic prosperity of the UK</a:t>
            </a:r>
            <a:endParaRPr lang="en-US" dirty="0"/>
          </a:p>
        </p:txBody>
      </p:sp>
      <p:sp>
        <p:nvSpPr>
          <p:cNvPr id="25" name="object 2"/>
          <p:cNvSpPr txBox="1"/>
          <p:nvPr/>
        </p:nvSpPr>
        <p:spPr>
          <a:xfrm>
            <a:off x="845691" y="3224340"/>
            <a:ext cx="2873931" cy="1129568"/>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spcBef>
                <a:spcPts val="900"/>
              </a:spcBef>
            </a:pPr>
            <a:r>
              <a:rPr lang="en-GB" sz="1500" b="1" spc="-45" dirty="0" smtClean="0">
                <a:solidFill>
                  <a:srgbClr val="EA6E16"/>
                </a:solidFill>
                <a:latin typeface="Siemens Sans"/>
                <a:cs typeface="Siemens Sans Bold"/>
              </a:rPr>
              <a:t>Productivity and innovation</a:t>
            </a:r>
            <a:endParaRPr sz="1500" b="1" spc="-45" dirty="0" smtClean="0">
              <a:solidFill>
                <a:srgbClr val="EA6E16"/>
              </a:solidFill>
              <a:latin typeface="Siemens Sans"/>
              <a:cs typeface="Siemens Sans Bold"/>
            </a:endParaRPr>
          </a:p>
          <a:p>
            <a:pPr marL="12700" marR="5080">
              <a:lnSpc>
                <a:spcPct val="113700"/>
              </a:lnSpc>
              <a:spcBef>
                <a:spcPts val="900"/>
              </a:spcBef>
            </a:pPr>
            <a:r>
              <a:rPr sz="1100" dirty="0" smtClean="0">
                <a:solidFill>
                  <a:srgbClr val="374247"/>
                </a:solidFill>
                <a:latin typeface="Siemens Sans"/>
                <a:cs typeface="SiemensSans-Roman"/>
              </a:rPr>
              <a:t>Siemens </a:t>
            </a:r>
            <a:r>
              <a:rPr sz="1100" spc="-5" dirty="0" smtClean="0">
                <a:solidFill>
                  <a:srgbClr val="374247"/>
                </a:solidFill>
                <a:latin typeface="Siemens Sans"/>
                <a:cs typeface="SiemensSans-Roman"/>
              </a:rPr>
              <a:t>firmly </a:t>
            </a:r>
            <a:r>
              <a:rPr sz="1100" dirty="0" smtClean="0">
                <a:solidFill>
                  <a:srgbClr val="374247"/>
                </a:solidFill>
                <a:latin typeface="Siemens Sans"/>
                <a:cs typeface="SiemensSans-Roman"/>
              </a:rPr>
              <a:t>supports </a:t>
            </a:r>
            <a:r>
              <a:rPr sz="1100" spc="-5" dirty="0" smtClean="0">
                <a:solidFill>
                  <a:srgbClr val="374247"/>
                </a:solidFill>
                <a:latin typeface="Siemens Sans"/>
                <a:cs typeface="SiemensSans-Roman"/>
              </a:rPr>
              <a:t>the </a:t>
            </a:r>
            <a:r>
              <a:rPr sz="1100" dirty="0" smtClean="0">
                <a:solidFill>
                  <a:srgbClr val="374247"/>
                </a:solidFill>
                <a:latin typeface="Siemens Sans"/>
                <a:cs typeface="SiemensSans-Roman"/>
              </a:rPr>
              <a:t>UK’s </a:t>
            </a:r>
            <a:r>
              <a:rPr sz="1100" spc="-5" dirty="0" smtClean="0">
                <a:solidFill>
                  <a:srgbClr val="374247"/>
                </a:solidFill>
                <a:latin typeface="Siemens Sans"/>
                <a:cs typeface="SiemensSans-Roman"/>
              </a:rPr>
              <a:t>scientific  </a:t>
            </a:r>
            <a:r>
              <a:rPr sz="1100" spc="-10" dirty="0" smtClean="0">
                <a:solidFill>
                  <a:srgbClr val="374247"/>
                </a:solidFill>
                <a:latin typeface="Siemens Sans"/>
                <a:cs typeface="SiemensSans-Roman"/>
              </a:rPr>
              <a:t>community, </a:t>
            </a:r>
            <a:r>
              <a:rPr sz="1100" spc="-5" dirty="0" smtClean="0">
                <a:solidFill>
                  <a:srgbClr val="374247"/>
                </a:solidFill>
                <a:latin typeface="Siemens Sans"/>
                <a:cs typeface="SiemensSans-Roman"/>
              </a:rPr>
              <a:t>investing </a:t>
            </a:r>
            <a:r>
              <a:rPr sz="1100" dirty="0" smtClean="0">
                <a:solidFill>
                  <a:srgbClr val="374247"/>
                </a:solidFill>
                <a:latin typeface="Siemens Sans"/>
                <a:cs typeface="SiemensSans-Roman"/>
              </a:rPr>
              <a:t>in </a:t>
            </a:r>
            <a:r>
              <a:rPr sz="1100" spc="-5" dirty="0" smtClean="0">
                <a:solidFill>
                  <a:srgbClr val="374247"/>
                </a:solidFill>
                <a:latin typeface="Siemens Sans"/>
                <a:cs typeface="SiemensSans-Roman"/>
              </a:rPr>
              <a:t>more</a:t>
            </a:r>
            <a:r>
              <a:rPr sz="1100" spc="-30" dirty="0" smtClean="0">
                <a:solidFill>
                  <a:srgbClr val="374247"/>
                </a:solidFill>
                <a:latin typeface="Siemens Sans"/>
                <a:cs typeface="SiemensSans-Roman"/>
              </a:rPr>
              <a:t> </a:t>
            </a:r>
            <a:r>
              <a:rPr sz="1100" spc="-5" dirty="0" smtClean="0">
                <a:solidFill>
                  <a:srgbClr val="374247"/>
                </a:solidFill>
                <a:latin typeface="Siemens Sans"/>
                <a:cs typeface="SiemensSans-Roman"/>
              </a:rPr>
              <a:t>than</a:t>
            </a:r>
            <a:r>
              <a:rPr lang="en-GB" sz="1100" dirty="0" smtClean="0">
                <a:latin typeface="Siemens Sans"/>
                <a:cs typeface="SiemensSans-Roman"/>
              </a:rPr>
              <a:t> </a:t>
            </a:r>
            <a:br>
              <a:rPr lang="en-GB" sz="1100" dirty="0" smtClean="0">
                <a:latin typeface="Siemens Sans"/>
                <a:cs typeface="SiemensSans-Roman"/>
              </a:rPr>
            </a:br>
            <a:r>
              <a:rPr sz="1100" b="1" dirty="0" smtClean="0">
                <a:solidFill>
                  <a:srgbClr val="374247"/>
                </a:solidFill>
                <a:latin typeface="Siemens Sans"/>
                <a:cs typeface="Siemens Sans"/>
              </a:rPr>
              <a:t>100 </a:t>
            </a:r>
            <a:r>
              <a:rPr sz="1100" b="1" spc="-5" dirty="0" smtClean="0">
                <a:solidFill>
                  <a:srgbClr val="374247"/>
                </a:solidFill>
                <a:latin typeface="Siemens Sans"/>
                <a:cs typeface="Siemens Sans"/>
              </a:rPr>
              <a:t>research </a:t>
            </a:r>
            <a:r>
              <a:rPr sz="1100" b="1" dirty="0" smtClean="0">
                <a:solidFill>
                  <a:srgbClr val="374247"/>
                </a:solidFill>
                <a:latin typeface="Siemens Sans"/>
                <a:cs typeface="Siemens Sans"/>
              </a:rPr>
              <a:t>projects</a:t>
            </a:r>
            <a:r>
              <a:rPr sz="1100" dirty="0" smtClean="0">
                <a:solidFill>
                  <a:srgbClr val="374247"/>
                </a:solidFill>
                <a:latin typeface="Siemens Sans"/>
                <a:cs typeface="SiemensSans-Roman"/>
              </a:rPr>
              <a:t>, including </a:t>
            </a:r>
            <a:r>
              <a:rPr sz="1100" spc="-5" dirty="0" smtClean="0">
                <a:solidFill>
                  <a:srgbClr val="374247"/>
                </a:solidFill>
                <a:latin typeface="Siemens Sans"/>
                <a:cs typeface="SiemensSans-Roman"/>
              </a:rPr>
              <a:t>the landmark </a:t>
            </a:r>
            <a:r>
              <a:rPr sz="1100" spc="5" dirty="0" smtClean="0">
                <a:solidFill>
                  <a:srgbClr val="374247"/>
                </a:solidFill>
                <a:latin typeface="Siemens Sans"/>
                <a:cs typeface="SiemensSans-Roman"/>
              </a:rPr>
              <a:t>smart </a:t>
            </a:r>
            <a:r>
              <a:rPr sz="1100" dirty="0" smtClean="0">
                <a:solidFill>
                  <a:srgbClr val="374247"/>
                </a:solidFill>
                <a:latin typeface="Siemens Sans"/>
                <a:cs typeface="SiemensSans-Roman"/>
              </a:rPr>
              <a:t>city </a:t>
            </a:r>
            <a:r>
              <a:rPr sz="1100" spc="-5" dirty="0" smtClean="0">
                <a:solidFill>
                  <a:srgbClr val="374247"/>
                </a:solidFill>
                <a:latin typeface="Siemens Sans"/>
                <a:cs typeface="SiemensSans-Roman"/>
              </a:rPr>
              <a:t>project,</a:t>
            </a:r>
            <a:r>
              <a:rPr sz="1100" spc="-20" dirty="0" smtClean="0">
                <a:solidFill>
                  <a:srgbClr val="374247"/>
                </a:solidFill>
                <a:latin typeface="Siemens Sans"/>
                <a:cs typeface="SiemensSans-Roman"/>
              </a:rPr>
              <a:t> </a:t>
            </a:r>
            <a:r>
              <a:rPr sz="1100" b="1" spc="-10" dirty="0" smtClean="0">
                <a:solidFill>
                  <a:srgbClr val="374247"/>
                </a:solidFill>
                <a:latin typeface="Siemens Sans"/>
                <a:cs typeface="Siemens Sans"/>
              </a:rPr>
              <a:t>Triangulum</a:t>
            </a:r>
            <a:endParaRPr sz="1100" dirty="0">
              <a:latin typeface="Siemens Sans"/>
              <a:cs typeface="Siemens Sans"/>
            </a:endParaRPr>
          </a:p>
        </p:txBody>
      </p:sp>
      <p:sp>
        <p:nvSpPr>
          <p:cNvPr id="26" name="object 3"/>
          <p:cNvSpPr/>
          <p:nvPr/>
        </p:nvSpPr>
        <p:spPr>
          <a:xfrm>
            <a:off x="-1" y="1448948"/>
            <a:ext cx="12196800" cy="1512000"/>
          </a:xfrm>
          <a:custGeom>
            <a:avLst/>
            <a:gdLst/>
            <a:ahLst/>
            <a:cxnLst/>
            <a:rect l="l" t="t" r="r" b="b"/>
            <a:pathLst>
              <a:path w="11082655" h="1418589">
                <a:moveTo>
                  <a:pt x="0" y="1418463"/>
                </a:moveTo>
                <a:lnTo>
                  <a:pt x="11082604" y="1418463"/>
                </a:lnTo>
                <a:lnTo>
                  <a:pt x="11082604" y="0"/>
                </a:lnTo>
                <a:lnTo>
                  <a:pt x="0" y="0"/>
                </a:lnTo>
                <a:lnTo>
                  <a:pt x="0" y="1418463"/>
                </a:lnTo>
                <a:close/>
              </a:path>
            </a:pathLst>
          </a:custGeom>
          <a:solidFill>
            <a:schemeClr val="bg2">
              <a:lumMod val="20000"/>
              <a:lumOff val="80000"/>
            </a:schemeClr>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27" name="object 4"/>
          <p:cNvSpPr txBox="1"/>
          <p:nvPr/>
        </p:nvSpPr>
        <p:spPr>
          <a:xfrm>
            <a:off x="845690" y="1628242"/>
            <a:ext cx="2694305" cy="1081405"/>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pPr>
            <a:r>
              <a:rPr sz="1500" b="1" spc="-50" dirty="0" smtClean="0">
                <a:solidFill>
                  <a:srgbClr val="B40055"/>
                </a:solidFill>
                <a:latin typeface="Siemens Sans"/>
                <a:cs typeface="Siemens Sans Bold"/>
              </a:rPr>
              <a:t>Responsible</a:t>
            </a:r>
            <a:r>
              <a:rPr sz="1500" b="1" spc="-15" dirty="0" smtClean="0">
                <a:solidFill>
                  <a:srgbClr val="B40055"/>
                </a:solidFill>
                <a:latin typeface="Siemens Sans"/>
                <a:cs typeface="Siemens Sans Bold"/>
              </a:rPr>
              <a:t> </a:t>
            </a:r>
            <a:r>
              <a:rPr sz="1500" b="1" spc="-50" dirty="0" smtClean="0">
                <a:solidFill>
                  <a:srgbClr val="B40055"/>
                </a:solidFill>
                <a:latin typeface="Siemens Sans"/>
                <a:cs typeface="Siemens Sans Bold"/>
              </a:rPr>
              <a:t>business</a:t>
            </a:r>
            <a:endParaRPr sz="1500" b="1" dirty="0" smtClean="0">
              <a:latin typeface="Siemens Sans"/>
              <a:cs typeface="Siemens Sans Bold"/>
            </a:endParaRPr>
          </a:p>
          <a:p>
            <a:pPr marL="12700" marR="5080">
              <a:lnSpc>
                <a:spcPct val="113700"/>
              </a:lnSpc>
              <a:spcBef>
                <a:spcPts val="580"/>
              </a:spcBef>
            </a:pPr>
            <a:r>
              <a:rPr sz="1100" spc="-5" dirty="0" smtClean="0">
                <a:solidFill>
                  <a:srgbClr val="374247"/>
                </a:solidFill>
                <a:latin typeface="Siemens Sans"/>
                <a:cs typeface="SiemensSans-Roman"/>
              </a:rPr>
              <a:t>Nearly </a:t>
            </a:r>
            <a:r>
              <a:rPr sz="1100" b="1" dirty="0">
                <a:solidFill>
                  <a:srgbClr val="374247"/>
                </a:solidFill>
                <a:latin typeface="Siemens Sans"/>
                <a:cs typeface="Siemens Sans"/>
              </a:rPr>
              <a:t>£300 per </a:t>
            </a:r>
            <a:r>
              <a:rPr sz="1100" b="1" spc="-10" dirty="0">
                <a:solidFill>
                  <a:srgbClr val="374247"/>
                </a:solidFill>
                <a:latin typeface="Siemens Sans"/>
                <a:cs typeface="Siemens Sans"/>
              </a:rPr>
              <a:t>employee </a:t>
            </a:r>
            <a:r>
              <a:rPr sz="1100" dirty="0">
                <a:solidFill>
                  <a:srgbClr val="374247"/>
                </a:solidFill>
                <a:latin typeface="Siemens Sans"/>
                <a:cs typeface="SiemensSans-Roman"/>
              </a:rPr>
              <a:t>goes straight  </a:t>
            </a:r>
            <a:r>
              <a:rPr sz="1100" spc="-10" dirty="0">
                <a:solidFill>
                  <a:srgbClr val="374247"/>
                </a:solidFill>
                <a:latin typeface="Siemens Sans"/>
                <a:cs typeface="SiemensSans-Roman"/>
              </a:rPr>
              <a:t>to </a:t>
            </a:r>
            <a:r>
              <a:rPr sz="1100" dirty="0">
                <a:solidFill>
                  <a:srgbClr val="374247"/>
                </a:solidFill>
                <a:latin typeface="Siemens Sans"/>
                <a:cs typeface="SiemensSans-Roman"/>
              </a:rPr>
              <a:t>community </a:t>
            </a:r>
            <a:r>
              <a:rPr sz="1100" spc="-5" dirty="0">
                <a:solidFill>
                  <a:srgbClr val="374247"/>
                </a:solidFill>
                <a:latin typeface="Siemens Sans"/>
                <a:cs typeface="SiemensSans-Roman"/>
              </a:rPr>
              <a:t>projects </a:t>
            </a:r>
            <a:r>
              <a:rPr sz="1100" dirty="0">
                <a:solidFill>
                  <a:srgbClr val="374247"/>
                </a:solidFill>
                <a:latin typeface="Siemens Sans"/>
                <a:cs typeface="SiemensSans-Roman"/>
              </a:rPr>
              <a:t>– a </a:t>
            </a:r>
            <a:r>
              <a:rPr sz="1100" spc="-5" dirty="0">
                <a:solidFill>
                  <a:srgbClr val="374247"/>
                </a:solidFill>
                <a:latin typeface="Siemens Sans"/>
                <a:cs typeface="SiemensSans-Roman"/>
              </a:rPr>
              <a:t>significant  contribution </a:t>
            </a:r>
            <a:r>
              <a:rPr sz="1100" spc="-10" dirty="0">
                <a:solidFill>
                  <a:srgbClr val="374247"/>
                </a:solidFill>
                <a:latin typeface="Siemens Sans"/>
                <a:cs typeface="SiemensSans-Roman"/>
              </a:rPr>
              <a:t>to </a:t>
            </a:r>
            <a:r>
              <a:rPr sz="1100" spc="-5" dirty="0">
                <a:solidFill>
                  <a:srgbClr val="374247"/>
                </a:solidFill>
                <a:latin typeface="Siemens Sans"/>
                <a:cs typeface="SiemensSans-Roman"/>
              </a:rPr>
              <a:t>the livelihoods </a:t>
            </a:r>
            <a:r>
              <a:rPr sz="1100" dirty="0">
                <a:solidFill>
                  <a:srgbClr val="374247"/>
                </a:solidFill>
                <a:latin typeface="Siemens Sans"/>
                <a:cs typeface="SiemensSans-Roman"/>
              </a:rPr>
              <a:t>of UK people  </a:t>
            </a:r>
            <a:r>
              <a:rPr sz="1100" spc="-5" dirty="0">
                <a:solidFill>
                  <a:srgbClr val="374247"/>
                </a:solidFill>
                <a:latin typeface="Siemens Sans"/>
                <a:cs typeface="SiemensSans-Roman"/>
              </a:rPr>
              <a:t>from </a:t>
            </a:r>
            <a:r>
              <a:rPr sz="1100" dirty="0">
                <a:solidFill>
                  <a:srgbClr val="374247"/>
                </a:solidFill>
                <a:latin typeface="Siemens Sans"/>
                <a:cs typeface="SiemensSans-Roman"/>
              </a:rPr>
              <a:t>all walks of</a:t>
            </a:r>
            <a:r>
              <a:rPr sz="1100" spc="-95" dirty="0">
                <a:solidFill>
                  <a:srgbClr val="374247"/>
                </a:solidFill>
                <a:latin typeface="Siemens Sans"/>
                <a:cs typeface="SiemensSans-Roman"/>
              </a:rPr>
              <a:t> </a:t>
            </a:r>
            <a:r>
              <a:rPr sz="1100" spc="-5" dirty="0">
                <a:solidFill>
                  <a:srgbClr val="374247"/>
                </a:solidFill>
                <a:latin typeface="Siemens Sans"/>
                <a:cs typeface="SiemensSans-Roman"/>
              </a:rPr>
              <a:t>life</a:t>
            </a:r>
            <a:endParaRPr sz="1100" dirty="0">
              <a:latin typeface="Siemens Sans"/>
              <a:cs typeface="SiemensSans-Roman"/>
            </a:endParaRPr>
          </a:p>
        </p:txBody>
      </p:sp>
      <p:sp>
        <p:nvSpPr>
          <p:cNvPr id="28" name="object 5"/>
          <p:cNvSpPr/>
          <p:nvPr/>
        </p:nvSpPr>
        <p:spPr>
          <a:xfrm>
            <a:off x="-1" y="4689308"/>
            <a:ext cx="12196800" cy="1512000"/>
          </a:xfrm>
          <a:custGeom>
            <a:avLst/>
            <a:gdLst/>
            <a:ahLst/>
            <a:cxnLst/>
            <a:rect l="l" t="t" r="r" b="b"/>
            <a:pathLst>
              <a:path w="11082655" h="1418589">
                <a:moveTo>
                  <a:pt x="0" y="1418462"/>
                </a:moveTo>
                <a:lnTo>
                  <a:pt x="11082604" y="1418462"/>
                </a:lnTo>
                <a:lnTo>
                  <a:pt x="11082604" y="0"/>
                </a:lnTo>
                <a:lnTo>
                  <a:pt x="0" y="0"/>
                </a:lnTo>
                <a:lnTo>
                  <a:pt x="0" y="1418462"/>
                </a:lnTo>
                <a:close/>
              </a:path>
            </a:pathLst>
          </a:custGeom>
          <a:solidFill>
            <a:schemeClr val="bg2">
              <a:lumMod val="20000"/>
              <a:lumOff val="80000"/>
            </a:schemeClr>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29" name="object 6"/>
          <p:cNvSpPr txBox="1"/>
          <p:nvPr/>
        </p:nvSpPr>
        <p:spPr>
          <a:xfrm>
            <a:off x="845690" y="4858224"/>
            <a:ext cx="3256279" cy="1102161"/>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spcBef>
                <a:spcPts val="900"/>
              </a:spcBef>
            </a:pPr>
            <a:r>
              <a:rPr lang="en-GB" sz="1500" b="1" spc="-55" dirty="0" smtClean="0">
                <a:solidFill>
                  <a:srgbClr val="45ABC9"/>
                </a:solidFill>
                <a:latin typeface="Siemens Sans"/>
                <a:cs typeface="Siemens Sans Bold"/>
              </a:rPr>
              <a:t>Transforming the UK’s infrastructure</a:t>
            </a:r>
            <a:endParaRPr sz="1500" b="1" dirty="0">
              <a:solidFill>
                <a:srgbClr val="45ABC9"/>
              </a:solidFill>
              <a:latin typeface="Siemens Sans"/>
              <a:cs typeface="Siemens Sans Bold"/>
            </a:endParaRPr>
          </a:p>
          <a:p>
            <a:pPr marL="12700" marR="106045">
              <a:lnSpc>
                <a:spcPct val="113700"/>
              </a:lnSpc>
              <a:spcBef>
                <a:spcPts val="900"/>
              </a:spcBef>
            </a:pPr>
            <a:r>
              <a:rPr sz="1100" dirty="0">
                <a:solidFill>
                  <a:srgbClr val="374247"/>
                </a:solidFill>
                <a:latin typeface="Siemens Sans"/>
                <a:cs typeface="SiemensSans-Roman"/>
              </a:rPr>
              <a:t>Recognising </a:t>
            </a:r>
            <a:r>
              <a:rPr sz="1100" spc="-5" dirty="0">
                <a:solidFill>
                  <a:srgbClr val="374247"/>
                </a:solidFill>
                <a:latin typeface="Siemens Sans"/>
                <a:cs typeface="SiemensSans-Roman"/>
              </a:rPr>
              <a:t>that </a:t>
            </a:r>
            <a:r>
              <a:rPr sz="1100" dirty="0">
                <a:solidFill>
                  <a:srgbClr val="374247"/>
                </a:solidFill>
                <a:latin typeface="Siemens Sans"/>
                <a:cs typeface="SiemensSans-Roman"/>
              </a:rPr>
              <a:t>rail is an </a:t>
            </a:r>
            <a:r>
              <a:rPr sz="1100" spc="-5" dirty="0">
                <a:solidFill>
                  <a:srgbClr val="374247"/>
                </a:solidFill>
                <a:latin typeface="Siemens Sans"/>
                <a:cs typeface="SiemensSans-Roman"/>
              </a:rPr>
              <a:t>integral </a:t>
            </a:r>
            <a:r>
              <a:rPr sz="1100" spc="5" dirty="0">
                <a:solidFill>
                  <a:srgbClr val="374247"/>
                </a:solidFill>
                <a:latin typeface="Siemens Sans"/>
                <a:cs typeface="SiemensSans-Roman"/>
              </a:rPr>
              <a:t>part </a:t>
            </a:r>
            <a:r>
              <a:rPr sz="1100" dirty="0">
                <a:solidFill>
                  <a:srgbClr val="374247"/>
                </a:solidFill>
                <a:latin typeface="Siemens Sans"/>
                <a:cs typeface="SiemensSans-Roman"/>
              </a:rPr>
              <a:t>of </a:t>
            </a:r>
            <a:r>
              <a:rPr sz="1100" spc="-5" dirty="0">
                <a:solidFill>
                  <a:srgbClr val="374247"/>
                </a:solidFill>
                <a:latin typeface="Siemens Sans"/>
                <a:cs typeface="SiemensSans-Roman"/>
              </a:rPr>
              <a:t>the  </a:t>
            </a:r>
            <a:r>
              <a:rPr sz="1100" dirty="0">
                <a:solidFill>
                  <a:srgbClr val="374247"/>
                </a:solidFill>
                <a:latin typeface="Siemens Sans"/>
                <a:cs typeface="SiemensSans-Roman"/>
              </a:rPr>
              <a:t>national </a:t>
            </a:r>
            <a:r>
              <a:rPr sz="1100" spc="-5" dirty="0">
                <a:solidFill>
                  <a:srgbClr val="374247"/>
                </a:solidFill>
                <a:latin typeface="Siemens Sans"/>
                <a:cs typeface="SiemensSans-Roman"/>
              </a:rPr>
              <a:t>daily commute, </a:t>
            </a:r>
            <a:r>
              <a:rPr sz="1100" dirty="0">
                <a:solidFill>
                  <a:srgbClr val="374247"/>
                </a:solidFill>
                <a:latin typeface="Siemens Sans"/>
                <a:cs typeface="SiemensSans-Roman"/>
              </a:rPr>
              <a:t>Siemens maintains </a:t>
            </a:r>
            <a:r>
              <a:rPr sz="1100" spc="-5" dirty="0">
                <a:solidFill>
                  <a:srgbClr val="374247"/>
                </a:solidFill>
                <a:latin typeface="Siemens Sans"/>
                <a:cs typeface="SiemensSans-Roman"/>
              </a:rPr>
              <a:t>more  than </a:t>
            </a:r>
            <a:r>
              <a:rPr sz="1100" b="1" dirty="0">
                <a:solidFill>
                  <a:srgbClr val="374247"/>
                </a:solidFill>
                <a:latin typeface="Siemens Sans"/>
                <a:cs typeface="Siemens Sans"/>
              </a:rPr>
              <a:t>370 trains </a:t>
            </a:r>
            <a:r>
              <a:rPr sz="1100" dirty="0">
                <a:solidFill>
                  <a:srgbClr val="374247"/>
                </a:solidFill>
                <a:latin typeface="Siemens Sans"/>
                <a:cs typeface="SiemensSans-Roman"/>
              </a:rPr>
              <a:t>in </a:t>
            </a:r>
            <a:r>
              <a:rPr sz="1100" spc="-5" dirty="0">
                <a:solidFill>
                  <a:srgbClr val="374247"/>
                </a:solidFill>
                <a:latin typeface="Siemens Sans"/>
                <a:cs typeface="SiemensSans-Roman"/>
              </a:rPr>
              <a:t>the </a:t>
            </a:r>
            <a:r>
              <a:rPr sz="1100" dirty="0">
                <a:solidFill>
                  <a:srgbClr val="374247"/>
                </a:solidFill>
                <a:latin typeface="Siemens Sans"/>
                <a:cs typeface="SiemensSans-Roman"/>
              </a:rPr>
              <a:t>UK, and </a:t>
            </a:r>
            <a:r>
              <a:rPr sz="1100" spc="-10" dirty="0">
                <a:solidFill>
                  <a:srgbClr val="374247"/>
                </a:solidFill>
                <a:latin typeface="Siemens Sans"/>
                <a:cs typeface="SiemensSans-Roman"/>
              </a:rPr>
              <a:t>invested </a:t>
            </a:r>
            <a:r>
              <a:rPr sz="1100" b="1" dirty="0">
                <a:solidFill>
                  <a:srgbClr val="374247"/>
                </a:solidFill>
                <a:latin typeface="Siemens Sans"/>
                <a:cs typeface="Siemens Sans"/>
              </a:rPr>
              <a:t>£300m</a:t>
            </a:r>
            <a:r>
              <a:rPr sz="1100" b="1" spc="-40" dirty="0">
                <a:solidFill>
                  <a:srgbClr val="374247"/>
                </a:solidFill>
                <a:latin typeface="Siemens Sans"/>
                <a:cs typeface="Siemens Sans"/>
              </a:rPr>
              <a:t> </a:t>
            </a:r>
            <a:r>
              <a:rPr sz="1100" dirty="0">
                <a:solidFill>
                  <a:srgbClr val="374247"/>
                </a:solidFill>
                <a:latin typeface="Siemens Sans"/>
                <a:cs typeface="SiemensSans-Roman"/>
              </a:rPr>
              <a:t>in  Thameslink</a:t>
            </a:r>
            <a:r>
              <a:rPr sz="1100" spc="-90" dirty="0">
                <a:solidFill>
                  <a:srgbClr val="374247"/>
                </a:solidFill>
                <a:latin typeface="Siemens Sans"/>
                <a:cs typeface="SiemensSans-Roman"/>
              </a:rPr>
              <a:t> </a:t>
            </a:r>
            <a:r>
              <a:rPr sz="1100" spc="-5" dirty="0">
                <a:solidFill>
                  <a:srgbClr val="374247"/>
                </a:solidFill>
                <a:latin typeface="Siemens Sans"/>
                <a:cs typeface="SiemensSans-Roman"/>
              </a:rPr>
              <a:t>depots</a:t>
            </a:r>
            <a:endParaRPr sz="1100" dirty="0">
              <a:latin typeface="Siemens Sans"/>
              <a:cs typeface="SiemensSans-Roman"/>
            </a:endParaRPr>
          </a:p>
        </p:txBody>
      </p:sp>
      <p:sp>
        <p:nvSpPr>
          <p:cNvPr id="30" name="object 7"/>
          <p:cNvSpPr txBox="1"/>
          <p:nvPr/>
        </p:nvSpPr>
        <p:spPr>
          <a:xfrm>
            <a:off x="4846838" y="5509595"/>
            <a:ext cx="3659504" cy="584775"/>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13030" indent="-100330">
              <a:lnSpc>
                <a:spcPct val="100000"/>
              </a:lnSpc>
              <a:spcBef>
                <a:spcPts val="600"/>
              </a:spcBef>
              <a:buFont typeface="SiemensSans-Roman"/>
              <a:buChar char="•"/>
              <a:tabLst>
                <a:tab pos="113664" algn="l"/>
              </a:tabLst>
            </a:pPr>
            <a:r>
              <a:rPr sz="1100" b="1" spc="-20" dirty="0">
                <a:solidFill>
                  <a:srgbClr val="73645A"/>
                </a:solidFill>
                <a:latin typeface="Siemens Sans"/>
                <a:cs typeface="Siemens Sans"/>
              </a:rPr>
              <a:t>1,000 </a:t>
            </a:r>
            <a:r>
              <a:rPr sz="1100" spc="-15" dirty="0">
                <a:solidFill>
                  <a:srgbClr val="73645A"/>
                </a:solidFill>
                <a:latin typeface="Siemens Sans"/>
                <a:cs typeface="SiemensSans-Roman"/>
              </a:rPr>
              <a:t>jobs </a:t>
            </a:r>
            <a:r>
              <a:rPr sz="1100" spc="-25" dirty="0">
                <a:solidFill>
                  <a:srgbClr val="73645A"/>
                </a:solidFill>
                <a:latin typeface="Siemens Sans"/>
                <a:cs typeface="SiemensSans-Roman"/>
              </a:rPr>
              <a:t>created </a:t>
            </a:r>
            <a:r>
              <a:rPr sz="1100" spc="-10" dirty="0">
                <a:solidFill>
                  <a:srgbClr val="73645A"/>
                </a:solidFill>
                <a:latin typeface="Siemens Sans"/>
                <a:cs typeface="SiemensSans-Roman"/>
              </a:rPr>
              <a:t>at </a:t>
            </a:r>
            <a:r>
              <a:rPr sz="1100" spc="-15" dirty="0">
                <a:solidFill>
                  <a:srgbClr val="73645A"/>
                </a:solidFill>
                <a:latin typeface="Siemens Sans"/>
                <a:cs typeface="SiemensSans-Roman"/>
              </a:rPr>
              <a:t>Hull wind </a:t>
            </a:r>
            <a:r>
              <a:rPr sz="1100" spc="-20" dirty="0">
                <a:solidFill>
                  <a:srgbClr val="73645A"/>
                </a:solidFill>
                <a:latin typeface="Siemens Sans"/>
                <a:cs typeface="SiemensSans-Roman"/>
              </a:rPr>
              <a:t>power</a:t>
            </a:r>
            <a:r>
              <a:rPr sz="1100" spc="-200" dirty="0">
                <a:solidFill>
                  <a:srgbClr val="73645A"/>
                </a:solidFill>
                <a:latin typeface="Siemens Sans"/>
                <a:cs typeface="SiemensSans-Roman"/>
              </a:rPr>
              <a:t> </a:t>
            </a:r>
            <a:r>
              <a:rPr sz="1100" spc="-20" dirty="0">
                <a:solidFill>
                  <a:srgbClr val="73645A"/>
                </a:solidFill>
                <a:latin typeface="Siemens Sans"/>
                <a:cs typeface="SiemensSans-Roman"/>
              </a:rPr>
              <a:t>facility</a:t>
            </a:r>
            <a:endParaRPr sz="1100" dirty="0">
              <a:latin typeface="Siemens Sans"/>
              <a:cs typeface="SiemensSans-Roman"/>
            </a:endParaRPr>
          </a:p>
          <a:p>
            <a:pPr marL="117475" indent="-104775">
              <a:lnSpc>
                <a:spcPct val="100000"/>
              </a:lnSpc>
              <a:spcBef>
                <a:spcPts val="600"/>
              </a:spcBef>
              <a:buFont typeface="SiemensSans-Roman"/>
              <a:buChar char="•"/>
              <a:tabLst>
                <a:tab pos="117475" algn="l"/>
              </a:tabLst>
            </a:pPr>
            <a:r>
              <a:rPr sz="1100" b="1" dirty="0">
                <a:solidFill>
                  <a:srgbClr val="73645A"/>
                </a:solidFill>
                <a:latin typeface="Siemens Sans"/>
                <a:cs typeface="Siemens Sans"/>
              </a:rPr>
              <a:t>50% </a:t>
            </a:r>
            <a:r>
              <a:rPr sz="1100" dirty="0">
                <a:solidFill>
                  <a:srgbClr val="73645A"/>
                </a:solidFill>
                <a:latin typeface="Siemens Sans"/>
                <a:cs typeface="SiemensSans-Roman"/>
              </a:rPr>
              <a:t>of UK wind </a:t>
            </a:r>
            <a:r>
              <a:rPr sz="1100" spc="-5" dirty="0">
                <a:solidFill>
                  <a:srgbClr val="73645A"/>
                </a:solidFill>
                <a:latin typeface="Siemens Sans"/>
                <a:cs typeface="SiemensSans-Roman"/>
              </a:rPr>
              <a:t>energy </a:t>
            </a:r>
            <a:r>
              <a:rPr sz="1100" dirty="0">
                <a:solidFill>
                  <a:srgbClr val="73645A"/>
                </a:solidFill>
                <a:latin typeface="Siemens Sans"/>
                <a:cs typeface="SiemensSans-Roman"/>
              </a:rPr>
              <a:t>is </a:t>
            </a:r>
            <a:r>
              <a:rPr sz="1100" spc="-5" dirty="0">
                <a:solidFill>
                  <a:srgbClr val="73645A"/>
                </a:solidFill>
                <a:latin typeface="Siemens Sans"/>
                <a:cs typeface="SiemensSans-Roman"/>
              </a:rPr>
              <a:t>generated </a:t>
            </a:r>
            <a:r>
              <a:rPr sz="1100" spc="-10" dirty="0">
                <a:solidFill>
                  <a:srgbClr val="73645A"/>
                </a:solidFill>
                <a:latin typeface="Siemens Sans"/>
                <a:cs typeface="SiemensSans-Roman"/>
              </a:rPr>
              <a:t>by </a:t>
            </a:r>
            <a:r>
              <a:rPr sz="1100" dirty="0">
                <a:solidFill>
                  <a:srgbClr val="73645A"/>
                </a:solidFill>
                <a:latin typeface="Siemens Sans"/>
                <a:cs typeface="SiemensSans-Roman"/>
              </a:rPr>
              <a:t>Siemens</a:t>
            </a:r>
            <a:r>
              <a:rPr sz="1100" spc="-40" dirty="0">
                <a:solidFill>
                  <a:srgbClr val="73645A"/>
                </a:solidFill>
                <a:latin typeface="Siemens Sans"/>
                <a:cs typeface="SiemensSans-Roman"/>
              </a:rPr>
              <a:t> </a:t>
            </a:r>
            <a:r>
              <a:rPr sz="1100" dirty="0">
                <a:solidFill>
                  <a:srgbClr val="73645A"/>
                </a:solidFill>
                <a:latin typeface="Siemens Sans"/>
                <a:cs typeface="SiemensSans-Roman"/>
              </a:rPr>
              <a:t>turbines</a:t>
            </a:r>
            <a:endParaRPr sz="1100" dirty="0">
              <a:latin typeface="Siemens Sans"/>
              <a:cs typeface="SiemensSans-Roman"/>
            </a:endParaRPr>
          </a:p>
        </p:txBody>
      </p:sp>
      <p:sp>
        <p:nvSpPr>
          <p:cNvPr id="31" name="object 8"/>
          <p:cNvSpPr txBox="1"/>
          <p:nvPr/>
        </p:nvSpPr>
        <p:spPr>
          <a:xfrm>
            <a:off x="4887957" y="4723854"/>
            <a:ext cx="2253892" cy="70231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pPr>
            <a:r>
              <a:rPr lang="en-GB" sz="4400" b="1" spc="-150" dirty="0" smtClean="0">
                <a:solidFill>
                  <a:srgbClr val="45ABC9"/>
                </a:solidFill>
                <a:latin typeface="Siemens Sans"/>
                <a:cs typeface="Siemens Sans Black"/>
              </a:rPr>
              <a:t>£310m</a:t>
            </a:r>
            <a:endParaRPr sz="4400" b="1" spc="-150" dirty="0">
              <a:solidFill>
                <a:srgbClr val="45ABC9"/>
              </a:solidFill>
              <a:latin typeface="Siemens Sans"/>
              <a:cs typeface="Siemens Sans Black"/>
            </a:endParaRPr>
          </a:p>
        </p:txBody>
      </p:sp>
      <p:sp>
        <p:nvSpPr>
          <p:cNvPr id="32" name="object 9"/>
          <p:cNvSpPr txBox="1"/>
          <p:nvPr/>
        </p:nvSpPr>
        <p:spPr>
          <a:xfrm>
            <a:off x="6815966" y="4892665"/>
            <a:ext cx="1692275" cy="44577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marR="5080">
              <a:lnSpc>
                <a:spcPct val="100000"/>
              </a:lnSpc>
            </a:pPr>
            <a:r>
              <a:rPr sz="1400" b="1" dirty="0">
                <a:solidFill>
                  <a:srgbClr val="45ABC9"/>
                </a:solidFill>
                <a:latin typeface="Siemens Sans"/>
                <a:cs typeface="Siemens Sans Black"/>
              </a:rPr>
              <a:t>wind </a:t>
            </a:r>
            <a:r>
              <a:rPr sz="1400" b="1" spc="-10" dirty="0" smtClean="0">
                <a:solidFill>
                  <a:srgbClr val="45ABC9"/>
                </a:solidFill>
                <a:latin typeface="Siemens Sans"/>
                <a:cs typeface="Siemens Sans Black"/>
              </a:rPr>
              <a:t>power</a:t>
            </a:r>
            <a:r>
              <a:rPr lang="en-GB" sz="1400" b="1" spc="-10" dirty="0" smtClean="0">
                <a:solidFill>
                  <a:srgbClr val="45ABC9"/>
                </a:solidFill>
                <a:latin typeface="Siemens Sans"/>
                <a:cs typeface="Siemens Sans Black"/>
              </a:rPr>
              <a:t> facility</a:t>
            </a:r>
            <a:r>
              <a:rPr sz="1400" b="1" spc="-75" dirty="0" smtClean="0">
                <a:solidFill>
                  <a:srgbClr val="45ABC9"/>
                </a:solidFill>
                <a:latin typeface="Siemens Sans"/>
                <a:cs typeface="Siemens Sans Black"/>
              </a:rPr>
              <a:t> </a:t>
            </a:r>
            <a:r>
              <a:rPr sz="1400" b="1" spc="-10" dirty="0" smtClean="0">
                <a:solidFill>
                  <a:srgbClr val="45ABC9"/>
                </a:solidFill>
                <a:latin typeface="Siemens Sans"/>
                <a:cs typeface="Siemens Sans Black"/>
              </a:rPr>
              <a:t>investment</a:t>
            </a:r>
            <a:endParaRPr sz="1400" b="1" dirty="0">
              <a:solidFill>
                <a:srgbClr val="45ABC9"/>
              </a:solidFill>
              <a:latin typeface="Siemens Sans"/>
              <a:cs typeface="Siemens Sans Black"/>
            </a:endParaRPr>
          </a:p>
        </p:txBody>
      </p:sp>
      <p:sp>
        <p:nvSpPr>
          <p:cNvPr id="36" name="object 13"/>
          <p:cNvSpPr txBox="1"/>
          <p:nvPr/>
        </p:nvSpPr>
        <p:spPr>
          <a:xfrm>
            <a:off x="4958969" y="2072553"/>
            <a:ext cx="2703134" cy="700192"/>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0014" marR="5080" indent="-107314">
              <a:lnSpc>
                <a:spcPts val="1200"/>
              </a:lnSpc>
              <a:spcBef>
                <a:spcPts val="600"/>
              </a:spcBef>
              <a:buFont typeface="SiemensSans-Roman"/>
              <a:buChar char="•"/>
              <a:tabLst>
                <a:tab pos="120650" algn="l"/>
              </a:tabLst>
            </a:pPr>
            <a:r>
              <a:rPr sz="1100" b="1" spc="5" dirty="0">
                <a:solidFill>
                  <a:srgbClr val="73645A"/>
                </a:solidFill>
                <a:latin typeface="Siemens Sans"/>
                <a:cs typeface="Siemens Sans"/>
              </a:rPr>
              <a:t>10% </a:t>
            </a:r>
            <a:r>
              <a:rPr sz="1100" spc="5" dirty="0">
                <a:solidFill>
                  <a:srgbClr val="73645A"/>
                </a:solidFill>
                <a:latin typeface="Siemens Sans"/>
                <a:cs typeface="SiemensSans-Roman"/>
              </a:rPr>
              <a:t>of </a:t>
            </a:r>
            <a:r>
              <a:rPr sz="1100" dirty="0">
                <a:solidFill>
                  <a:srgbClr val="73645A"/>
                </a:solidFill>
                <a:latin typeface="Siemens Sans"/>
                <a:cs typeface="SiemensSans-Roman"/>
              </a:rPr>
              <a:t>employees </a:t>
            </a:r>
            <a:r>
              <a:rPr sz="1100" spc="5" dirty="0">
                <a:solidFill>
                  <a:srgbClr val="73645A"/>
                </a:solidFill>
                <a:latin typeface="Siemens Sans"/>
                <a:cs typeface="SiemensSans-Roman"/>
              </a:rPr>
              <a:t>donate </a:t>
            </a:r>
            <a:r>
              <a:rPr sz="1100" spc="-5" dirty="0">
                <a:solidFill>
                  <a:srgbClr val="73645A"/>
                </a:solidFill>
                <a:latin typeface="Siemens Sans"/>
                <a:cs typeface="SiemensSans-Roman"/>
              </a:rPr>
              <a:t>to </a:t>
            </a:r>
            <a:r>
              <a:rPr sz="1100" spc="5" dirty="0">
                <a:solidFill>
                  <a:srgbClr val="73645A"/>
                </a:solidFill>
                <a:latin typeface="Siemens Sans"/>
                <a:cs typeface="SiemensSans-Roman"/>
              </a:rPr>
              <a:t>charity  through </a:t>
            </a:r>
            <a:r>
              <a:rPr sz="1100" dirty="0">
                <a:solidFill>
                  <a:srgbClr val="73645A"/>
                </a:solidFill>
                <a:latin typeface="Siemens Sans"/>
                <a:cs typeface="SiemensSans-Roman"/>
              </a:rPr>
              <a:t>payroll</a:t>
            </a:r>
            <a:r>
              <a:rPr sz="1100" spc="-50" dirty="0">
                <a:solidFill>
                  <a:srgbClr val="73645A"/>
                </a:solidFill>
                <a:latin typeface="Siemens Sans"/>
                <a:cs typeface="SiemensSans-Roman"/>
              </a:rPr>
              <a:t> </a:t>
            </a:r>
            <a:r>
              <a:rPr sz="1100" spc="10" dirty="0" smtClean="0">
                <a:solidFill>
                  <a:srgbClr val="73645A"/>
                </a:solidFill>
                <a:latin typeface="Siemens Sans"/>
                <a:cs typeface="SiemensSans-Roman"/>
              </a:rPr>
              <a:t>giving</a:t>
            </a:r>
            <a:endParaRPr lang="en-GB" sz="1100" spc="10" dirty="0" smtClean="0">
              <a:solidFill>
                <a:srgbClr val="73645A"/>
              </a:solidFill>
              <a:latin typeface="Siemens Sans"/>
              <a:cs typeface="SiemensSans-Roman"/>
            </a:endParaRPr>
          </a:p>
          <a:p>
            <a:pPr marL="120014" marR="5080" indent="-107314">
              <a:lnSpc>
                <a:spcPts val="1200"/>
              </a:lnSpc>
              <a:spcBef>
                <a:spcPts val="600"/>
              </a:spcBef>
              <a:buFont typeface="SiemensSans-Roman"/>
              <a:buChar char="•"/>
              <a:tabLst>
                <a:tab pos="120650" algn="l"/>
              </a:tabLst>
            </a:pPr>
            <a:r>
              <a:rPr lang="en-US" sz="1100" spc="5" dirty="0">
                <a:solidFill>
                  <a:srgbClr val="73645A"/>
                </a:solidFill>
                <a:latin typeface="Siemens Sans"/>
                <a:cs typeface="SiemensSans-Roman"/>
              </a:rPr>
              <a:t>Equivalent </a:t>
            </a:r>
            <a:r>
              <a:rPr lang="en-US" sz="1100" b="1" spc="5" dirty="0">
                <a:solidFill>
                  <a:srgbClr val="73645A"/>
                </a:solidFill>
                <a:latin typeface="Siemens Sans"/>
                <a:cs typeface="Siemens Sans"/>
              </a:rPr>
              <a:t>£12m </a:t>
            </a:r>
            <a:r>
              <a:rPr lang="en-US" sz="1100" spc="5" dirty="0">
                <a:solidFill>
                  <a:srgbClr val="73645A"/>
                </a:solidFill>
                <a:latin typeface="Siemens Sans"/>
                <a:cs typeface="SiemensSans-Roman"/>
              </a:rPr>
              <a:t>per </a:t>
            </a:r>
            <a:r>
              <a:rPr lang="en-US" sz="1100" dirty="0">
                <a:solidFill>
                  <a:srgbClr val="73645A"/>
                </a:solidFill>
                <a:latin typeface="Siemens Sans"/>
                <a:cs typeface="SiemensSans-Roman"/>
              </a:rPr>
              <a:t>year </a:t>
            </a:r>
            <a:r>
              <a:rPr lang="en-US" sz="1100" spc="-5" dirty="0">
                <a:solidFill>
                  <a:srgbClr val="73645A"/>
                </a:solidFill>
                <a:latin typeface="Siemens Sans"/>
                <a:cs typeface="SiemensSans-Roman"/>
              </a:rPr>
              <a:t>to </a:t>
            </a:r>
            <a:r>
              <a:rPr lang="en-US" sz="1100" spc="10" dirty="0">
                <a:solidFill>
                  <a:srgbClr val="73645A"/>
                </a:solidFill>
                <a:latin typeface="Siemens Sans"/>
                <a:cs typeface="SiemensSans-Roman"/>
              </a:rPr>
              <a:t>participants in  </a:t>
            </a:r>
            <a:r>
              <a:rPr lang="en-US" sz="1100" spc="5" dirty="0">
                <a:solidFill>
                  <a:srgbClr val="73645A"/>
                </a:solidFill>
                <a:latin typeface="Siemens Sans"/>
                <a:cs typeface="SiemensSans-Roman"/>
              </a:rPr>
              <a:t>Siemens education</a:t>
            </a:r>
            <a:r>
              <a:rPr lang="en-US" sz="1100" spc="10" dirty="0">
                <a:solidFill>
                  <a:srgbClr val="73645A"/>
                </a:solidFill>
                <a:latin typeface="Siemens Sans"/>
                <a:cs typeface="SiemensSans-Roman"/>
              </a:rPr>
              <a:t> </a:t>
            </a:r>
            <a:r>
              <a:rPr lang="en-US" sz="1100" spc="5" dirty="0" smtClean="0">
                <a:solidFill>
                  <a:srgbClr val="73645A"/>
                </a:solidFill>
                <a:latin typeface="Siemens Sans"/>
                <a:cs typeface="SiemensSans-Roman"/>
              </a:rPr>
              <a:t>projects</a:t>
            </a:r>
            <a:endParaRPr lang="en-US" sz="1100" dirty="0">
              <a:latin typeface="Siemens Sans"/>
              <a:cs typeface="SiemensSans-Roman"/>
            </a:endParaRPr>
          </a:p>
        </p:txBody>
      </p:sp>
      <p:grpSp>
        <p:nvGrpSpPr>
          <p:cNvPr id="3" name="Group 2"/>
          <p:cNvGrpSpPr/>
          <p:nvPr/>
        </p:nvGrpSpPr>
        <p:grpSpPr>
          <a:xfrm>
            <a:off x="8475439" y="3111251"/>
            <a:ext cx="3151980" cy="1185494"/>
            <a:chOff x="8563770" y="3003937"/>
            <a:chExt cx="3151980" cy="1185494"/>
          </a:xfrm>
        </p:grpSpPr>
        <p:sp>
          <p:nvSpPr>
            <p:cNvPr id="33" name="object 10"/>
            <p:cNvSpPr txBox="1"/>
            <p:nvPr/>
          </p:nvSpPr>
          <p:spPr>
            <a:xfrm>
              <a:off x="8563770" y="3689294"/>
              <a:ext cx="3151980" cy="500137"/>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17475" marR="173355" indent="-104775">
                <a:lnSpc>
                  <a:spcPts val="1120"/>
                </a:lnSpc>
                <a:spcBef>
                  <a:spcPts val="600"/>
                </a:spcBef>
                <a:buChar char="•"/>
                <a:tabLst>
                  <a:tab pos="117475" algn="l"/>
                </a:tabLst>
              </a:pPr>
              <a:r>
                <a:rPr sz="1100" spc="-5" dirty="0">
                  <a:solidFill>
                    <a:srgbClr val="73645A"/>
                  </a:solidFill>
                  <a:latin typeface="Siemens Sans"/>
                  <a:cs typeface="SiemensSans-Roman"/>
                </a:rPr>
                <a:t>Productive employees: </a:t>
              </a:r>
              <a:r>
                <a:rPr sz="1100" b="1" spc="-65" dirty="0">
                  <a:solidFill>
                    <a:srgbClr val="73645A"/>
                  </a:solidFill>
                  <a:latin typeface="Siemens Sans"/>
                  <a:cs typeface="Siemens Sans"/>
                </a:rPr>
                <a:t>£</a:t>
              </a:r>
              <a:r>
                <a:rPr sz="1100" b="1" spc="-65" dirty="0" smtClean="0">
                  <a:solidFill>
                    <a:srgbClr val="73645A"/>
                  </a:solidFill>
                  <a:latin typeface="Siemens Sans"/>
                  <a:cs typeface="Siemens Sans"/>
                </a:rPr>
                <a:t>110k </a:t>
              </a:r>
              <a:r>
                <a:rPr sz="1100" dirty="0">
                  <a:solidFill>
                    <a:srgbClr val="73645A"/>
                  </a:solidFill>
                  <a:latin typeface="Siemens Sans"/>
                  <a:cs typeface="SiemensSans-Roman"/>
                </a:rPr>
                <a:t>of </a:t>
              </a:r>
              <a:r>
                <a:rPr sz="1100" spc="-10" dirty="0">
                  <a:solidFill>
                    <a:srgbClr val="73645A"/>
                  </a:solidFill>
                  <a:latin typeface="Siemens Sans"/>
                  <a:cs typeface="SiemensSans-Roman"/>
                </a:rPr>
                <a:t>GVA*  </a:t>
              </a:r>
              <a:r>
                <a:rPr sz="1100" dirty="0">
                  <a:solidFill>
                    <a:srgbClr val="73645A"/>
                  </a:solidFill>
                  <a:latin typeface="Siemens Sans"/>
                  <a:cs typeface="SiemensSans-Roman"/>
                </a:rPr>
                <a:t>per person, per</a:t>
              </a:r>
              <a:r>
                <a:rPr sz="1100" spc="-100" dirty="0">
                  <a:solidFill>
                    <a:srgbClr val="73645A"/>
                  </a:solidFill>
                  <a:latin typeface="Siemens Sans"/>
                  <a:cs typeface="SiemensSans-Roman"/>
                </a:rPr>
                <a:t> </a:t>
              </a:r>
              <a:r>
                <a:rPr sz="1100" spc="-5" dirty="0">
                  <a:solidFill>
                    <a:srgbClr val="73645A"/>
                  </a:solidFill>
                  <a:latin typeface="Siemens Sans"/>
                  <a:cs typeface="SiemensSans-Roman"/>
                </a:rPr>
                <a:t>year</a:t>
              </a:r>
              <a:endParaRPr sz="1100" dirty="0">
                <a:latin typeface="Siemens Sans"/>
                <a:cs typeface="SiemensSans-Roman"/>
              </a:endParaRPr>
            </a:p>
            <a:p>
              <a:pPr marL="117475" marR="5080" indent="-104775">
                <a:lnSpc>
                  <a:spcPts val="1120"/>
                </a:lnSpc>
                <a:spcBef>
                  <a:spcPts val="600"/>
                </a:spcBef>
                <a:buChar char="•"/>
                <a:tabLst>
                  <a:tab pos="117475" algn="l"/>
                </a:tabLst>
              </a:pPr>
              <a:r>
                <a:rPr sz="1100" spc="-10" dirty="0">
                  <a:solidFill>
                    <a:srgbClr val="73645A"/>
                  </a:solidFill>
                  <a:latin typeface="Siemens Sans"/>
                  <a:cs typeface="SiemensSans-Roman"/>
                </a:rPr>
                <a:t>Involved </a:t>
              </a:r>
              <a:r>
                <a:rPr sz="1100" dirty="0">
                  <a:solidFill>
                    <a:srgbClr val="73645A"/>
                  </a:solidFill>
                  <a:latin typeface="Siemens Sans"/>
                  <a:cs typeface="SiemensSans-Roman"/>
                </a:rPr>
                <a:t>in </a:t>
              </a:r>
              <a:r>
                <a:rPr sz="1100" b="1" dirty="0">
                  <a:solidFill>
                    <a:srgbClr val="73645A"/>
                  </a:solidFill>
                  <a:latin typeface="Siemens Sans"/>
                  <a:cs typeface="Siemens Sans"/>
                </a:rPr>
                <a:t>£200m </a:t>
              </a:r>
              <a:r>
                <a:rPr sz="1100" dirty="0">
                  <a:solidFill>
                    <a:srgbClr val="73645A"/>
                  </a:solidFill>
                  <a:latin typeface="Siemens Sans"/>
                  <a:cs typeface="SiemensSans-Roman"/>
                </a:rPr>
                <a:t>worth of UK</a:t>
              </a:r>
              <a:r>
                <a:rPr sz="1100" spc="-35" dirty="0">
                  <a:solidFill>
                    <a:srgbClr val="73645A"/>
                  </a:solidFill>
                  <a:latin typeface="Siemens Sans"/>
                  <a:cs typeface="SiemensSans-Roman"/>
                </a:rPr>
                <a:t> </a:t>
              </a:r>
              <a:r>
                <a:rPr sz="1100" spc="-10" dirty="0">
                  <a:solidFill>
                    <a:srgbClr val="73645A"/>
                  </a:solidFill>
                  <a:latin typeface="Siemens Sans"/>
                  <a:cs typeface="SiemensSans-Roman"/>
                </a:rPr>
                <a:t>research  </a:t>
              </a:r>
              <a:r>
                <a:rPr sz="1100" spc="-5" dirty="0">
                  <a:solidFill>
                    <a:srgbClr val="73645A"/>
                  </a:solidFill>
                  <a:latin typeface="Siemens Sans"/>
                  <a:cs typeface="SiemensSans-Roman"/>
                </a:rPr>
                <a:t>projects</a:t>
              </a:r>
              <a:endParaRPr sz="1100" dirty="0">
                <a:latin typeface="Siemens Sans"/>
                <a:cs typeface="SiemensSans-Roman"/>
              </a:endParaRPr>
            </a:p>
          </p:txBody>
        </p:sp>
        <p:sp>
          <p:nvSpPr>
            <p:cNvPr id="34" name="object 11"/>
            <p:cNvSpPr txBox="1"/>
            <p:nvPr/>
          </p:nvSpPr>
          <p:spPr>
            <a:xfrm>
              <a:off x="8589670" y="3003937"/>
              <a:ext cx="1580524" cy="70231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pPr>
              <a:r>
                <a:rPr sz="4400" b="1" spc="-225" dirty="0" smtClean="0">
                  <a:solidFill>
                    <a:srgbClr val="F08000"/>
                  </a:solidFill>
                  <a:latin typeface="Siemens Sans"/>
                  <a:cs typeface="Siemens Sans Black"/>
                </a:rPr>
                <a:t>3,900</a:t>
              </a:r>
              <a:endParaRPr sz="4400" b="1" dirty="0">
                <a:latin typeface="Siemens Sans"/>
                <a:cs typeface="Siemens Sans Black"/>
              </a:endParaRPr>
            </a:p>
          </p:txBody>
        </p:sp>
        <p:sp>
          <p:nvSpPr>
            <p:cNvPr id="40" name="object 17"/>
            <p:cNvSpPr txBox="1"/>
            <p:nvPr/>
          </p:nvSpPr>
          <p:spPr>
            <a:xfrm>
              <a:off x="10170194" y="3160286"/>
              <a:ext cx="1129665" cy="44577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marR="5080">
                <a:lnSpc>
                  <a:spcPct val="100000"/>
                </a:lnSpc>
              </a:pPr>
              <a:r>
                <a:rPr sz="1400" b="1" spc="-5" dirty="0">
                  <a:solidFill>
                    <a:srgbClr val="F08000"/>
                  </a:solidFill>
                  <a:latin typeface="Siemens Sans"/>
                  <a:cs typeface="Siemens Sans Black"/>
                </a:rPr>
                <a:t>patents</a:t>
              </a:r>
              <a:r>
                <a:rPr sz="1400" b="1" spc="-60" dirty="0">
                  <a:solidFill>
                    <a:srgbClr val="F08000"/>
                  </a:solidFill>
                  <a:latin typeface="Siemens Sans"/>
                  <a:cs typeface="Siemens Sans Black"/>
                </a:rPr>
                <a:t> </a:t>
              </a:r>
              <a:r>
                <a:rPr sz="1400" b="1" spc="-5" dirty="0">
                  <a:solidFill>
                    <a:srgbClr val="F08000"/>
                  </a:solidFill>
                  <a:latin typeface="Siemens Sans"/>
                  <a:cs typeface="Siemens Sans Black"/>
                </a:rPr>
                <a:t>filed  </a:t>
              </a:r>
              <a:r>
                <a:rPr sz="1400" b="1" dirty="0">
                  <a:solidFill>
                    <a:srgbClr val="F08000"/>
                  </a:solidFill>
                  <a:latin typeface="Siemens Sans"/>
                  <a:cs typeface="Siemens Sans Black"/>
                </a:rPr>
                <a:t>in the</a:t>
              </a:r>
              <a:r>
                <a:rPr sz="1400" b="1" spc="-100" dirty="0">
                  <a:solidFill>
                    <a:srgbClr val="F08000"/>
                  </a:solidFill>
                  <a:latin typeface="Siemens Sans"/>
                  <a:cs typeface="Siemens Sans Black"/>
                </a:rPr>
                <a:t> </a:t>
              </a:r>
              <a:r>
                <a:rPr sz="1400" b="1" dirty="0">
                  <a:solidFill>
                    <a:srgbClr val="F08000"/>
                  </a:solidFill>
                  <a:latin typeface="Siemens Sans"/>
                  <a:cs typeface="Siemens Sans Black"/>
                </a:rPr>
                <a:t>UK</a:t>
              </a:r>
              <a:endParaRPr sz="1400" b="1" dirty="0">
                <a:latin typeface="Siemens Sans"/>
                <a:cs typeface="Siemens Sans Black"/>
              </a:endParaRPr>
            </a:p>
          </p:txBody>
        </p:sp>
      </p:grpSp>
      <p:sp>
        <p:nvSpPr>
          <p:cNvPr id="44" name="TextBox 43"/>
          <p:cNvSpPr txBox="1"/>
          <p:nvPr/>
        </p:nvSpPr>
        <p:spPr>
          <a:xfrm>
            <a:off x="4739597" y="4082301"/>
            <a:ext cx="184666" cy="369332"/>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p:txBody>
      </p:sp>
      <p:sp>
        <p:nvSpPr>
          <p:cNvPr id="45" name="object 8"/>
          <p:cNvSpPr txBox="1"/>
          <p:nvPr/>
        </p:nvSpPr>
        <p:spPr>
          <a:xfrm>
            <a:off x="4963785" y="1393109"/>
            <a:ext cx="1855470" cy="702310"/>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pPr>
            <a:r>
              <a:rPr sz="4400" b="1" spc="-50" dirty="0" smtClean="0">
                <a:solidFill>
                  <a:srgbClr val="A20044"/>
                </a:solidFill>
                <a:latin typeface="Siemens Sans"/>
                <a:cs typeface="Siemens Sans Black"/>
              </a:rPr>
              <a:t>£</a:t>
            </a:r>
            <a:r>
              <a:rPr lang="en-GB" sz="4400" b="1" spc="-315" dirty="0" smtClean="0">
                <a:solidFill>
                  <a:srgbClr val="A20044"/>
                </a:solidFill>
                <a:latin typeface="Siemens Sans"/>
                <a:cs typeface="Siemens Sans Black"/>
              </a:rPr>
              <a:t>3m</a:t>
            </a:r>
            <a:endParaRPr sz="4400" b="1" dirty="0">
              <a:solidFill>
                <a:srgbClr val="A20044"/>
              </a:solidFill>
              <a:latin typeface="Siemens Sans"/>
              <a:cs typeface="Siemens Sans Black"/>
            </a:endParaRPr>
          </a:p>
        </p:txBody>
      </p:sp>
      <p:sp>
        <p:nvSpPr>
          <p:cNvPr id="46" name="object 9"/>
          <p:cNvSpPr txBox="1"/>
          <p:nvPr/>
        </p:nvSpPr>
        <p:spPr>
          <a:xfrm>
            <a:off x="6207100" y="1567104"/>
            <a:ext cx="1692275" cy="430887"/>
          </a:xfrm>
          <a:prstGeom prst="rect">
            <a:avLst/>
          </a:prstGeom>
        </p:spPr>
        <p:txBody>
          <a:bodyPr vert="horz"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marR="5080">
              <a:lnSpc>
                <a:spcPct val="100000"/>
              </a:lnSpc>
            </a:pPr>
            <a:r>
              <a:rPr lang="en-GB" sz="1400" b="1" dirty="0" smtClean="0">
                <a:solidFill>
                  <a:srgbClr val="A20044"/>
                </a:solidFill>
                <a:latin typeface="Siemens Sans"/>
                <a:cs typeface="Siemens Sans Black"/>
              </a:rPr>
              <a:t>donations</a:t>
            </a:r>
            <a:br>
              <a:rPr lang="en-GB" sz="1400" b="1" dirty="0" smtClean="0">
                <a:solidFill>
                  <a:srgbClr val="A20044"/>
                </a:solidFill>
                <a:latin typeface="Siemens Sans"/>
                <a:cs typeface="Siemens Sans Black"/>
              </a:rPr>
            </a:br>
            <a:r>
              <a:rPr lang="en-GB" sz="1400" b="1" dirty="0" smtClean="0">
                <a:solidFill>
                  <a:srgbClr val="A20044"/>
                </a:solidFill>
                <a:latin typeface="Siemens Sans"/>
                <a:cs typeface="Siemens Sans Black"/>
              </a:rPr>
              <a:t>per year</a:t>
            </a:r>
            <a:endParaRPr sz="1400" b="1" dirty="0">
              <a:solidFill>
                <a:srgbClr val="A20044"/>
              </a:solidFill>
              <a:latin typeface="Siemens Sans"/>
              <a:cs typeface="Siemens Sans Black"/>
            </a:endParaRPr>
          </a:p>
        </p:txBody>
      </p:sp>
      <p:pic>
        <p:nvPicPr>
          <p:cNvPr id="50" name="Picture 49" descr="Transforming_the_UK's_infrastructure.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37751" y="4756757"/>
            <a:ext cx="1762107" cy="1210490"/>
          </a:xfrm>
          <a:prstGeom prst="rect">
            <a:avLst/>
          </a:prstGeom>
        </p:spPr>
      </p:pic>
      <p:pic>
        <p:nvPicPr>
          <p:cNvPr id="52" name="Picture 51" descr="Responsible_Business.ep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64238" y="1569795"/>
            <a:ext cx="2040580" cy="1198298"/>
          </a:xfrm>
          <a:prstGeom prst="rect">
            <a:avLst/>
          </a:prstGeom>
        </p:spPr>
      </p:pic>
      <p:pic>
        <p:nvPicPr>
          <p:cNvPr id="54" name="Picture 53" descr="Productivity_and_innovation.eps"/>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40330" y="3088565"/>
            <a:ext cx="1718540" cy="1201457"/>
          </a:xfrm>
          <a:prstGeom prst="rect">
            <a:avLst/>
          </a:prstGeom>
        </p:spPr>
      </p:pic>
      <p:sp>
        <p:nvSpPr>
          <p:cNvPr id="35" name="object 20"/>
          <p:cNvSpPr txBox="1"/>
          <p:nvPr/>
        </p:nvSpPr>
        <p:spPr>
          <a:xfrm>
            <a:off x="3231996" y="6610052"/>
            <a:ext cx="4811395" cy="140423"/>
          </a:xfrm>
          <a:prstGeom prst="rect">
            <a:avLst/>
          </a:prstGeom>
        </p:spPr>
        <p:txBody>
          <a:bodyPr vert="horz" wrap="square" lIns="0" tIns="1905"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100000"/>
              </a:lnSpc>
              <a:spcBef>
                <a:spcPts val="15"/>
              </a:spcBef>
            </a:pPr>
            <a:r>
              <a:rPr sz="900" spc="-5" dirty="0">
                <a:latin typeface="+mj-lt"/>
                <a:cs typeface="SiemensSans-Roman"/>
              </a:rPr>
              <a:t>*GVA </a:t>
            </a:r>
            <a:r>
              <a:rPr sz="900" dirty="0">
                <a:latin typeface="+mj-lt"/>
                <a:cs typeface="SiemensSans-Roman"/>
              </a:rPr>
              <a:t>is the increase in the value of the economy due </a:t>
            </a:r>
            <a:r>
              <a:rPr sz="900" spc="-5" dirty="0">
                <a:latin typeface="+mj-lt"/>
                <a:cs typeface="SiemensSans-Roman"/>
              </a:rPr>
              <a:t>to </a:t>
            </a:r>
            <a:r>
              <a:rPr sz="900" dirty="0">
                <a:latin typeface="+mj-lt"/>
                <a:cs typeface="SiemensSans-Roman"/>
              </a:rPr>
              <a:t>the production of goods and </a:t>
            </a:r>
            <a:r>
              <a:rPr sz="900" spc="150" dirty="0">
                <a:latin typeface="+mj-lt"/>
                <a:cs typeface="SiemensSans-Roman"/>
              </a:rPr>
              <a:t> </a:t>
            </a:r>
            <a:r>
              <a:rPr sz="900" spc="5" dirty="0">
                <a:latin typeface="+mj-lt"/>
                <a:cs typeface="SiemensSans-Roman"/>
              </a:rPr>
              <a:t>services</a:t>
            </a:r>
            <a:endParaRPr sz="900" dirty="0">
              <a:latin typeface="+mj-lt"/>
              <a:cs typeface="SiemensSans-Roman"/>
            </a:endParaRPr>
          </a:p>
        </p:txBody>
      </p:sp>
      <p:sp>
        <p:nvSpPr>
          <p:cNvPr id="38" name="TextBox 37"/>
          <p:cNvSpPr txBox="1"/>
          <p:nvPr/>
        </p:nvSpPr>
        <p:spPr>
          <a:xfrm>
            <a:off x="8331422" y="6418572"/>
            <a:ext cx="2448272" cy="382960"/>
          </a:xfrm>
          <a:prstGeom prst="rect">
            <a:avLst/>
          </a:prstGeom>
          <a:noFill/>
        </p:spPr>
        <p:txBody>
          <a:bodyPr wrap="none" lIns="0" tIns="0" rIns="0" bIns="0" rtlCol="0">
            <a:noAutofit/>
          </a:bodyPr>
          <a:lstStyle/>
          <a:p>
            <a:pPr>
              <a:lnSpc>
                <a:spcPct val="110000"/>
              </a:lnSpc>
              <a:spcBef>
                <a:spcPts val="0"/>
              </a:spcBef>
              <a:buFont typeface="Arial" pitchFamily="34" charset="0"/>
              <a:buChar char="•"/>
            </a:pPr>
            <a:r>
              <a:rPr lang="en-GB" sz="900" dirty="0" smtClean="0">
                <a:solidFill>
                  <a:schemeClr val="tx1"/>
                </a:solidFill>
                <a:hlinkClick r:id="rId6"/>
              </a:rPr>
              <a:t> Business to society report</a:t>
            </a:r>
            <a:endParaRPr lang="en-GB" sz="900" dirty="0" smtClean="0">
              <a:solidFill>
                <a:schemeClr val="tx1"/>
              </a:solidFill>
            </a:endParaRPr>
          </a:p>
          <a:p>
            <a:pPr>
              <a:lnSpc>
                <a:spcPct val="110000"/>
              </a:lnSpc>
              <a:spcBef>
                <a:spcPts val="0"/>
              </a:spcBef>
              <a:buFont typeface="Arial" pitchFamily="34" charset="0"/>
              <a:buChar char="•"/>
            </a:pPr>
            <a:r>
              <a:rPr lang="en-GB" sz="900" dirty="0" smtClean="0">
                <a:solidFill>
                  <a:schemeClr val="tx1"/>
                </a:solidFill>
                <a:hlinkClick r:id="rId7"/>
              </a:rPr>
              <a:t> In the UK for the UK info graphic and UK map</a:t>
            </a:r>
            <a:endParaRPr lang="en-US" sz="900" dirty="0" smtClean="0">
              <a:solidFill>
                <a:schemeClr val="tx1"/>
              </a:solidFill>
            </a:endParaRPr>
          </a:p>
        </p:txBody>
      </p:sp>
    </p:spTree>
    <p:extLst>
      <p:ext uri="{BB962C8B-B14F-4D97-AF65-F5344CB8AC3E}">
        <p14:creationId xmlns:p14="http://schemas.microsoft.com/office/powerpoint/2010/main" val="174042714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30875_dpi150.jpg"/>
          <p:cNvPicPr>
            <a:picLocks noChangeAspect="1"/>
          </p:cNvPicPr>
          <p:nvPr/>
        </p:nvPicPr>
        <p:blipFill>
          <a:blip r:embed="rId3" cstate="email"/>
          <a:srcRect/>
          <a:stretch>
            <a:fillRect/>
          </a:stretch>
        </p:blipFill>
        <p:spPr>
          <a:xfrm>
            <a:off x="0" y="0"/>
            <a:ext cx="12198350" cy="6858000"/>
          </a:xfrm>
          <a:prstGeom prst="rect">
            <a:avLst/>
          </a:prstGeom>
        </p:spPr>
      </p:pic>
      <p:pic>
        <p:nvPicPr>
          <p:cNvPr id="3"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S:\Marketing Communications\WOW Images\blade maintenance copy.BMP"/>
          <p:cNvPicPr>
            <a:picLocks noChangeAspect="1" noChangeArrowheads="1"/>
          </p:cNvPicPr>
          <p:nvPr/>
        </p:nvPicPr>
        <p:blipFill>
          <a:blip r:embed="rId3" cstate="email"/>
          <a:srcRect/>
          <a:stretch>
            <a:fillRect/>
          </a:stretch>
        </p:blipFill>
        <p:spPr bwMode="auto">
          <a:xfrm>
            <a:off x="0" y="0"/>
            <a:ext cx="12198350" cy="6858000"/>
          </a:xfrm>
          <a:prstGeom prst="rect">
            <a:avLst/>
          </a:prstGeom>
          <a:noFill/>
        </p:spPr>
      </p:pic>
      <p:pic>
        <p:nvPicPr>
          <p:cNvPr id="3"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6146" name="Picture 2" descr="S:\Marketing Communications\Employer branding\Dare to Ask\Photos\NewcastleLowRes\MatthewWalker59.jpg"/>
          <p:cNvPicPr>
            <a:picLocks noChangeAspect="1" noChangeArrowheads="1"/>
          </p:cNvPicPr>
          <p:nvPr/>
        </p:nvPicPr>
        <p:blipFill>
          <a:blip r:embed="rId3" cstate="email"/>
          <a:srcRect/>
          <a:stretch>
            <a:fillRect/>
          </a:stretch>
        </p:blipFill>
        <p:spPr bwMode="auto">
          <a:xfrm>
            <a:off x="0" y="0"/>
            <a:ext cx="12198350" cy="6858000"/>
          </a:xfrm>
          <a:prstGeom prst="rect">
            <a:avLst/>
          </a:prstGeom>
          <a:noFill/>
        </p:spPr>
      </p:pic>
      <p:pic>
        <p:nvPicPr>
          <p:cNvPr id="4"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descr="S:\Marketing Communications\Employer branding\Employee Pics 2013\NorthamptonLowRes\GeorgieThomas002.jpg"/>
          <p:cNvPicPr>
            <a:picLocks noChangeAspect="1" noChangeArrowheads="1"/>
          </p:cNvPicPr>
          <p:nvPr/>
        </p:nvPicPr>
        <p:blipFill>
          <a:blip r:embed="rId3" cstate="email"/>
          <a:srcRect/>
          <a:stretch>
            <a:fillRect/>
          </a:stretch>
        </p:blipFill>
        <p:spPr bwMode="auto">
          <a:xfrm>
            <a:off x="0" y="0"/>
            <a:ext cx="12198350" cy="6858000"/>
          </a:xfrm>
          <a:prstGeom prst="rect">
            <a:avLst/>
          </a:prstGeom>
          <a:noFill/>
        </p:spPr>
      </p:pic>
      <p:pic>
        <p:nvPicPr>
          <p:cNvPr id="3"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10242" name="Picture 2" descr="S:\Marketing Communications\WOW Images\Inspiro.jpg"/>
          <p:cNvPicPr>
            <a:picLocks noChangeAspect="1" noChangeArrowheads="1"/>
          </p:cNvPicPr>
          <p:nvPr/>
        </p:nvPicPr>
        <p:blipFill>
          <a:blip r:embed="rId3" cstate="email"/>
          <a:srcRect/>
          <a:stretch>
            <a:fillRect/>
          </a:stretch>
        </p:blipFill>
        <p:spPr bwMode="auto">
          <a:xfrm>
            <a:off x="0" y="0"/>
            <a:ext cx="12198350" cy="6858000"/>
          </a:xfrm>
          <a:prstGeom prst="rect">
            <a:avLst/>
          </a:prstGeom>
          <a:noFill/>
        </p:spPr>
      </p:pic>
      <p:pic>
        <p:nvPicPr>
          <p:cNvPr id="4" name="Grafik 18" descr="SIE_Logo_Layer_Petrol_RGB_A3_76mm.wmf"/>
          <p:cNvPicPr>
            <a:picLocks noChangeAspect="1"/>
          </p:cNvPicPr>
          <p:nvPr/>
        </p:nvPicPr>
        <p:blipFill>
          <a:blip r:embed="rId4" cstate="email"/>
          <a:stretch>
            <a:fillRect/>
          </a:stretch>
        </p:blipFill>
        <p:spPr>
          <a:xfrm>
            <a:off x="10275750" y="4"/>
            <a:ext cx="1440000" cy="8065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MMPROD_NEXTUNIQUEID" val="10010"/>
  <p:tag name="THINKCELLUNDODONOTDELETE" val="0"/>
  <p:tag name="MMPROD_UIDATA" val="&lt;database version=&quot;8.0&quot;&gt;&lt;object type=&quot;1&quot; unique_id=&quot;10001&quot;&gt;&lt;object type=&quot;2&quot; unique_id=&quot;10256&quot;&gt;&lt;object type=&quot;3&quot; unique_id=&quot;1277261&quot;&gt;&lt;property id=&quot;20148&quot; value=&quot;5&quot;/&gt;&lt;property id=&quot;20300&quot; value=&quot;Slide 2 - &amp;quot;Siemens UK in Numbers&amp;quot;&quot;/&gt;&lt;property id=&quot;20307&quot; value=&quot;904&quot;/&gt;&lt;/object&gt;&lt;object type=&quot;3&quot; unique_id=&quot;1278347&quot;&gt;&lt;property id=&quot;20148&quot; value=&quot;5&quot;/&gt;&lt;property id=&quot;20300&quot; value=&quot;Slide 1 - &amp;quot;Skills For The Future Justin Kelly Director of Strategy &amp;amp; Business Development Siemens UK&amp;quot;&quot;/&gt;&lt;property id=&quot;20307&quot; value=&quot;1001&quot;/&gt;&lt;/object&gt;&lt;object type=&quot;3&quot; unique_id=&quot;1278349&quot;&gt;&lt;property id=&quot;20148&quot; value=&quot;5&quot;/&gt;&lt;property id=&quot;20300&quot; value=&quot;Slide 4 - &amp;quot;Vision 2020 –  A clear mission&amp;quot;&quot;/&gt;&lt;property id=&quot;20307&quot; value=&quot;995&quot;/&gt;&lt;/object&gt;&lt;object type=&quot;3&quot; unique_id=&quot;1278350&quot;&gt;&lt;property id=&quot;20148&quot; value=&quot;5&quot;/&gt;&lt;property id=&quot;20300&quot; value=&quot;Slide 5 - &amp;quot;Vision 2020 –  Electrification, automation, and digitalization&amp;quot;&quot;/&gt;&lt;property id=&quot;20307&quot; value=&quot;999&quot;/&gt;&lt;/object&gt;&lt;object type=&quot;3&quot; unique_id=&quot;1278351&quot;&gt;&lt;property id=&quot;20148&quot; value=&quot;5&quot;/&gt;&lt;property id=&quot;20300&quot; value=&quot;Slide 6 - &amp;quot;Digitalization –  The great paradigm shifter&amp;quot;&quot;/&gt;&lt;property id=&quot;20307&quot; value=&quot;992&quot;/&gt;&lt;/object&gt;&lt;object type=&quot;3&quot; unique_id=&quot;1278352&quot;&gt;&lt;property id=&quot;20148&quot; value=&quot;5&quot;/&gt;&lt;property id=&quot;20300&quot; value=&quot;Slide 7 - &amp;quot;Vision 2020 –  Selected growth fields&amp;quot;&quot;/&gt;&lt;property id=&quot;20307&quot; value=&quot;1000&quot;/&gt;&lt;/object&gt;&lt;object type=&quot;3&quot; unique_id=&quot;1278353&quot;&gt;&lt;property id=&quot;20148&quot; value=&quot;5&quot;/&gt;&lt;property id=&quot;20300&quot; value=&quot;Slide 8 - &amp;quot;Vision 2020 –  Employer of Choice&amp;quot;&quot;/&gt;&lt;property id=&quot;20307&quot; value=&quot;997&quot;/&gt;&lt;/object&gt;&lt;object type=&quot;3&quot; unique_id=&quot;1278354&quot;&gt;&lt;property id=&quot;20148&quot; value=&quot;5&quot;/&gt;&lt;property id=&quot;20300&quot; value=&quot;Slide 9 - &amp;quot;Siemens UK - Entry Level Talent Landscape&amp;quot;&quot;/&gt;&lt;property id=&quot;20307&quot; value=&quot;977&quot;/&gt;&lt;/object&gt;&lt;object type=&quot;3&quot; unique_id=&quot;1278355&quot;&gt;&lt;property id=&quot;20148&quot; value=&quot;5&quot;/&gt;&lt;property id=&quot;20300&quot; value=&quot;Slide 10 - &amp;quot;How can employers become more involved in the design of new qualifications, and delivery of existing ones, to ensu&quot;/&gt;&lt;property id=&quot;20307&quot; value=&quot;978&quot;/&gt;&lt;/object&gt;&lt;object type=&quot;3&quot; unique_id=&quot;1278356&quot;&gt;&lt;property id=&quot;20148&quot; value=&quot;5&quot;/&gt;&lt;property id=&quot;20300&quot; value=&quot;Slide 11 - &amp;quot;Key objectives&amp;quot;&quot;/&gt;&lt;property id=&quot;20307&quot; value=&quot;979&quot;/&gt;&lt;/object&gt;&lt;object type=&quot;3&quot; unique_id=&quot;1278357&quot;&gt;&lt;property id=&quot;20148&quot; value=&quot;5&quot;/&gt;&lt;property id=&quot;20300&quot; value=&quot;Slide 12 - &amp;quot;The Curiosity Project was created to provide an engaging rationale to new and existing partners &amp;quot;&quot;/&gt;&lt;property id=&quot;20307&quot; value=&quot;980&quot;/&gt;&lt;/object&gt;&lt;object type=&quot;3&quot; unique_id=&quot;1278358&quot;&gt;&lt;property id=&quot;20148&quot; value=&quot;5&quot;/&gt;&lt;property id=&quot;20300&quot; value=&quot;Slide 13 - &amp;quot;The Curiosity Project by Siemens An integrated strategy to inspire the next generation of engineers&amp;quot;&quot;/&gt;&lt;property id=&quot;20307&quot; value=&quot;981&quot;/&gt;&lt;/object&gt;&lt;object type=&quot;3&quot; unique_id=&quot;1278359&quot;&gt;&lt;property id=&quot;20148&quot; value=&quot;5&quot;/&gt;&lt;property id=&quot;20300&quot; value=&quot;Slide 14 - &amp;quot;Big Bang 2016 = Legacy (e.g. Portal/Greenpower)&amp;quot;&quot;/&gt;&lt;property id=&quot;20307&quot; value=&quot;982&quot;/&gt;&lt;/object&gt;&lt;object type=&quot;3&quot; unique_id=&quot;1278362&quot;&gt;&lt;property id=&quot;20148&quot; value=&quot;5&quot;/&gt;&lt;property id=&quot;20300&quot; value=&quot;Slide 17 - &amp;quot;Curiosity Project Year 1 of 3 Impact of all activities&amp;quot;&quot;/&gt;&lt;property id=&quot;20307&quot; value=&quot;985&quot;/&gt;&lt;/object&gt;&lt;object type=&quot;3&quot; unique_id=&quot;1278363&quot;&gt;&lt;property id=&quot;20148&quot; value=&quot;5&quot;/&gt;&lt;property id=&quot;20300&quot; value=&quot;Slide 18 - &amp;quot;Curiosity Project Year 1 of 3 Visitor research post Siemens activities at Science festivals&amp;quot;&quot;/&gt;&lt;property id=&quot;20307&quot; value=&quot;986&quot;/&gt;&lt;/object&gt;&lt;object type=&quot;3&quot; unique_id=&quot;1278364&quot;&gt;&lt;property id=&quot;20148&quot; value=&quot;5&quot;/&gt;&lt;property id=&quot;20300&quot; value=&quot;Slide 19 - &amp;quot;SeeWomen Launch Activity &amp;quot;&quot;/&gt;&lt;property id=&quot;20307&quot; value=&quot;987&quot;/&gt;&lt;/object&gt;&lt;object type=&quot;3&quot; unique_id=&quot;1278365&quot;&gt;&lt;property id=&quot;20148&quot; value=&quot;5&quot;/&gt;&lt;property id=&quot;20300&quot; value=&quot;Slide 20 - &amp;quot;Congleton Video&amp;quot;&quot;/&gt;&lt;property id=&quot;20307&quot; value=&quot;1002&quot;/&gt;&lt;/object&gt;&lt;object type=&quot;3&quot; unique_id=&quot;1278366&quot;&gt;&lt;property id=&quot;20148&quot; value=&quot;5&quot;/&gt;&lt;property id=&quot;20300&quot; value=&quot;Slide 21 - &amp;quot;The Crystal&amp;quot;&quot;/&gt;&lt;property id=&quot;20307&quot; value=&quot;1003&quot;/&gt;&lt;/object&gt;&lt;object type=&quot;3&quot; unique_id=&quot;1278546&quot;&gt;&lt;property id=&quot;20148&quot; value=&quot;5&quot;/&gt;&lt;property id=&quot;20300&quot; value=&quot;Slide 3 - &amp;quot;168 years of innovation –  Milestones&amp;quot;&quot;/&gt;&lt;property id=&quot;20307&quot; value=&quot;1004&quot;/&gt;&lt;/object&gt;&lt;object type=&quot;3&quot; unique_id=&quot;1278893&quot;&gt;&lt;property id=&quot;20148&quot; value=&quot;5&quot;/&gt;&lt;property id=&quot;20300&quot; value=&quot;Slide 15&quot;/&gt;&lt;property id=&quot;20307&quot; value=&quot;1005&quot;/&gt;&lt;/object&gt;&lt;object type=&quot;3&quot; unique_id=&quot;1278894&quot;&gt;&lt;property id=&quot;20148&quot; value=&quot;5&quot;/&gt;&lt;property id=&quot;20300&quot; value=&quot;Slide 16&quot;/&gt;&lt;property id=&quot;20307&quot; value=&quot;1006&quot;/&gt;&lt;/object&gt;&lt;/object&gt;&lt;object type=&quot;8&quot; unique_id=&quot;10276&quot;&gt;&lt;/object&gt;&lt;/object&gt;&lt;/database&gt;"/>
  <p:tag name="SECTOMILLISECCONVERTED" val="1"/>
  <p:tag name="PRESGUID" val="465bea59-26e5-4318-a27d-9175ae9dad3f"/>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1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3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3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3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3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3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3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3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3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3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4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4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4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4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5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7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7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1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8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8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8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8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9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9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9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9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9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9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0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0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0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2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1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21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21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2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2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2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22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2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2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3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23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23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23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3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23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23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23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23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4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2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2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2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2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2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TARGETSHAPE_NEW" val="3"/>
  <p:tag name="CDT_PROT" val="5"/>
  <p:tag name="CDT_PROT_TOP" val="326,7"/>
  <p:tag name="CDT_PROT_LEFT" val="19,75"/>
  <p:tag name="CDT_PROT_WIDTH" val="700,25"/>
  <p:tag name="CDT_PROT_HEIGHT" val="116,9738"/>
</p:tagLst>
</file>

<file path=ppt/tags/tag2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2,5"/>
  <p:tag name="CDT_PROT_WIDTH" val="136,063"/>
  <p:tag name="CDT_PROT_HEIGHT" val="76,20732"/>
</p:tagLst>
</file>

<file path=ppt/tags/tag27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4"/>
  <p:tag name="CDT_TARGETSHAPE_NEW" val="1"/>
  <p:tag name="CDT_PROT" val="3"/>
  <p:tag name="CDT_PROT_TOP" val="485,5"/>
  <p:tag name="CDT_PROT_LEFT" val="0"/>
  <p:tag name="CDT_PROT_WIDTH" val="720"/>
  <p:tag name="CDT_PROT_HEIGHT" val="34"/>
</p:tagLst>
</file>

<file path=ppt/tags/tag2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4"/>
  <p:tag name="CDT_PROT" val="3"/>
  <p:tag name="CDT_PROT_TOP" val="485,5"/>
  <p:tag name="CDT_PROT_LEFT" val="484,75"/>
  <p:tag name="CDT_PROT_WIDTH" val="235,25"/>
  <p:tag name="CDT_PROT_HEIGHT" val="34"/>
</p:tagLst>
</file>

<file path=ppt/tags/tag27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6"/>
  <p:tag name="CDT_TARGETSHAPE_NEW" val="2"/>
  <p:tag name="CDT_PROT" val="3"/>
  <p:tag name="CDT_PROT_TOP" val="0"/>
  <p:tag name="CDT_PROT_LEFT" val="360"/>
  <p:tag name="CDT_PROT_WIDTH" val="0,1250394"/>
  <p:tag name="CDT_PROT_HEIGHT" val="0,1250394"/>
</p:tagLst>
</file>

<file path=ppt/tags/tag27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8FzhsXf20eKLU.fUZwJG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a8FzhsXf20eKLU.fUZwJG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8FzhsXf20eKLU.fUZwJG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8FzhsXf20eKLU.fUZwJGQ"/>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7tGZjL.u0.e8LpWzMReV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4wmPjLBxfkGl.JwBh1I15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l1RNHNhA0u3fiJI9W337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NoDgXGmjk2hgOE2Rrfxq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nkEjJHNS0ePikrCWezBe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2KGyciMlk.0lZHeqvCF7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JnXQaD.NY0KR1I4CNZpd7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_SIYLMYXPUSjvtFiGLMR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GQ2rKdgEjEC6_ZU6SJHJ0Q"/>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o1rbgYRxE2BEk04q4Y_0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2KGyciMlk.0lZHeqvCF7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2KGyciMlk.0lZHeqvCF7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h2KGyciMlk.0lZHeqvCF7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2KGyciMlk.0lZHeqvCF7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Bf0ii6ljPEKm3mdIfAILc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cQ4kw5uS4UKMxOyhGmo2W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XVFiwP1Et0ukLL4EprmX6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SViu8XWSkquEw.sI_jAp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3Nmc0DRGRk.yCOHMoWqI3Q"/>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HvElDtMf0ajLhf8UG3QI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cxLS6l.b0G64YS2rx5o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_3Yp_1mQhEuXEd2yjnxi0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9ovVyk3U7EutOTCjMXgkC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lYYGmmA_km6kQVYzlA0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8LJMLorI3EuhvX5MJTRoi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vgdny.TctEWGA9NFrDR5T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lzkWymsPkuPvCGzsCLJz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IgfocXXMkC212G.XcXRF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VttenCUg50Cfz9GP..yvqw"/>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mrY73A4LEmhH6Hidpb3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jg38gR0yLkGIRqxtavyv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6OCZxRpCkCMyaqD8uCvA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qUQSAWpx0ygq3_n.jOtc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xFbKif3FkG_pJDNio_Nj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a3G0KGndUK1XMGIQ.SrR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lLYPta1EkUSbPFL5FRo6f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TR3BPKZzUSnU3oWs2CqD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PZJU5ex2sU6wqU2MwVmaI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dhTkn6pjiEyE.3AGSnZ62A"/>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CprDZSNaGEWS9awWe3wiv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Mi3AhmDc10Gg310BdNpcd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tgIBeoJKmUqD7XAawFnG9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6udQK2edR0WnWebYoJd.d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NAn9Pn.cuUKlvBhOaHNVo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WoMKyyn9ck6ujj_g2vNtc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EtEApEjf30mRbfGtbqbHO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doAcu7VF9U6xvLBYawgii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ItUKYoTNekC5nIMAcJSTJ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_FywRBbSy0GZf0TQtJOj8w"/>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wD4T4u1u0WiyD.qkko3R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NhjuJo1YUSW_Ou7E7_36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D9sJmh6jQ0WNAbJnoi8AR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uS8YJ3.RJk2YlUTYtcKY_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BdaMf5Tkk2l2AhVoXvP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04EKkQi5nkm_JHUinWPB5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3ZbSg1wTPU.WUqDCqkXBh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npJD_xKke0ajg13WXqHf0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IkPHOp6TEusp.1F.bBoM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dZ5iydfMykCkdqdOVV9Eeg"/>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33XypnvIwkmzmeU3S3KW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sTYEXNhzUCkvUqy7suVzQ"/>
</p:tagLst>
</file>

<file path=ppt/tags/tag342.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4:3"/>
  <p:tag name="CDT_MASTERS_NAME" val="Title (big bar down)"/>
  <p:tag name="CDT_LAYOUT_TYPE" val="1"/>
  <p:tag name="CDT_ORIGINAL_DESIGNS_NAME" val="Siemens 2013 – 4:3"/>
  <p:tag name="CDT_ORIGINAL_MASTERS_NAME" val="Title (big bar down)"/>
  <p:tag name="CDT_ORIGINAL_LAYOUT_TYP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9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9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heme/theme1.xml><?xml version="1.0" encoding="utf-8"?>
<a:theme xmlns:a="http://schemas.openxmlformats.org/drawingml/2006/main" name="sie-ppt-2010-16x9-eng-v1-0_BD_noslides">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5.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6487"/>
    </a:custClr>
    <a:custClr name="Siemens Accent Blue light">
      <a:srgbClr val="55A0B9"/>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 + Navigation</Name>
  <PpLayout>32</PpLayout>
  <Index>19</Index>
</p4ppTags>
</file>

<file path=customXml/item10.xml><?xml version="1.0" encoding="utf-8"?>
<p4ppTags>
  <Name>Text + Index</Name>
  <PpLayout>32</PpLayout>
  <Index>8</Index>
</p4ppTags>
</file>

<file path=customXml/item11.xml><?xml version="1.0" encoding="utf-8"?>
<p4ppTags>
  <Name>One object (small) + Navigation</Name>
  <PpLayout>32</PpLayout>
  <Index>18</Index>
</p4ppTags>
</file>

<file path=customXml/item12.xml><?xml version="1.0" encoding="utf-8"?>
<p4ppTags>
  <Name>Three columns + Navigation</Name>
  <PpLayout>32</PpLayout>
  <Index>20</Index>
</p4ppTags>
</file>

<file path=customXml/item13.xml><?xml version="1.0" encoding="utf-8"?>
<p4ppTags>
  <Name>Text + Index</Name>
  <PpLayout>32</PpLayout>
  <Index>8</Index>
</p4ppTags>
</file>

<file path=customXml/item14.xml><?xml version="1.0" encoding="utf-8"?>
<p4ppTags>
  <Name>Free Content + Navigation</Name>
  <PpLayout>32</PpLayout>
  <Index>16</Index>
</p4ppTags>
</file>

<file path=customXml/item15.xml><?xml version="1.0" encoding="utf-8"?>
<p4ppTags>
  <Name>Two columns</Name>
  <PpLayout>29</PpLayout>
  <Index>12</Index>
</p4ppTags>
</file>

<file path=customXml/item16.xml><?xml version="1.0" encoding="utf-8"?>
<p4ppTags>
  <Name>Three columns + Navigation</Name>
  <PpLayout>32</PpLayout>
  <Index>20</Index>
</p4ppTags>
</file>

<file path=customXml/item17.xml><?xml version="1.0" encoding="utf-8"?>
<p4ppTags>
  <Name>One object (small) + Navigation</Name>
  <PpLayout>32</PpLayout>
  <Index>18</Index>
</p4ppTags>
</file>

<file path=customXml/item18.xml><?xml version="1.0" encoding="utf-8"?>
<p4ppTags>
  <Name>Three columns</Name>
  <PpLayout>32</PpLayout>
  <Index>14</Index>
</p4ppTags>
</file>

<file path=customXml/item19.xml><?xml version="1.0" encoding="utf-8"?>
<p4ppTags>
  <Name>Two rows</Name>
  <PpLayout>32</PpLayout>
  <Index>13</Index>
</p4ppTags>
</file>

<file path=customXml/item2.xml><?xml version="1.0" encoding="utf-8"?>
<p4ppTags>
  <Name>One object (large)</Name>
  <PpLayout>16</PpLayout>
  <Index>10</Index>
</p4ppTags>
</file>

<file path=customXml/item20.xml><?xml version="1.0" encoding="utf-8"?>
<p4ppTags>
  <Name>Title (big bar down)</Name>
  <PpLayout>1</PpLayout>
  <Index>1</Index>
</p4ppTags>
</file>

<file path=customXml/item21.xml><?xml version="1.0" encoding="utf-8"?>
<p4ppTags>
  <Name>Two rows + Navigation</Name>
  <PpLayout>32</PpLayout>
  <Index>21</Index>
</p4ppTags>
</file>

<file path=customXml/item22.xml><?xml version="1.0" encoding="utf-8"?>
<p4ppTags>
  <Name>One object (large) + Navigation</Name>
  <PpLayout>32</PpLayout>
  <Index>17</Index>
</p4ppTags>
</file>

<file path=customXml/item23.xml><?xml version="1.0" encoding="utf-8"?>
<p4ppTags>
  <Name>One object (large)</Name>
  <PpLayout>16</PpLayout>
  <Index>10</Index>
</p4ppTags>
</file>

<file path=customXml/item24.xml><?xml version="1.0" encoding="utf-8"?>
<p4ppTags>
  <Name>Free Content</Name>
  <PpLayout>11</PpLayout>
  <Index>9</Index>
</p4ppTags>
</file>

<file path=customXml/item25.xml><?xml version="1.0" encoding="utf-8"?>
<p4ppTags>
  <Name>Two rows + Navigation</Name>
  <PpLayout>32</PpLayout>
  <Index>21</Index>
</p4ppTags>
</file>

<file path=customXml/item26.xml><?xml version="1.0" encoding="utf-8"?>
<p4ppTags/>
</file>

<file path=customXml/item27.xml><?xml version="1.0" encoding="utf-8"?>
<p4ppTags>
  <Name>Four objects + Navigation</Name>
  <PpLayout>32</PpLayout>
  <Index>22</Index>
</p4ppTags>
</file>

<file path=customXml/item28.xml><?xml version="1.0" encoding="utf-8"?>
<p4ppTags>
  <Name>One object (large) + Navigation</Name>
  <PpLayout>32</PpLayout>
  <Index>17</Index>
</p4ppTags>
</file>

<file path=customXml/item29.xml><?xml version="1.0" encoding="utf-8"?>
<p4ppTags>
  <Name>One object (small)</Name>
  <PpLayout>16</PpLayout>
  <Index>11</Index>
</p4ppTags>
</file>

<file path=customXml/item3.xml><?xml version="1.0" encoding="utf-8"?>
<p4ppTags>
  <Name>Four objects + Navigation</Name>
  <PpLayout>32</PpLayout>
  <Index>22</Index>
</p4ppTags>
</file>

<file path=customXml/item30.xml><?xml version="1.0" encoding="utf-8"?>
<p4ppTags>
  <Name>Free Content + Navigation</Name>
  <PpLayout>32</PpLayout>
  <Index>16</Index>
</p4ppTags>
</file>

<file path=customXml/item31.xml><?xml version="1.0" encoding="utf-8"?>
<p4ppTags>
  <Name>Four objects</Name>
  <PpLayout>24</PpLayout>
  <Index>15</Index>
</p4ppTags>
</file>

<file path=customXml/item32.xml><?xml version="1.0" encoding="utf-8"?>
<p4ppTags>
  <Name>Four objects</Name>
  <PpLayout>24</PpLayout>
  <Index>15</Index>
</p4ppTags>
</file>

<file path=customXml/item4.xml><?xml version="1.0" encoding="utf-8"?>
<p4ppTags>
  <Name>One object (small)</Name>
  <PpLayout>16</PpLayout>
  <Index>11</Index>
</p4ppTags>
</file>

<file path=customXml/item5.xml><?xml version="1.0" encoding="utf-8"?>
<p4ppTags>
  <Name>Two columns + Navigation</Name>
  <PpLayout>32</PpLayout>
  <Index>19</Index>
</p4ppTags>
</file>

<file path=customXml/item6.xml><?xml version="1.0" encoding="utf-8"?>
<p4ppTags>
  <Name>Two columns</Name>
  <PpLayout>29</PpLayout>
  <Index>12</Index>
</p4ppTags>
</file>

<file path=customXml/item7.xml><?xml version="1.0" encoding="utf-8"?>
<p4ppTags>
  <Name>Three columns</Name>
  <PpLayout>32</PpLayout>
  <Index>14</Index>
</p4ppTags>
</file>

<file path=customXml/item8.xml><?xml version="1.0" encoding="utf-8"?>
<p4ppTags>
  <Name>Two rows</Name>
  <PpLayout>32</PpLayout>
  <Index>13</Index>
</p4ppTags>
</file>

<file path=customXml/item9.xml><?xml version="1.0" encoding="utf-8"?>
<p4ppTags>
  <Name>Free Content</Name>
  <PpLayout>11</PpLayout>
  <Index>9</Index>
</p4ppTags>
</file>

<file path=customXml/itemProps1.xml><?xml version="1.0" encoding="utf-8"?>
<ds:datastoreItem xmlns:ds="http://schemas.openxmlformats.org/officeDocument/2006/customXml" ds:itemID="{18340356-A19E-480C-904F-CBF42C6BA119}">
  <ds:schemaRefs/>
</ds:datastoreItem>
</file>

<file path=customXml/itemProps10.xml><?xml version="1.0" encoding="utf-8"?>
<ds:datastoreItem xmlns:ds="http://schemas.openxmlformats.org/officeDocument/2006/customXml" ds:itemID="{FBDC48A7-4D52-430B-8CD8-A9CB835148ED}">
  <ds:schemaRefs/>
</ds:datastoreItem>
</file>

<file path=customXml/itemProps11.xml><?xml version="1.0" encoding="utf-8"?>
<ds:datastoreItem xmlns:ds="http://schemas.openxmlformats.org/officeDocument/2006/customXml" ds:itemID="{8EA49CFF-6C5E-400F-B9CE-7A43E130C52B}">
  <ds:schemaRefs/>
</ds:datastoreItem>
</file>

<file path=customXml/itemProps12.xml><?xml version="1.0" encoding="utf-8"?>
<ds:datastoreItem xmlns:ds="http://schemas.openxmlformats.org/officeDocument/2006/customXml" ds:itemID="{9E62606F-CAA2-4C9D-8738-96827BEBD755}">
  <ds:schemaRefs/>
</ds:datastoreItem>
</file>

<file path=customXml/itemProps13.xml><?xml version="1.0" encoding="utf-8"?>
<ds:datastoreItem xmlns:ds="http://schemas.openxmlformats.org/officeDocument/2006/customXml" ds:itemID="{E71DB34F-3334-4BD2-9C5F-9F18C02FAC66}">
  <ds:schemaRefs/>
</ds:datastoreItem>
</file>

<file path=customXml/itemProps14.xml><?xml version="1.0" encoding="utf-8"?>
<ds:datastoreItem xmlns:ds="http://schemas.openxmlformats.org/officeDocument/2006/customXml" ds:itemID="{C7EFB9C9-95A8-424D-877A-217631728165}">
  <ds:schemaRefs/>
</ds:datastoreItem>
</file>

<file path=customXml/itemProps15.xml><?xml version="1.0" encoding="utf-8"?>
<ds:datastoreItem xmlns:ds="http://schemas.openxmlformats.org/officeDocument/2006/customXml" ds:itemID="{16BEC13F-E077-4398-B351-7F19539EAA98}">
  <ds:schemaRefs/>
</ds:datastoreItem>
</file>

<file path=customXml/itemProps16.xml><?xml version="1.0" encoding="utf-8"?>
<ds:datastoreItem xmlns:ds="http://schemas.openxmlformats.org/officeDocument/2006/customXml" ds:itemID="{4EC6F64F-AD8B-4584-8ADA-62B7656F4B5B}">
  <ds:schemaRefs/>
</ds:datastoreItem>
</file>

<file path=customXml/itemProps17.xml><?xml version="1.0" encoding="utf-8"?>
<ds:datastoreItem xmlns:ds="http://schemas.openxmlformats.org/officeDocument/2006/customXml" ds:itemID="{95FB4092-42A4-4ED9-BB8A-B3C4D24B4A5C}">
  <ds:schemaRefs/>
</ds:datastoreItem>
</file>

<file path=customXml/itemProps18.xml><?xml version="1.0" encoding="utf-8"?>
<ds:datastoreItem xmlns:ds="http://schemas.openxmlformats.org/officeDocument/2006/customXml" ds:itemID="{04E40E15-2184-4426-8E09-09EEA8E81566}">
  <ds:schemaRefs/>
</ds:datastoreItem>
</file>

<file path=customXml/itemProps19.xml><?xml version="1.0" encoding="utf-8"?>
<ds:datastoreItem xmlns:ds="http://schemas.openxmlformats.org/officeDocument/2006/customXml" ds:itemID="{F3976A98-242C-4379-91C2-2CEE6EFC2C1B}">
  <ds:schemaRefs/>
</ds:datastoreItem>
</file>

<file path=customXml/itemProps2.xml><?xml version="1.0" encoding="utf-8"?>
<ds:datastoreItem xmlns:ds="http://schemas.openxmlformats.org/officeDocument/2006/customXml" ds:itemID="{51EB891A-D522-4EAE-92A0-4072C373BD80}">
  <ds:schemaRefs/>
</ds:datastoreItem>
</file>

<file path=customXml/itemProps20.xml><?xml version="1.0" encoding="utf-8"?>
<ds:datastoreItem xmlns:ds="http://schemas.openxmlformats.org/officeDocument/2006/customXml" ds:itemID="{22353834-5DDF-45D0-8D98-38BA80461134}">
  <ds:schemaRefs/>
</ds:datastoreItem>
</file>

<file path=customXml/itemProps21.xml><?xml version="1.0" encoding="utf-8"?>
<ds:datastoreItem xmlns:ds="http://schemas.openxmlformats.org/officeDocument/2006/customXml" ds:itemID="{9AB64F15-89F3-41AE-8395-DE85DFF5A169}">
  <ds:schemaRefs/>
</ds:datastoreItem>
</file>

<file path=customXml/itemProps22.xml><?xml version="1.0" encoding="utf-8"?>
<ds:datastoreItem xmlns:ds="http://schemas.openxmlformats.org/officeDocument/2006/customXml" ds:itemID="{757177D3-3C8D-46B1-A462-290991C7EB03}">
  <ds:schemaRefs/>
</ds:datastoreItem>
</file>

<file path=customXml/itemProps23.xml><?xml version="1.0" encoding="utf-8"?>
<ds:datastoreItem xmlns:ds="http://schemas.openxmlformats.org/officeDocument/2006/customXml" ds:itemID="{1E4AD1B9-DC80-42E3-A155-08D3B8C068D3}">
  <ds:schemaRefs/>
</ds:datastoreItem>
</file>

<file path=customXml/itemProps24.xml><?xml version="1.0" encoding="utf-8"?>
<ds:datastoreItem xmlns:ds="http://schemas.openxmlformats.org/officeDocument/2006/customXml" ds:itemID="{A623DA36-2041-4FEE-9C9F-3216CE1EF345}">
  <ds:schemaRefs/>
</ds:datastoreItem>
</file>

<file path=customXml/itemProps25.xml><?xml version="1.0" encoding="utf-8"?>
<ds:datastoreItem xmlns:ds="http://schemas.openxmlformats.org/officeDocument/2006/customXml" ds:itemID="{423A6464-CFD4-41D9-92A5-8C642F7F32D4}">
  <ds:schemaRefs/>
</ds:datastoreItem>
</file>

<file path=customXml/itemProps26.xml><?xml version="1.0" encoding="utf-8"?>
<ds:datastoreItem xmlns:ds="http://schemas.openxmlformats.org/officeDocument/2006/customXml" ds:itemID="{89B962EF-1E63-3B4A-BC23-9037D977F92E}">
  <ds:schemaRefs/>
</ds:datastoreItem>
</file>

<file path=customXml/itemProps27.xml><?xml version="1.0" encoding="utf-8"?>
<ds:datastoreItem xmlns:ds="http://schemas.openxmlformats.org/officeDocument/2006/customXml" ds:itemID="{A8923BA7-CDC4-4C62-9408-A0F155B8C302}">
  <ds:schemaRefs/>
</ds:datastoreItem>
</file>

<file path=customXml/itemProps28.xml><?xml version="1.0" encoding="utf-8"?>
<ds:datastoreItem xmlns:ds="http://schemas.openxmlformats.org/officeDocument/2006/customXml" ds:itemID="{F99EC09B-0715-44D9-8326-5386F5ABAB42}">
  <ds:schemaRefs/>
</ds:datastoreItem>
</file>

<file path=customXml/itemProps29.xml><?xml version="1.0" encoding="utf-8"?>
<ds:datastoreItem xmlns:ds="http://schemas.openxmlformats.org/officeDocument/2006/customXml" ds:itemID="{3E6DB26A-CAA6-4B43-95F8-03F5CEFC092B}">
  <ds:schemaRefs/>
</ds:datastoreItem>
</file>

<file path=customXml/itemProps3.xml><?xml version="1.0" encoding="utf-8"?>
<ds:datastoreItem xmlns:ds="http://schemas.openxmlformats.org/officeDocument/2006/customXml" ds:itemID="{F777F0DC-CC65-49FF-82A7-BA57168D977D}">
  <ds:schemaRefs/>
</ds:datastoreItem>
</file>

<file path=customXml/itemProps30.xml><?xml version="1.0" encoding="utf-8"?>
<ds:datastoreItem xmlns:ds="http://schemas.openxmlformats.org/officeDocument/2006/customXml" ds:itemID="{F5FDDD51-2B08-454E-84E4-FF4EEDAB6B8D}">
  <ds:schemaRefs/>
</ds:datastoreItem>
</file>

<file path=customXml/itemProps31.xml><?xml version="1.0" encoding="utf-8"?>
<ds:datastoreItem xmlns:ds="http://schemas.openxmlformats.org/officeDocument/2006/customXml" ds:itemID="{091DB8B9-FC37-4DE6-8BFD-9340FD161C9E}">
  <ds:schemaRefs/>
</ds:datastoreItem>
</file>

<file path=customXml/itemProps32.xml><?xml version="1.0" encoding="utf-8"?>
<ds:datastoreItem xmlns:ds="http://schemas.openxmlformats.org/officeDocument/2006/customXml" ds:itemID="{CF11F5BB-0A15-489C-8459-6F5CD32C34BD}">
  <ds:schemaRefs/>
</ds:datastoreItem>
</file>

<file path=customXml/itemProps4.xml><?xml version="1.0" encoding="utf-8"?>
<ds:datastoreItem xmlns:ds="http://schemas.openxmlformats.org/officeDocument/2006/customXml" ds:itemID="{21FDF126-E12A-4E91-BDD0-36986FE726D4}">
  <ds:schemaRefs/>
</ds:datastoreItem>
</file>

<file path=customXml/itemProps5.xml><?xml version="1.0" encoding="utf-8"?>
<ds:datastoreItem xmlns:ds="http://schemas.openxmlformats.org/officeDocument/2006/customXml" ds:itemID="{B72D0B1B-6880-4595-A69A-FAE0CAC15574}">
  <ds:schemaRefs/>
</ds:datastoreItem>
</file>

<file path=customXml/itemProps6.xml><?xml version="1.0" encoding="utf-8"?>
<ds:datastoreItem xmlns:ds="http://schemas.openxmlformats.org/officeDocument/2006/customXml" ds:itemID="{55531D4B-2D71-48A0-8D30-B39A4C4AE0A7}">
  <ds:schemaRefs/>
</ds:datastoreItem>
</file>

<file path=customXml/itemProps7.xml><?xml version="1.0" encoding="utf-8"?>
<ds:datastoreItem xmlns:ds="http://schemas.openxmlformats.org/officeDocument/2006/customXml" ds:itemID="{22B4F09C-4882-482D-BD1C-3DAD1958357F}">
  <ds:schemaRefs/>
</ds:datastoreItem>
</file>

<file path=customXml/itemProps8.xml><?xml version="1.0" encoding="utf-8"?>
<ds:datastoreItem xmlns:ds="http://schemas.openxmlformats.org/officeDocument/2006/customXml" ds:itemID="{D15C558C-5F97-4F29-B928-B584A7243041}">
  <ds:schemaRefs/>
</ds:datastoreItem>
</file>

<file path=customXml/itemProps9.xml><?xml version="1.0" encoding="utf-8"?>
<ds:datastoreItem xmlns:ds="http://schemas.openxmlformats.org/officeDocument/2006/customXml" ds:itemID="{34461D2E-AC43-4760-8648-A32B6CE63B2F}">
  <ds:schemaRefs/>
</ds:datastoreItem>
</file>

<file path=docProps/app.xml><?xml version="1.0" encoding="utf-8"?>
<Properties xmlns="http://schemas.openxmlformats.org/officeDocument/2006/extended-properties" xmlns:vt="http://schemas.openxmlformats.org/officeDocument/2006/docPropsVTypes">
  <Template>sie-ppt-2010-16x9-eng-v1-0_BD_noslides</Template>
  <TotalTime>37</TotalTime>
  <Words>2611</Words>
  <Application>Microsoft Office PowerPoint</Application>
  <PresentationFormat>Custom</PresentationFormat>
  <Paragraphs>398</Paragraphs>
  <Slides>24</Slides>
  <Notes>24</Notes>
  <HiddenSlides>1</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24</vt:i4>
      </vt:variant>
    </vt:vector>
  </HeadingPairs>
  <TitlesOfParts>
    <vt:vector size="29" baseType="lpstr">
      <vt:lpstr>sie-ppt-2010-16x9-eng-v1-0_BD_noslides</vt:lpstr>
      <vt:lpstr>Siemens 2016 – 16:9</vt:lpstr>
      <vt:lpstr>1_Siemens 2016 – 16:9</vt:lpstr>
      <vt:lpstr>think-cell Slide</vt:lpstr>
      <vt:lpstr>Slide</vt:lpstr>
      <vt:lpstr> Working in collaboration, with OCR, to achieve a sustainable workforce with the skills for our future  Brenda Yearsley:  Siemens Global Social Innovation Team     UK School and Education Manager   </vt:lpstr>
      <vt:lpstr>Our Challenge –  Our Opportunity  The UK (and the World) needs more Engineers</vt:lpstr>
      <vt:lpstr>Siemens UK in numbers</vt:lpstr>
      <vt:lpstr>In the UK, for the UK How we contribute to the social and economic prosperity of the U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wo paradigm shifts which are reaching a tipping point for the world of work  </vt:lpstr>
      <vt:lpstr>What are the survival factors in a world like this ?</vt:lpstr>
      <vt:lpstr>Siemens: Rounded, Grounded and Ready for Work? Business and People Strategy is informed by megatrends </vt:lpstr>
      <vt:lpstr>Strategy is no longer a static annual event</vt:lpstr>
      <vt:lpstr>Strategy is no longer a static annual event – it must continue to evolve</vt:lpstr>
      <vt:lpstr>   Our Partnership with OCR: Five SIEMENS inspired projects: </vt:lpstr>
      <vt:lpstr>PowerPoint Presentation</vt:lpstr>
      <vt:lpstr>   Emerging skills requirements for Entry Level Talent....  </vt:lpstr>
      <vt:lpstr>PowerPoint Presentation</vt:lpstr>
      <vt:lpstr>Link to our ‘Digital’ credentials </vt:lpstr>
      <vt:lpstr>Responding to the demands of business in many ways</vt:lpstr>
      <vt:lpstr>PowerPoint Presentation</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ion 2020: Regional Strategy Justin Kelly, Strategy &amp; Business Development</dc:title>
  <dc:creator>sabrina.mercer</dc:creator>
  <cp:keywords>C_Unrestricted</cp:keywords>
  <cp:lastModifiedBy>Diane Thorburn</cp:lastModifiedBy>
  <cp:revision>218</cp:revision>
  <cp:lastPrinted>2012-10-29T09:59:01Z</cp:lastPrinted>
  <dcterms:created xsi:type="dcterms:W3CDTF">2016-02-18T15:13:26Z</dcterms:created>
  <dcterms:modified xsi:type="dcterms:W3CDTF">2018-03-14T16:11:32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anuary 2016</vt:lpwstr>
  </property>
  <property fmtid="{D5CDD505-2E9C-101B-9397-08002B2CF9AE}" pid="4" name="Office version">
    <vt:lpwstr>2007/2010</vt:lpwstr>
  </property>
  <property fmtid="{D5CDD505-2E9C-101B-9397-08002B2CF9AE}" pid="5" name="Release version">
    <vt:lpwstr>1.0</vt:lpwstr>
  </property>
  <property fmtid="{D5CDD505-2E9C-101B-9397-08002B2CF9AE}" pid="6" name="_NewReviewCycle">
    <vt:lpwstr/>
  </property>
  <property fmtid="{D5CDD505-2E9C-101B-9397-08002B2CF9AE}" pid="7" name="Document Confidentiality">
    <vt:lpwstr>Unrestricted</vt:lpwstr>
  </property>
</Properties>
</file>